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392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010" autoAdjust="0"/>
    <p:restoredTop sz="94660"/>
  </p:normalViewPr>
  <p:slideViewPr>
    <p:cSldViewPr snapToGrid="0">
      <p:cViewPr varScale="1">
        <p:scale>
          <a:sx n="83" d="100"/>
          <a:sy n="83" d="100"/>
        </p:scale>
        <p:origin x="456" y="7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7" Type="http://schemas.microsoft.com/office/2016/11/relationships/changesInfo" Target="changesInfos/changesInfo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OHAMMED ALNABATI" userId="5ff71dee-c46f-4879-8ce6-178714064c58" providerId="ADAL" clId="{37369211-8A10-46CD-8307-227B2BDC55D8}"/>
    <pc:docChg chg="modSld">
      <pc:chgData name="MOHAMMED ALNABATI" userId="5ff71dee-c46f-4879-8ce6-178714064c58" providerId="ADAL" clId="{37369211-8A10-46CD-8307-227B2BDC55D8}" dt="2022-07-24T12:13:45.798" v="3" actId="20577"/>
      <pc:docMkLst>
        <pc:docMk/>
      </pc:docMkLst>
      <pc:sldChg chg="modSp mod">
        <pc:chgData name="MOHAMMED ALNABATI" userId="5ff71dee-c46f-4879-8ce6-178714064c58" providerId="ADAL" clId="{37369211-8A10-46CD-8307-227B2BDC55D8}" dt="2022-07-24T12:13:45.798" v="3" actId="20577"/>
        <pc:sldMkLst>
          <pc:docMk/>
          <pc:sldMk cId="2767139109" sldId="392"/>
        </pc:sldMkLst>
        <pc:spChg chg="mod">
          <ac:chgData name="MOHAMMED ALNABATI" userId="5ff71dee-c46f-4879-8ce6-178714064c58" providerId="ADAL" clId="{37369211-8A10-46CD-8307-227B2BDC55D8}" dt="2022-07-24T12:13:45.798" v="3" actId="20577"/>
          <ac:spMkLst>
            <pc:docMk/>
            <pc:sldMk cId="2767139109" sldId="392"/>
            <ac:spMk id="3" creationId="{00000000-0000-0000-0000-000000000000}"/>
          </ac:spMkLst>
        </pc:spChg>
      </pc:sld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2DD75CA8-C696-EF4B-B015-3541BF6D50E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0"/>
            <a:ext cx="12192001" cy="6858000"/>
          </a:xfrm>
        </p:spPr>
        <p:txBody>
          <a:bodyPr/>
          <a:lstStyle/>
          <a:p>
            <a:endParaRPr lang="x-none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54BEA17-C16A-D443-A860-42F66957870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31913" y="1406938"/>
            <a:ext cx="9144000" cy="729975"/>
          </a:xfrm>
        </p:spPr>
        <p:txBody>
          <a:bodyPr anchor="t">
            <a:normAutofit/>
          </a:bodyPr>
          <a:lstStyle>
            <a:lvl1pPr algn="l">
              <a:defRPr sz="4800">
                <a:solidFill>
                  <a:srgbClr val="2A2B6A"/>
                </a:solidFill>
              </a:defRPr>
            </a:lvl1pPr>
          </a:lstStyle>
          <a:p>
            <a:r>
              <a:rPr lang="en-US" dirty="0"/>
              <a:t>COVER PAGE</a:t>
            </a:r>
            <a:endParaRPr lang="x-non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CF5FDE1-C055-4145-92B4-F33175E6FCD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31913" y="2136913"/>
            <a:ext cx="9144000" cy="1655762"/>
          </a:xfrm>
        </p:spPr>
        <p:txBody>
          <a:bodyPr/>
          <a:lstStyle>
            <a:lvl1pPr marL="0" indent="0" algn="l">
              <a:buNone/>
              <a:defRPr sz="4800">
                <a:solidFill>
                  <a:srgbClr val="2A2B6A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 HERE OR HEADLINE</a:t>
            </a:r>
            <a:endParaRPr lang="x-none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72F4E7F-D1C9-6F49-813A-3A7D87553D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84BED2-05EF-1641-AA5D-D0EF1B1B19A3}" type="datetimeFigureOut">
              <a:rPr lang="x-none" smtClean="0"/>
              <a:pPr/>
              <a:t>7/24/2022</a:t>
            </a:fld>
            <a:endParaRPr lang="x-non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891FB6B-08B6-8A4D-9161-2956133472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algn="l" defTabSz="914400" rtl="0" eaLnBrk="1" latinLnBrk="0" hangingPunct="1"/>
            <a:endParaRPr lang="x-non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4C89EEE-E667-EB40-B38A-7A697CA2B3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342AD9-554F-5645-B611-09F8EE20B022}" type="slidenum">
              <a:rPr lang="x-none" smtClean="0"/>
              <a:pPr/>
              <a:t>‹#›</a:t>
            </a:fld>
            <a:endParaRPr lang="x-none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A083772-FD28-DD47-A0D7-06D11C50E7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523" y="5281549"/>
            <a:ext cx="2241774" cy="1292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10776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86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C724BF-C312-2B43-92FC-137CD6FF0B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2953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AE86CBE-AA7B-3C4C-B08B-F2BA57579CD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2953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1FF04EC-29BD-5442-82BB-3EE64443DE3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22953" y="2505075"/>
            <a:ext cx="5157787" cy="3349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4C30F75-F35C-594F-B2DC-FF41DEF548A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655365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C5FDADF-0F1B-5846-AAFB-C109179DCCA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655365" y="2505075"/>
            <a:ext cx="5183188" cy="3349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625BE73-47B6-1A4C-B2C8-F57E81D39B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84BED2-05EF-1641-AA5D-D0EF1B1B19A3}" type="datetimeFigureOut">
              <a:rPr lang="x-none" smtClean="0"/>
              <a:t>7/24/2022</a:t>
            </a:fld>
            <a:endParaRPr lang="x-none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423D87E-B263-0342-9E52-6C705D6D5F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154A56C-0355-C94D-9A78-75FFBA4F5D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342AD9-554F-5645-B611-09F8EE20B022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1853779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A2367D-8B3B-4A41-8470-BC0891471C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9836" y="998214"/>
            <a:ext cx="5703277" cy="489898"/>
          </a:xfrm>
        </p:spPr>
        <p:txBody>
          <a:bodyPr anchor="t">
            <a:noAutofit/>
          </a:bodyPr>
          <a:lstStyle>
            <a:lvl1pPr>
              <a:defRPr sz="3600"/>
            </a:lvl1pPr>
          </a:lstStyle>
          <a:p>
            <a:r>
              <a:rPr lang="en-US" dirty="0"/>
              <a:t>ONE LARGE CHART</a:t>
            </a:r>
            <a:endParaRPr lang="x-none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F5E3A51-C571-EF4A-8158-00F8B125C6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84BED2-05EF-1641-AA5D-D0EF1B1B19A3}" type="datetimeFigureOut">
              <a:rPr lang="x-none" smtClean="0"/>
              <a:t>7/24/2022</a:t>
            </a:fld>
            <a:endParaRPr lang="x-non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0A7A71F-0264-5E4F-A22B-C789240D00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F0D39B0-B975-5146-81DC-E5D1505A3D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342AD9-554F-5645-B611-09F8EE20B022}" type="slidenum">
              <a:rPr lang="x-none" smtClean="0"/>
              <a:t>‹#›</a:t>
            </a:fld>
            <a:endParaRPr lang="x-none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ADEA2E1E-4929-6A4B-A04A-B15EAC8CC0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9088" y="1547487"/>
            <a:ext cx="5703277" cy="365125"/>
          </a:xfrm>
        </p:spPr>
        <p:txBody>
          <a:bodyPr anchor="t">
            <a:normAutofit/>
          </a:bodyPr>
          <a:lstStyle>
            <a:lvl1pPr>
              <a:buNone/>
              <a:defRPr sz="2400"/>
            </a:lvl1pPr>
          </a:lstStyle>
          <a:p>
            <a:pPr lvl="0"/>
            <a:r>
              <a:rPr lang="en-US" dirty="0"/>
              <a:t>OPTIONAL SUPPORT LINE 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25B1C1D9-5358-5C4E-BA64-36729925866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9088" y="2256313"/>
            <a:ext cx="2914959" cy="1172688"/>
          </a:xfrm>
        </p:spPr>
        <p:txBody>
          <a:bodyPr numCol="1">
            <a:normAutofit/>
          </a:bodyPr>
          <a:lstStyle>
            <a:lvl2pPr marL="11113" marR="0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tx2"/>
                </a:solidFill>
              </a:defRPr>
            </a:lvl2pPr>
            <a:lvl5pPr marL="236538" marR="0" indent="-236538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5pPr>
          </a:lstStyle>
          <a:p>
            <a:pPr marL="11113" marR="0" lvl="1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T</a:t>
            </a:r>
            <a:r>
              <a:rPr lang="x-none" dirty="0"/>
              <a:t>his area is reserved for long paragraphs arranged in one paragraph block. </a:t>
            </a:r>
            <a:r>
              <a:rPr lang="en-US" dirty="0"/>
              <a:t>T</a:t>
            </a:r>
            <a:r>
              <a:rPr lang="x-none" dirty="0"/>
              <a:t>his area is reserved for long paragraphs arranged in one paragraph block. </a:t>
            </a:r>
          </a:p>
        </p:txBody>
      </p:sp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CD3D7027-250C-0E46-8EA7-A93EBCBCFE97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3459178" y="2255838"/>
            <a:ext cx="8413733" cy="3475037"/>
          </a:xfrm>
        </p:spPr>
        <p:txBody>
          <a:bodyPr/>
          <a:lstStyle/>
          <a:p>
            <a:endParaRPr lang="x-none"/>
          </a:p>
        </p:txBody>
      </p:sp>
      <p:sp>
        <p:nvSpPr>
          <p:cNvPr id="10" name="Chart Placeholder 9">
            <a:extLst>
              <a:ext uri="{FF2B5EF4-FFF2-40B4-BE49-F238E27FC236}">
                <a16:creationId xmlns:a16="http://schemas.microsoft.com/office/drawing/2014/main" id="{ACC7AAC5-7515-A047-A57C-DE66B5C639FD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318779" y="3975652"/>
            <a:ext cx="2914959" cy="1718711"/>
          </a:xfrm>
        </p:spPr>
        <p:txBody>
          <a:bodyPr/>
          <a:lstStyle/>
          <a:p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96480215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A2367D-8B3B-4A41-8470-BC0891471C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9836" y="998214"/>
            <a:ext cx="5703277" cy="489898"/>
          </a:xfrm>
        </p:spPr>
        <p:txBody>
          <a:bodyPr anchor="t">
            <a:noAutofit/>
          </a:bodyPr>
          <a:lstStyle>
            <a:lvl1pPr>
              <a:defRPr sz="3600"/>
            </a:lvl1pPr>
          </a:lstStyle>
          <a:p>
            <a:r>
              <a:rPr lang="en-US" dirty="0"/>
              <a:t>SEVERAL CHARTS</a:t>
            </a:r>
            <a:endParaRPr lang="x-none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F5E3A51-C571-EF4A-8158-00F8B125C6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84BED2-05EF-1641-AA5D-D0EF1B1B19A3}" type="datetimeFigureOut">
              <a:rPr lang="x-none" smtClean="0"/>
              <a:t>7/24/2022</a:t>
            </a:fld>
            <a:endParaRPr lang="x-non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0A7A71F-0264-5E4F-A22B-C789240D00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F0D39B0-B975-5146-81DC-E5D1505A3D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342AD9-554F-5645-B611-09F8EE20B022}" type="slidenum">
              <a:rPr lang="x-none" smtClean="0"/>
              <a:t>‹#›</a:t>
            </a:fld>
            <a:endParaRPr lang="x-none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ADEA2E1E-4929-6A4B-A04A-B15EAC8CC0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9088" y="1547487"/>
            <a:ext cx="5703277" cy="365125"/>
          </a:xfrm>
        </p:spPr>
        <p:txBody>
          <a:bodyPr anchor="t">
            <a:normAutofit/>
          </a:bodyPr>
          <a:lstStyle>
            <a:lvl1pPr>
              <a:buNone/>
              <a:defRPr sz="2400"/>
            </a:lvl1pPr>
          </a:lstStyle>
          <a:p>
            <a:pPr lvl="0"/>
            <a:r>
              <a:rPr lang="en-US" dirty="0"/>
              <a:t>OPTIONAL SUPPORT LINE 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25B1C1D9-5358-5C4E-BA64-36729925866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9088" y="2256313"/>
            <a:ext cx="2914959" cy="1172688"/>
          </a:xfrm>
        </p:spPr>
        <p:txBody>
          <a:bodyPr numCol="1">
            <a:normAutofit/>
          </a:bodyPr>
          <a:lstStyle>
            <a:lvl2pPr marL="11113" marR="0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tx2"/>
                </a:solidFill>
              </a:defRPr>
            </a:lvl2pPr>
            <a:lvl5pPr marL="236538" marR="0" indent="-236538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5pPr>
          </a:lstStyle>
          <a:p>
            <a:pPr marL="11113" marR="0" lvl="1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T</a:t>
            </a:r>
            <a:r>
              <a:rPr lang="x-none" dirty="0"/>
              <a:t>his area is reserved for long paragraphs arranged in one paragraph block. </a:t>
            </a:r>
            <a:r>
              <a:rPr lang="en-US" dirty="0"/>
              <a:t>T</a:t>
            </a:r>
            <a:r>
              <a:rPr lang="x-none" dirty="0"/>
              <a:t>his area is reserved for long paragraphs arranged in one paragraph block. </a:t>
            </a:r>
          </a:p>
        </p:txBody>
      </p:sp>
      <p:sp>
        <p:nvSpPr>
          <p:cNvPr id="10" name="Chart Placeholder 9">
            <a:extLst>
              <a:ext uri="{FF2B5EF4-FFF2-40B4-BE49-F238E27FC236}">
                <a16:creationId xmlns:a16="http://schemas.microsoft.com/office/drawing/2014/main" id="{ACC7AAC5-7515-A047-A57C-DE66B5C639FD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318779" y="3611680"/>
            <a:ext cx="2914959" cy="1718711"/>
          </a:xfrm>
        </p:spPr>
        <p:txBody>
          <a:bodyPr/>
          <a:lstStyle/>
          <a:p>
            <a:endParaRPr lang="x-none"/>
          </a:p>
        </p:txBody>
      </p:sp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DD840935-491E-3943-8EBB-E38668BB06C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19488" y="2256313"/>
            <a:ext cx="2914959" cy="1172688"/>
          </a:xfrm>
        </p:spPr>
        <p:txBody>
          <a:bodyPr numCol="1">
            <a:normAutofit/>
          </a:bodyPr>
          <a:lstStyle>
            <a:lvl2pPr marL="11113" marR="0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tx2"/>
                </a:solidFill>
              </a:defRPr>
            </a:lvl2pPr>
            <a:lvl5pPr marL="236538" marR="0" indent="-236538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5pPr>
          </a:lstStyle>
          <a:p>
            <a:pPr marL="11113" marR="0" lvl="1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T</a:t>
            </a:r>
            <a:r>
              <a:rPr lang="x-none" dirty="0"/>
              <a:t>his area is reserved for long paragraphs arranged in one paragraph block. </a:t>
            </a:r>
            <a:r>
              <a:rPr lang="en-US" dirty="0"/>
              <a:t>T</a:t>
            </a:r>
            <a:r>
              <a:rPr lang="x-none" dirty="0"/>
              <a:t>his area is reserved for long paragraphs arranged in one paragraph block. </a:t>
            </a:r>
          </a:p>
        </p:txBody>
      </p:sp>
      <p:sp>
        <p:nvSpPr>
          <p:cNvPr id="12" name="Chart Placeholder 9">
            <a:extLst>
              <a:ext uri="{FF2B5EF4-FFF2-40B4-BE49-F238E27FC236}">
                <a16:creationId xmlns:a16="http://schemas.microsoft.com/office/drawing/2014/main" id="{C438D8D8-8E7B-3A44-940C-EC673FF27EBC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3519179" y="3611680"/>
            <a:ext cx="2914959" cy="1718711"/>
          </a:xfrm>
        </p:spPr>
        <p:txBody>
          <a:bodyPr/>
          <a:lstStyle/>
          <a:p>
            <a:endParaRPr lang="x-none"/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CBE7AC19-E7A5-A445-A6F2-C2BEF95D098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719888" y="2256313"/>
            <a:ext cx="2914959" cy="1172688"/>
          </a:xfrm>
        </p:spPr>
        <p:txBody>
          <a:bodyPr numCol="1">
            <a:normAutofit/>
          </a:bodyPr>
          <a:lstStyle>
            <a:lvl2pPr marL="11113" marR="0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tx2"/>
                </a:solidFill>
              </a:defRPr>
            </a:lvl2pPr>
            <a:lvl5pPr marL="236538" marR="0" indent="-236538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5pPr>
          </a:lstStyle>
          <a:p>
            <a:pPr marL="11113" marR="0" lvl="1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T</a:t>
            </a:r>
            <a:r>
              <a:rPr lang="x-none" dirty="0"/>
              <a:t>his area is reserved for long paragraphs arranged in one paragraph block. </a:t>
            </a:r>
            <a:r>
              <a:rPr lang="en-US" dirty="0"/>
              <a:t>T</a:t>
            </a:r>
            <a:r>
              <a:rPr lang="x-none" dirty="0"/>
              <a:t>his area is reserved for long paragraphs arranged in one paragraph block. </a:t>
            </a:r>
          </a:p>
        </p:txBody>
      </p:sp>
      <p:sp>
        <p:nvSpPr>
          <p:cNvPr id="15" name="Chart Placeholder 9">
            <a:extLst>
              <a:ext uri="{FF2B5EF4-FFF2-40B4-BE49-F238E27FC236}">
                <a16:creationId xmlns:a16="http://schemas.microsoft.com/office/drawing/2014/main" id="{47050AB1-2EA2-E045-BC3B-B92EEDE8F722}"/>
              </a:ext>
            </a:extLst>
          </p:cNvPr>
          <p:cNvSpPr>
            <a:spLocks noGrp="1"/>
          </p:cNvSpPr>
          <p:nvPr>
            <p:ph type="chart" sz="quarter" idx="20"/>
          </p:nvPr>
        </p:nvSpPr>
        <p:spPr>
          <a:xfrm>
            <a:off x="6719579" y="3611680"/>
            <a:ext cx="5153642" cy="1718711"/>
          </a:xfrm>
        </p:spPr>
        <p:txBody>
          <a:bodyPr/>
          <a:lstStyle/>
          <a:p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4875327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A2367D-8B3B-4A41-8470-BC0891471C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9836" y="998214"/>
            <a:ext cx="5703277" cy="489898"/>
          </a:xfrm>
        </p:spPr>
        <p:txBody>
          <a:bodyPr anchor="t">
            <a:noAutofit/>
          </a:bodyPr>
          <a:lstStyle>
            <a:lvl1pPr>
              <a:defRPr sz="3600"/>
            </a:lvl1pPr>
          </a:lstStyle>
          <a:p>
            <a:r>
              <a:rPr lang="en-US" dirty="0"/>
              <a:t>SEVERAL CHARTS</a:t>
            </a:r>
            <a:endParaRPr lang="x-none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F5E3A51-C571-EF4A-8158-00F8B125C6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84BED2-05EF-1641-AA5D-D0EF1B1B19A3}" type="datetimeFigureOut">
              <a:rPr lang="x-none" smtClean="0"/>
              <a:t>7/24/2022</a:t>
            </a:fld>
            <a:endParaRPr lang="x-non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0A7A71F-0264-5E4F-A22B-C789240D00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F0D39B0-B975-5146-81DC-E5D1505A3D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342AD9-554F-5645-B611-09F8EE20B022}" type="slidenum">
              <a:rPr lang="x-none" smtClean="0"/>
              <a:t>‹#›</a:t>
            </a:fld>
            <a:endParaRPr lang="x-none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ADEA2E1E-4929-6A4B-A04A-B15EAC8CC0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9088" y="1547487"/>
            <a:ext cx="5703277" cy="365125"/>
          </a:xfrm>
        </p:spPr>
        <p:txBody>
          <a:bodyPr anchor="t">
            <a:normAutofit/>
          </a:bodyPr>
          <a:lstStyle>
            <a:lvl1pPr>
              <a:buNone/>
              <a:defRPr sz="2400"/>
            </a:lvl1pPr>
          </a:lstStyle>
          <a:p>
            <a:pPr lvl="0"/>
            <a:r>
              <a:rPr lang="en-US" dirty="0"/>
              <a:t>OPTIONAL SUPPORT LINE 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25B1C1D9-5358-5C4E-BA64-36729925866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9088" y="2256313"/>
            <a:ext cx="2914959" cy="1172688"/>
          </a:xfrm>
        </p:spPr>
        <p:txBody>
          <a:bodyPr numCol="1">
            <a:normAutofit/>
          </a:bodyPr>
          <a:lstStyle>
            <a:lvl2pPr marL="11113" marR="0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tx2"/>
                </a:solidFill>
              </a:defRPr>
            </a:lvl2pPr>
            <a:lvl5pPr marL="236538" marR="0" indent="-236538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5pPr>
          </a:lstStyle>
          <a:p>
            <a:pPr marL="11113" marR="0" lvl="1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T</a:t>
            </a:r>
            <a:r>
              <a:rPr lang="x-none" dirty="0"/>
              <a:t>his area is reserved for long paragraphs arranged in one paragraph block. </a:t>
            </a:r>
            <a:r>
              <a:rPr lang="en-US" dirty="0"/>
              <a:t>T</a:t>
            </a:r>
            <a:r>
              <a:rPr lang="x-none" dirty="0"/>
              <a:t>his area is reserved for long paragraphs arranged in one paragraph block. </a:t>
            </a:r>
          </a:p>
        </p:txBody>
      </p:sp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DD840935-491E-3943-8EBB-E38668BB06C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18779" y="3876261"/>
            <a:ext cx="2914959" cy="1172688"/>
          </a:xfrm>
        </p:spPr>
        <p:txBody>
          <a:bodyPr numCol="1">
            <a:normAutofit/>
          </a:bodyPr>
          <a:lstStyle>
            <a:lvl2pPr marL="11113" marR="0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tx2"/>
                </a:solidFill>
              </a:defRPr>
            </a:lvl2pPr>
            <a:lvl5pPr marL="236538" marR="0" indent="-236538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5pPr>
          </a:lstStyle>
          <a:p>
            <a:pPr marL="11113" marR="0" lvl="1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T</a:t>
            </a:r>
            <a:r>
              <a:rPr lang="x-none" dirty="0"/>
              <a:t>his area is reserved for long paragraphs arranged in one paragraph block. </a:t>
            </a:r>
            <a:r>
              <a:rPr lang="en-US" dirty="0"/>
              <a:t>T</a:t>
            </a:r>
            <a:r>
              <a:rPr lang="x-none" dirty="0"/>
              <a:t>his area is reserved for long paragraphs arranged in one paragraph block. </a:t>
            </a:r>
          </a:p>
        </p:txBody>
      </p:sp>
      <p:sp>
        <p:nvSpPr>
          <p:cNvPr id="12" name="Chart Placeholder 9">
            <a:extLst>
              <a:ext uri="{FF2B5EF4-FFF2-40B4-BE49-F238E27FC236}">
                <a16:creationId xmlns:a16="http://schemas.microsoft.com/office/drawing/2014/main" id="{C438D8D8-8E7B-3A44-940C-EC673FF27EBC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3519179" y="3876261"/>
            <a:ext cx="2914959" cy="1454130"/>
          </a:xfrm>
        </p:spPr>
        <p:txBody>
          <a:bodyPr/>
          <a:lstStyle/>
          <a:p>
            <a:endParaRPr lang="x-none"/>
          </a:p>
        </p:txBody>
      </p:sp>
      <p:sp>
        <p:nvSpPr>
          <p:cNvPr id="15" name="Chart Placeholder 9">
            <a:extLst>
              <a:ext uri="{FF2B5EF4-FFF2-40B4-BE49-F238E27FC236}">
                <a16:creationId xmlns:a16="http://schemas.microsoft.com/office/drawing/2014/main" id="{47050AB1-2EA2-E045-BC3B-B92EEDE8F722}"/>
              </a:ext>
            </a:extLst>
          </p:cNvPr>
          <p:cNvSpPr>
            <a:spLocks noGrp="1"/>
          </p:cNvSpPr>
          <p:nvPr>
            <p:ph type="chart" sz="quarter" idx="20"/>
          </p:nvPr>
        </p:nvSpPr>
        <p:spPr>
          <a:xfrm>
            <a:off x="6719579" y="2256314"/>
            <a:ext cx="5153642" cy="3074078"/>
          </a:xfrm>
        </p:spPr>
        <p:txBody>
          <a:bodyPr/>
          <a:lstStyle/>
          <a:p>
            <a:endParaRPr lang="x-none"/>
          </a:p>
        </p:txBody>
      </p:sp>
      <p:sp>
        <p:nvSpPr>
          <p:cNvPr id="18" name="Chart Placeholder 9">
            <a:extLst>
              <a:ext uri="{FF2B5EF4-FFF2-40B4-BE49-F238E27FC236}">
                <a16:creationId xmlns:a16="http://schemas.microsoft.com/office/drawing/2014/main" id="{A66C0D11-D831-8146-AEF5-96643656D615}"/>
              </a:ext>
            </a:extLst>
          </p:cNvPr>
          <p:cNvSpPr>
            <a:spLocks noGrp="1"/>
          </p:cNvSpPr>
          <p:nvPr>
            <p:ph type="chart" sz="quarter" idx="21"/>
          </p:nvPr>
        </p:nvSpPr>
        <p:spPr>
          <a:xfrm>
            <a:off x="3519179" y="2256313"/>
            <a:ext cx="2914959" cy="1454130"/>
          </a:xfrm>
        </p:spPr>
        <p:txBody>
          <a:bodyPr/>
          <a:lstStyle/>
          <a:p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375691223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A2367D-8B3B-4A41-8470-BC0891471C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9836" y="998214"/>
            <a:ext cx="5703277" cy="489898"/>
          </a:xfrm>
        </p:spPr>
        <p:txBody>
          <a:bodyPr anchor="t">
            <a:noAutofit/>
          </a:bodyPr>
          <a:lstStyle>
            <a:lvl1pPr>
              <a:defRPr sz="3600"/>
            </a:lvl1pPr>
          </a:lstStyle>
          <a:p>
            <a:r>
              <a:rPr lang="en-US" dirty="0"/>
              <a:t>LONG TEXT CHART</a:t>
            </a:r>
            <a:endParaRPr lang="x-none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F5E3A51-C571-EF4A-8158-00F8B125C6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84BED2-05EF-1641-AA5D-D0EF1B1B19A3}" type="datetimeFigureOut">
              <a:rPr lang="x-none" smtClean="0"/>
              <a:t>7/24/2022</a:t>
            </a:fld>
            <a:endParaRPr lang="x-non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0A7A71F-0264-5E4F-A22B-C789240D00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F0D39B0-B975-5146-81DC-E5D1505A3D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342AD9-554F-5645-B611-09F8EE20B022}" type="slidenum">
              <a:rPr lang="x-none" smtClean="0"/>
              <a:t>‹#›</a:t>
            </a:fld>
            <a:endParaRPr lang="x-none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ADEA2E1E-4929-6A4B-A04A-B15EAC8CC0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9088" y="1547487"/>
            <a:ext cx="5703277" cy="365125"/>
          </a:xfrm>
        </p:spPr>
        <p:txBody>
          <a:bodyPr anchor="t">
            <a:normAutofit/>
          </a:bodyPr>
          <a:lstStyle>
            <a:lvl1pPr>
              <a:buNone/>
              <a:defRPr sz="2400"/>
            </a:lvl1pPr>
          </a:lstStyle>
          <a:p>
            <a:pPr lvl="0"/>
            <a:r>
              <a:rPr lang="en-US" dirty="0"/>
              <a:t>OPTIONAL SUPPORT LINE 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25B1C1D9-5358-5C4E-BA64-36729925866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9088" y="2256313"/>
            <a:ext cx="5922685" cy="3074078"/>
          </a:xfrm>
        </p:spPr>
        <p:txBody>
          <a:bodyPr numCol="1">
            <a:normAutofit/>
          </a:bodyPr>
          <a:lstStyle>
            <a:lvl2pPr marL="11113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tx2"/>
                </a:solidFill>
              </a:defRPr>
            </a:lvl2pPr>
            <a:lvl5pPr marL="236538" marR="0" indent="-236538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5pPr>
          </a:lstStyle>
          <a:p>
            <a:pPr marL="11113" marR="0" lvl="1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T</a:t>
            </a:r>
            <a:r>
              <a:rPr lang="x-none" dirty="0"/>
              <a:t>his area is reserved for long paragraphs arranged in one paragraph block. </a:t>
            </a:r>
            <a:r>
              <a:rPr lang="en-US" dirty="0"/>
              <a:t>T</a:t>
            </a:r>
            <a:r>
              <a:rPr lang="x-none" dirty="0"/>
              <a:t>his area is reserved for long paragraphs arranged in one paragraph block. </a:t>
            </a:r>
            <a:r>
              <a:rPr lang="en-US" dirty="0"/>
              <a:t>T</a:t>
            </a:r>
            <a:r>
              <a:rPr lang="x-none" dirty="0"/>
              <a:t>his area is reserved for long paragraphs arranged in one paragraph block. </a:t>
            </a:r>
            <a:r>
              <a:rPr lang="en-US" dirty="0"/>
              <a:t>T</a:t>
            </a:r>
            <a:r>
              <a:rPr lang="x-none" dirty="0"/>
              <a:t>his area is reserved for long paragraphs arranged in one paragraph block. </a:t>
            </a:r>
            <a:r>
              <a:rPr lang="en-US" dirty="0"/>
              <a:t>T</a:t>
            </a:r>
            <a:r>
              <a:rPr lang="x-none" dirty="0"/>
              <a:t>his area is reserved for long paragraphs arranged in one paragraph block. </a:t>
            </a:r>
            <a:r>
              <a:rPr lang="en-US" dirty="0"/>
              <a:t>T</a:t>
            </a:r>
            <a:r>
              <a:rPr lang="x-none" dirty="0"/>
              <a:t>his area is reserved for long paragraphs arranged in one paragraph block. </a:t>
            </a:r>
            <a:r>
              <a:rPr lang="en-US" dirty="0"/>
              <a:t>T</a:t>
            </a:r>
            <a:r>
              <a:rPr lang="x-none" dirty="0"/>
              <a:t>his area is reserved for long paragraphs arranged in one paragraph block. </a:t>
            </a:r>
            <a:r>
              <a:rPr lang="en-US" dirty="0"/>
              <a:t>T</a:t>
            </a:r>
            <a:r>
              <a:rPr lang="x-none" dirty="0"/>
              <a:t>his area is reserved for long paragraphs arranged in one paragraph block. </a:t>
            </a:r>
          </a:p>
          <a:p>
            <a:pPr marL="11113" marR="0" lvl="1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x-none" dirty="0"/>
          </a:p>
        </p:txBody>
      </p:sp>
      <p:sp>
        <p:nvSpPr>
          <p:cNvPr id="15" name="Chart Placeholder 9">
            <a:extLst>
              <a:ext uri="{FF2B5EF4-FFF2-40B4-BE49-F238E27FC236}">
                <a16:creationId xmlns:a16="http://schemas.microsoft.com/office/drawing/2014/main" id="{47050AB1-2EA2-E045-BC3B-B92EEDE8F722}"/>
              </a:ext>
            </a:extLst>
          </p:cNvPr>
          <p:cNvSpPr>
            <a:spLocks noGrp="1"/>
          </p:cNvSpPr>
          <p:nvPr>
            <p:ph type="chart" sz="quarter" idx="20"/>
          </p:nvPr>
        </p:nvSpPr>
        <p:spPr>
          <a:xfrm>
            <a:off x="6619461" y="2256314"/>
            <a:ext cx="5253760" cy="3074078"/>
          </a:xfrm>
        </p:spPr>
        <p:txBody>
          <a:bodyPr/>
          <a:lstStyle/>
          <a:p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192655322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A2367D-8B3B-4A41-8470-BC0891471C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9836" y="998214"/>
            <a:ext cx="5703277" cy="489898"/>
          </a:xfrm>
        </p:spPr>
        <p:txBody>
          <a:bodyPr anchor="t">
            <a:noAutofit/>
          </a:bodyPr>
          <a:lstStyle>
            <a:lvl1pPr>
              <a:defRPr sz="3600"/>
            </a:lvl1pPr>
          </a:lstStyle>
          <a:p>
            <a:r>
              <a:rPr lang="en-US" dirty="0"/>
              <a:t>LONG TEXT CHART</a:t>
            </a:r>
            <a:endParaRPr lang="x-none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F5E3A51-C571-EF4A-8158-00F8B125C6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84BED2-05EF-1641-AA5D-D0EF1B1B19A3}" type="datetimeFigureOut">
              <a:rPr lang="x-none" smtClean="0"/>
              <a:t>7/24/2022</a:t>
            </a:fld>
            <a:endParaRPr lang="x-non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0A7A71F-0264-5E4F-A22B-C789240D00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F0D39B0-B975-5146-81DC-E5D1505A3D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342AD9-554F-5645-B611-09F8EE20B022}" type="slidenum">
              <a:rPr lang="x-none" smtClean="0"/>
              <a:t>‹#›</a:t>
            </a:fld>
            <a:endParaRPr lang="x-none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ADEA2E1E-4929-6A4B-A04A-B15EAC8CC0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9088" y="1547487"/>
            <a:ext cx="5703277" cy="365125"/>
          </a:xfrm>
        </p:spPr>
        <p:txBody>
          <a:bodyPr anchor="t">
            <a:normAutofit/>
          </a:bodyPr>
          <a:lstStyle>
            <a:lvl1pPr>
              <a:buNone/>
              <a:defRPr sz="2400"/>
            </a:lvl1pPr>
          </a:lstStyle>
          <a:p>
            <a:pPr lvl="0"/>
            <a:r>
              <a:rPr lang="en-US" dirty="0"/>
              <a:t>OPTIONAL SUPPORT LINE 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25B1C1D9-5358-5C4E-BA64-36729925866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9088" y="2256313"/>
            <a:ext cx="5922685" cy="3074078"/>
          </a:xfrm>
        </p:spPr>
        <p:txBody>
          <a:bodyPr numCol="1">
            <a:normAutofit/>
          </a:bodyPr>
          <a:lstStyle>
            <a:lvl2pPr marL="11113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tx2"/>
                </a:solidFill>
              </a:defRPr>
            </a:lvl2pPr>
            <a:lvl5pPr marL="236538" marR="0" indent="-236538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5pPr>
          </a:lstStyle>
          <a:p>
            <a:pPr marL="11113" marR="0" lvl="1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T</a:t>
            </a:r>
            <a:r>
              <a:rPr lang="x-none" dirty="0"/>
              <a:t>his area is reserved for long paragraphs arranged in one paragraph block. </a:t>
            </a:r>
            <a:r>
              <a:rPr lang="en-US" dirty="0"/>
              <a:t>T</a:t>
            </a:r>
            <a:r>
              <a:rPr lang="x-none" dirty="0"/>
              <a:t>his area is reserved for long paragraphs arranged in one paragraph block. </a:t>
            </a:r>
            <a:r>
              <a:rPr lang="en-US" dirty="0"/>
              <a:t>T</a:t>
            </a:r>
            <a:r>
              <a:rPr lang="x-none" dirty="0"/>
              <a:t>his area is reserved for long paragraphs arranged in one paragraph block. </a:t>
            </a:r>
            <a:r>
              <a:rPr lang="en-US" dirty="0"/>
              <a:t>T</a:t>
            </a:r>
            <a:r>
              <a:rPr lang="x-none" dirty="0"/>
              <a:t>his area is reserved for long paragraphs arranged in one paragraph block. </a:t>
            </a:r>
            <a:r>
              <a:rPr lang="en-US" dirty="0"/>
              <a:t>T</a:t>
            </a:r>
            <a:r>
              <a:rPr lang="x-none" dirty="0"/>
              <a:t>his area is reserved for long paragraphs arranged in one paragraph block. </a:t>
            </a:r>
            <a:r>
              <a:rPr lang="en-US" dirty="0"/>
              <a:t>T</a:t>
            </a:r>
            <a:r>
              <a:rPr lang="x-none" dirty="0"/>
              <a:t>his area is reserved for long paragraphs arranged in one paragraph block. </a:t>
            </a:r>
            <a:r>
              <a:rPr lang="en-US" dirty="0"/>
              <a:t>T</a:t>
            </a:r>
            <a:r>
              <a:rPr lang="x-none" dirty="0"/>
              <a:t>his area is reserved for long paragraphs arranged in one paragraph block. </a:t>
            </a:r>
            <a:r>
              <a:rPr lang="en-US" dirty="0"/>
              <a:t>T</a:t>
            </a:r>
            <a:r>
              <a:rPr lang="x-none" dirty="0"/>
              <a:t>his area is reserved for long paragraphs arranged in one paragraph block. </a:t>
            </a:r>
          </a:p>
          <a:p>
            <a:pPr marL="11113" marR="0" lvl="1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x-none" dirty="0"/>
          </a:p>
        </p:txBody>
      </p:sp>
      <p:sp>
        <p:nvSpPr>
          <p:cNvPr id="15" name="Chart Placeholder 9">
            <a:extLst>
              <a:ext uri="{FF2B5EF4-FFF2-40B4-BE49-F238E27FC236}">
                <a16:creationId xmlns:a16="http://schemas.microsoft.com/office/drawing/2014/main" id="{47050AB1-2EA2-E045-BC3B-B92EEDE8F722}"/>
              </a:ext>
            </a:extLst>
          </p:cNvPr>
          <p:cNvSpPr>
            <a:spLocks noGrp="1"/>
          </p:cNvSpPr>
          <p:nvPr>
            <p:ph type="chart" sz="quarter" idx="20"/>
          </p:nvPr>
        </p:nvSpPr>
        <p:spPr>
          <a:xfrm>
            <a:off x="6619461" y="3637722"/>
            <a:ext cx="5253760" cy="1692669"/>
          </a:xfrm>
        </p:spPr>
        <p:txBody>
          <a:bodyPr/>
          <a:lstStyle/>
          <a:p>
            <a:endParaRPr lang="x-none" dirty="0"/>
          </a:p>
        </p:txBody>
      </p:sp>
      <p:sp>
        <p:nvSpPr>
          <p:cNvPr id="4" name="Chart Placeholder 3">
            <a:extLst>
              <a:ext uri="{FF2B5EF4-FFF2-40B4-BE49-F238E27FC236}">
                <a16:creationId xmlns:a16="http://schemas.microsoft.com/office/drawing/2014/main" id="{981250EA-B415-8F4B-AEED-4CDCC30F998D}"/>
              </a:ext>
            </a:extLst>
          </p:cNvPr>
          <p:cNvSpPr>
            <a:spLocks noGrp="1"/>
          </p:cNvSpPr>
          <p:nvPr>
            <p:ph type="chart" sz="quarter" idx="21"/>
          </p:nvPr>
        </p:nvSpPr>
        <p:spPr>
          <a:xfrm>
            <a:off x="6619874" y="998214"/>
            <a:ext cx="2793891" cy="2430786"/>
          </a:xfrm>
        </p:spPr>
        <p:txBody>
          <a:bodyPr/>
          <a:lstStyle/>
          <a:p>
            <a:endParaRPr lang="x-none"/>
          </a:p>
        </p:txBody>
      </p:sp>
      <p:sp>
        <p:nvSpPr>
          <p:cNvPr id="9" name="Chart Placeholder 8">
            <a:extLst>
              <a:ext uri="{FF2B5EF4-FFF2-40B4-BE49-F238E27FC236}">
                <a16:creationId xmlns:a16="http://schemas.microsoft.com/office/drawing/2014/main" id="{73EED9E2-706E-3249-A92C-ABD95AC9EB6B}"/>
              </a:ext>
            </a:extLst>
          </p:cNvPr>
          <p:cNvSpPr>
            <a:spLocks noGrp="1"/>
          </p:cNvSpPr>
          <p:nvPr>
            <p:ph type="chart" sz="quarter" idx="22"/>
          </p:nvPr>
        </p:nvSpPr>
        <p:spPr>
          <a:xfrm>
            <a:off x="9791866" y="998538"/>
            <a:ext cx="2080298" cy="2430462"/>
          </a:xfrm>
        </p:spPr>
        <p:txBody>
          <a:bodyPr/>
          <a:lstStyle/>
          <a:p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182659383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- Dark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33E943C-4311-8F40-80FF-96B5F751EB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84BED2-05EF-1641-AA5D-D0EF1B1B19A3}" type="datetimeFigureOut">
              <a:rPr lang="x-none" smtClean="0"/>
              <a:t>7/24/2022</a:t>
            </a:fld>
            <a:endParaRPr lang="x-non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9E32711-0DC1-0047-B8EC-916871613E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503C88C-E24D-8848-AC60-F825BF8749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342AD9-554F-5645-B611-09F8EE20B022}" type="slidenum">
              <a:rPr lang="x-none" smtClean="0"/>
              <a:t>‹#›</a:t>
            </a:fld>
            <a:endParaRPr lang="x-none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604C307-1420-E849-A4C9-39EBA59ACA9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x-none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3A0E5C6-0FF0-E140-816E-298605652AB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524" y="5906644"/>
            <a:ext cx="1120516" cy="64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534529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L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392CF6DE-95FB-EF40-9A12-5CC9EA6C39D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x-none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33E943C-4311-8F40-80FF-96B5F751EB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84BED2-05EF-1641-AA5D-D0EF1B1B19A3}" type="datetimeFigureOut">
              <a:rPr lang="x-none" smtClean="0"/>
              <a:t>7/24/2022</a:t>
            </a:fld>
            <a:endParaRPr lang="x-non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9E32711-0DC1-0047-B8EC-916871613E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503C88C-E24D-8848-AC60-F825BF8749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342AD9-554F-5645-B611-09F8EE20B022}" type="slidenum">
              <a:rPr lang="x-none" smtClean="0"/>
              <a:t>‹#›</a:t>
            </a:fld>
            <a:endParaRPr lang="x-none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50989CB-1EC8-1448-8843-4238D4C6914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524" y="5906643"/>
            <a:ext cx="1120514" cy="6458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692106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- Text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6984B64-3D78-E54E-9AF6-75E9736E715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1999" cy="6858000"/>
          </a:xfrm>
        </p:spPr>
        <p:txBody>
          <a:bodyPr/>
          <a:lstStyle/>
          <a:p>
            <a:endParaRPr lang="x-non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4A4A137-FB14-814B-B09D-97141A2692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84BED2-05EF-1641-AA5D-D0EF1B1B19A3}" type="datetimeFigureOut">
              <a:rPr lang="x-none" smtClean="0"/>
              <a:t>7/24/2022</a:t>
            </a:fld>
            <a:endParaRPr lang="x-non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6D0F700-AC6E-234F-9940-F108BCBD91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9BB7825-13A7-8C43-BC7A-773364107C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342AD9-554F-5645-B611-09F8EE20B022}" type="slidenum">
              <a:rPr lang="x-none" smtClean="0"/>
              <a:t>‹#›</a:t>
            </a:fld>
            <a:endParaRPr lang="x-none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09F0579-C1C7-EA46-8DF7-DD97C997835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5125" y="1107593"/>
            <a:ext cx="5340626" cy="537682"/>
          </a:xfrm>
        </p:spPr>
        <p:txBody>
          <a:bodyPr/>
          <a:lstStyle>
            <a:lvl1pPr marL="12700" indent="-12700">
              <a:buFont typeface="Arial" panose="020B0604020202020204" pitchFamily="34" charset="0"/>
              <a:buNone/>
              <a:tabLst/>
              <a:defRPr sz="4000">
                <a:latin typeface="+mj-lt"/>
              </a:defRPr>
            </a:lvl1pPr>
          </a:lstStyle>
          <a:p>
            <a:pPr lvl="0"/>
            <a:r>
              <a:rPr lang="en-US" dirty="0"/>
              <a:t>PAGE TITLE HERE</a:t>
            </a:r>
            <a:endParaRPr lang="x-none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812EDDB-8DC0-C34B-A78C-03E2336394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5125" y="1743638"/>
            <a:ext cx="5340350" cy="1446212"/>
          </a:xfrm>
        </p:spPr>
        <p:txBody>
          <a:bodyPr/>
          <a:lstStyle>
            <a:lvl1pPr>
              <a:buNone/>
              <a:defRPr/>
            </a:lvl1pPr>
          </a:lstStyle>
          <a:p>
            <a:r>
              <a:rPr lang="en-US" dirty="0"/>
              <a:t>SUB HERE OR HEADLINE</a:t>
            </a:r>
            <a:endParaRPr lang="x-none" dirty="0"/>
          </a:p>
        </p:txBody>
      </p:sp>
    </p:spTree>
    <p:extLst>
      <p:ext uri="{BB962C8B-B14F-4D97-AF65-F5344CB8AC3E}">
        <p14:creationId xmlns:p14="http://schemas.microsoft.com/office/powerpoint/2010/main" val="49545881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- text -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6984B64-3D78-E54E-9AF6-75E9736E715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1999" cy="6858000"/>
          </a:xfrm>
        </p:spPr>
        <p:txBody>
          <a:bodyPr/>
          <a:lstStyle/>
          <a:p>
            <a:endParaRPr lang="x-non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4A4A137-FB14-814B-B09D-97141A2692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84BED2-05EF-1641-AA5D-D0EF1B1B19A3}" type="datetimeFigureOut">
              <a:rPr lang="x-none" smtClean="0"/>
              <a:t>7/24/2022</a:t>
            </a:fld>
            <a:endParaRPr lang="x-non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6D0F700-AC6E-234F-9940-F108BCBD91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9BB7825-13A7-8C43-BC7A-773364107C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342AD9-554F-5645-B611-09F8EE20B022}" type="slidenum">
              <a:rPr lang="x-none" smtClean="0"/>
              <a:t>‹#›</a:t>
            </a:fld>
            <a:endParaRPr lang="x-none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09F0579-C1C7-EA46-8DF7-DD97C997835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5125" y="1107593"/>
            <a:ext cx="5340626" cy="537682"/>
          </a:xfrm>
        </p:spPr>
        <p:txBody>
          <a:bodyPr/>
          <a:lstStyle>
            <a:lvl1pPr marL="12700" indent="-12700">
              <a:buFont typeface="Arial" panose="020B0604020202020204" pitchFamily="34" charset="0"/>
              <a:buNone/>
              <a:tabLst/>
              <a:defRPr sz="4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PAGE TITLE HERE</a:t>
            </a:r>
            <a:endParaRPr lang="x-none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812EDDB-8DC0-C34B-A78C-03E2336394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5125" y="1743638"/>
            <a:ext cx="5340350" cy="1446212"/>
          </a:xfrm>
        </p:spPr>
        <p:txBody>
          <a:bodyPr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UB HERE OR HEADLINE</a:t>
            </a:r>
            <a:endParaRPr lang="x-none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7E76012-7F8A-5547-A778-241D8CDC193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524" y="5906644"/>
            <a:ext cx="1120516" cy="64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89672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2DD75CA8-C696-EF4B-B015-3541BF6D50E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0"/>
            <a:ext cx="12192001" cy="6858000"/>
          </a:xfrm>
        </p:spPr>
        <p:txBody>
          <a:bodyPr/>
          <a:lstStyle/>
          <a:p>
            <a:endParaRPr lang="x-none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54BEA17-C16A-D443-A860-42F66957870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31913" y="1406938"/>
            <a:ext cx="9144000" cy="729975"/>
          </a:xfrm>
        </p:spPr>
        <p:txBody>
          <a:bodyPr anchor="t">
            <a:normAutofit/>
          </a:bodyPr>
          <a:lstStyle>
            <a:lvl1pPr algn="l">
              <a:defRPr sz="4800">
                <a:solidFill>
                  <a:srgbClr val="2A2B6A"/>
                </a:solidFill>
              </a:defRPr>
            </a:lvl1pPr>
          </a:lstStyle>
          <a:p>
            <a:r>
              <a:rPr lang="en-US" dirty="0"/>
              <a:t>COVER PAGE</a:t>
            </a:r>
            <a:endParaRPr lang="x-non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CF5FDE1-C055-4145-92B4-F33175E6FCD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31913" y="2136913"/>
            <a:ext cx="9144000" cy="1655762"/>
          </a:xfrm>
        </p:spPr>
        <p:txBody>
          <a:bodyPr/>
          <a:lstStyle>
            <a:lvl1pPr marL="0" indent="0" algn="l">
              <a:buNone/>
              <a:defRPr sz="4800">
                <a:solidFill>
                  <a:srgbClr val="2A2B6A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 HERE OR HEADLINE</a:t>
            </a:r>
            <a:endParaRPr lang="x-none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72F4E7F-D1C9-6F49-813A-3A7D87553D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84BED2-05EF-1641-AA5D-D0EF1B1B19A3}" type="datetimeFigureOut">
              <a:rPr lang="x-none" smtClean="0"/>
              <a:pPr/>
              <a:t>7/24/2022</a:t>
            </a:fld>
            <a:endParaRPr lang="x-non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891FB6B-08B6-8A4D-9161-2956133472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algn="l" defTabSz="914400" rtl="0" eaLnBrk="1" latinLnBrk="0" hangingPunct="1"/>
            <a:endParaRPr lang="x-non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4C89EEE-E667-EB40-B38A-7A697CA2B3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342AD9-554F-5645-B611-09F8EE20B022}" type="slidenum">
              <a:rPr lang="x-none" smtClean="0"/>
              <a:pPr/>
              <a:t>‹#›</a:t>
            </a:fld>
            <a:endParaRPr lang="x-none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0ACC46A-450D-1C4C-B87A-83DAACBDC8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9578" y="5272933"/>
            <a:ext cx="2256719" cy="1300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82159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0AE2B1-51EE-D14C-B119-4914B30CA1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4646" y="457200"/>
            <a:ext cx="4470234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F4043B8-5995-D944-ABE5-CE724C3DFFB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457199"/>
            <a:ext cx="6724166" cy="5282419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x-non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9278823-DF4A-024C-B391-81533BE5DAD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284646" y="2222695"/>
            <a:ext cx="4470234" cy="3516924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F8916BD-C1D5-0E43-A5D4-B228777421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84BED2-05EF-1641-AA5D-D0EF1B1B19A3}" type="datetimeFigureOut">
              <a:rPr lang="x-none" smtClean="0"/>
              <a:t>7/24/2022</a:t>
            </a:fld>
            <a:endParaRPr lang="x-non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40BCC73-0554-FF42-96D5-7867235F32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8AFF1AC-E26C-F849-BA81-4A881196B0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342AD9-554F-5645-B611-09F8EE20B022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85692819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006AAD-0DC1-2444-A278-2B04271F51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694" y="365125"/>
            <a:ext cx="11589659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6B2F23A-F279-9A43-88FC-1EC5958CF1E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317694" y="1825625"/>
            <a:ext cx="11589659" cy="398140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20C5095-B5CB-AC45-88D4-C4CFB09F37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84BED2-05EF-1641-AA5D-D0EF1B1B19A3}" type="datetimeFigureOut">
              <a:rPr lang="x-none" smtClean="0"/>
              <a:t>7/24/2022</a:t>
            </a:fld>
            <a:endParaRPr lang="x-non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973CF84-33D7-CA46-B79E-9D05D959E6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5C2980-6E28-C04C-A850-EA2E0A0AD7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342AD9-554F-5645-B611-09F8EE20B022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171300208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592E894-0881-F248-A02F-64648C7D7D4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9065044" y="365125"/>
            <a:ext cx="2806750" cy="535495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6E5798D-5AE1-B041-A2B3-8B0B8840B6F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314960" y="365125"/>
            <a:ext cx="8503920" cy="535495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0A92831-EEB4-7648-91F1-14300EF664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84BED2-05EF-1641-AA5D-D0EF1B1B19A3}" type="datetimeFigureOut">
              <a:rPr lang="x-none" smtClean="0"/>
              <a:t>7/24/2022</a:t>
            </a:fld>
            <a:endParaRPr lang="x-non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79EFC97-D498-F240-BE78-DC2A0E4679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75327" y="6155363"/>
            <a:ext cx="5701929" cy="336422"/>
          </a:xfrm>
        </p:spPr>
        <p:txBody>
          <a:bodyPr/>
          <a:lstStyle/>
          <a:p>
            <a:endParaRPr lang="x-non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C25DC2-EA66-744D-B372-C99BDB0077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342AD9-554F-5645-B611-09F8EE20B022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374852268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ech - section">
    <p:bg>
      <p:bgPr>
        <a:solidFill>
          <a:srgbClr val="2A2B6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F7F68A-E4B7-AA41-A989-347E069B73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9959" y="2268187"/>
            <a:ext cx="11103840" cy="1650670"/>
          </a:xfrm>
        </p:spPr>
        <p:txBody>
          <a:bodyPr anchor="t"/>
          <a:lstStyle>
            <a:lvl1pPr>
              <a:defRPr sz="6000">
                <a:solidFill>
                  <a:srgbClr val="FDDA00"/>
                </a:solidFill>
              </a:defRPr>
            </a:lvl1pPr>
          </a:lstStyle>
          <a:p>
            <a:r>
              <a:rPr lang="en-US" dirty="0"/>
              <a:t>SEPARATOR PAGE</a:t>
            </a:r>
            <a:br>
              <a:rPr lang="en-US" dirty="0"/>
            </a:br>
            <a:r>
              <a:rPr lang="en-US" dirty="0"/>
              <a:t>HEADLINE</a:t>
            </a:r>
            <a:endParaRPr lang="x-non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1F09A15-FBD5-A246-869B-10F2A6AE56C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49959" y="3934667"/>
            <a:ext cx="11103840" cy="1500187"/>
          </a:xfrm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-TITLE HER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EDA8CA-FC57-7243-8A13-0F90D5D9D7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0084BED2-05EF-1641-AA5D-D0EF1B1B19A3}" type="datetimeFigureOut">
              <a:rPr lang="x-none" smtClean="0"/>
              <a:pPr/>
              <a:t>7/24/2022</a:t>
            </a:fld>
            <a:endParaRPr lang="x-non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7FFABB-42A6-3045-819D-F50438C736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x-none">
              <a:solidFill>
                <a:schemeClr val="bg2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5A30FB4-95B0-9D4C-B844-0ECFBB2B6B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80342AD9-554F-5645-B611-09F8EE20B022}" type="slidenum">
              <a:rPr lang="x-none" smtClean="0"/>
              <a:pPr/>
              <a:t>‹#›</a:t>
            </a:fld>
            <a:endParaRPr lang="x-none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1661304-DED9-D74E-9B0F-105C66B3C9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524" y="5906644"/>
            <a:ext cx="1120516" cy="64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321653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ubSection - Technology">
    <p:bg>
      <p:bgPr>
        <a:solidFill>
          <a:srgbClr val="FDDA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F7F68A-E4B7-AA41-A989-347E069B73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9959" y="2268187"/>
            <a:ext cx="11103840" cy="1650670"/>
          </a:xfrm>
        </p:spPr>
        <p:txBody>
          <a:bodyPr anchor="t"/>
          <a:lstStyle>
            <a:lvl1pPr>
              <a:defRPr sz="6000">
                <a:solidFill>
                  <a:srgbClr val="2A2B6A"/>
                </a:solidFill>
              </a:defRPr>
            </a:lvl1pPr>
          </a:lstStyle>
          <a:p>
            <a:r>
              <a:rPr lang="en-US" dirty="0"/>
              <a:t>TECHNOLOGY SUB-SECTION TITLE</a:t>
            </a:r>
            <a:endParaRPr lang="x-non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1F09A15-FBD5-A246-869B-10F2A6AE56C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49959" y="3934667"/>
            <a:ext cx="11103840" cy="1500187"/>
          </a:xfrm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-TITLE HER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EDA8CA-FC57-7243-8A13-0F90D5D9D7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2A2B6A"/>
                </a:solidFill>
              </a:defRPr>
            </a:lvl1pPr>
          </a:lstStyle>
          <a:p>
            <a:fld id="{0084BED2-05EF-1641-AA5D-D0EF1B1B19A3}" type="datetimeFigureOut">
              <a:rPr lang="x-none" smtClean="0"/>
              <a:pPr/>
              <a:t>7/24/2022</a:t>
            </a:fld>
            <a:endParaRPr lang="x-non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7FFABB-42A6-3045-819D-F50438C736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2A2B6A"/>
                </a:solidFill>
              </a:defRPr>
            </a:lvl1pPr>
          </a:lstStyle>
          <a:p>
            <a:endParaRPr lang="x-none">
              <a:solidFill>
                <a:srgbClr val="2A2B6A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5A30FB4-95B0-9D4C-B844-0ECFBB2B6B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2A2B6A"/>
                </a:solidFill>
              </a:defRPr>
            </a:lvl1pPr>
          </a:lstStyle>
          <a:p>
            <a:fld id="{80342AD9-554F-5645-B611-09F8EE20B022}" type="slidenum">
              <a:rPr lang="x-none" smtClean="0"/>
              <a:pPr/>
              <a:t>‹#›</a:t>
            </a:fld>
            <a:endParaRPr lang="x-none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1661304-DED9-D74E-9B0F-105C66B3C9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524" y="5906644"/>
            <a:ext cx="1120516" cy="64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412200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Technolog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A2367D-8B3B-4A41-8470-BC0891471C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9836" y="998214"/>
            <a:ext cx="11033962" cy="489898"/>
          </a:xfrm>
        </p:spPr>
        <p:txBody>
          <a:bodyPr anchor="t">
            <a:noAutofit/>
          </a:bodyPr>
          <a:lstStyle>
            <a:lvl1pPr>
              <a:defRPr sz="3600">
                <a:solidFill>
                  <a:srgbClr val="FDDA00"/>
                </a:solidFill>
              </a:defRPr>
            </a:lvl1pPr>
          </a:lstStyle>
          <a:p>
            <a:r>
              <a:rPr lang="en-US" dirty="0"/>
              <a:t>FULL TEXT ONE PARAGRAPH</a:t>
            </a:r>
            <a:endParaRPr lang="x-none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F5E3A51-C571-EF4A-8158-00F8B125C6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84BED2-05EF-1641-AA5D-D0EF1B1B19A3}" type="datetimeFigureOut">
              <a:rPr lang="x-none" smtClean="0"/>
              <a:t>7/24/2022</a:t>
            </a:fld>
            <a:endParaRPr lang="x-non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0A7A71F-0264-5E4F-A22B-C789240D00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F0D39B0-B975-5146-81DC-E5D1505A3D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342AD9-554F-5645-B611-09F8EE20B022}" type="slidenum">
              <a:rPr lang="x-none" smtClean="0"/>
              <a:t>‹#›</a:t>
            </a:fld>
            <a:endParaRPr lang="x-none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ADEA2E1E-4929-6A4B-A04A-B15EAC8CC0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9088" y="1547487"/>
            <a:ext cx="11033962" cy="365125"/>
          </a:xfrm>
        </p:spPr>
        <p:txBody>
          <a:bodyPr anchor="t">
            <a:normAutofit/>
          </a:bodyPr>
          <a:lstStyle>
            <a:lvl1pPr>
              <a:buNone/>
              <a:defRPr sz="2400"/>
            </a:lvl1pPr>
          </a:lstStyle>
          <a:p>
            <a:pPr lvl="0"/>
            <a:r>
              <a:rPr lang="en-US" dirty="0"/>
              <a:t>OPTIONAL SUPPORT LINE 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25B1C1D9-5358-5C4E-BA64-36729925866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9088" y="2256313"/>
            <a:ext cx="11033962" cy="1710046"/>
          </a:xfrm>
        </p:spPr>
        <p:txBody>
          <a:bodyPr/>
          <a:lstStyle>
            <a:lvl2pPr marL="11113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tx2"/>
                </a:solidFill>
              </a:defRPr>
            </a:lvl2pPr>
            <a:lvl5pPr marL="236538" marR="0" indent="-236538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5pPr>
          </a:lstStyle>
          <a:p>
            <a:pPr marL="11113" marR="0" lvl="1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T</a:t>
            </a:r>
            <a:r>
              <a:rPr lang="x-none" dirty="0"/>
              <a:t>his area is reserved for long paragraphs arranged in one paragraph block. </a:t>
            </a:r>
            <a:r>
              <a:rPr lang="en-US" dirty="0"/>
              <a:t>T</a:t>
            </a:r>
            <a:r>
              <a:rPr lang="x-none" dirty="0"/>
              <a:t>his area is reserved for long paragraphs arranged in one paragraph block. </a:t>
            </a:r>
            <a:r>
              <a:rPr lang="en-US" dirty="0"/>
              <a:t>T</a:t>
            </a:r>
            <a:r>
              <a:rPr lang="x-none" dirty="0"/>
              <a:t>his area is reserved for long paragraphs arranged in one paragraph block. </a:t>
            </a:r>
            <a:r>
              <a:rPr lang="en-US" dirty="0"/>
              <a:t>T</a:t>
            </a:r>
            <a:r>
              <a:rPr lang="x-none" dirty="0"/>
              <a:t>his area is reserved for long paragraphs arranged in one paragraph block. </a:t>
            </a:r>
            <a:r>
              <a:rPr lang="en-US" dirty="0"/>
              <a:t>T</a:t>
            </a:r>
            <a:r>
              <a:rPr lang="x-none" dirty="0"/>
              <a:t>his area is reserved for long paragraphs arranged in one paragraph block. </a:t>
            </a:r>
            <a:r>
              <a:rPr lang="en-US" dirty="0"/>
              <a:t>T</a:t>
            </a:r>
            <a:r>
              <a:rPr lang="x-none" dirty="0"/>
              <a:t>his area is reserved for long paragraphs arranged in one paragraph block.</a:t>
            </a:r>
          </a:p>
          <a:p>
            <a:pPr lvl="1"/>
            <a:endParaRPr lang="x-none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12F983B7-A482-9347-B3DC-0282F146DD9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9087" y="4108450"/>
            <a:ext cx="3795713" cy="1417707"/>
          </a:xfr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x-none" dirty="0"/>
              <a:t>Bullet points 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x-none" dirty="0"/>
              <a:t>Bullet points 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x-none" dirty="0"/>
              <a:t>Bullet points 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x-none" dirty="0"/>
              <a:t>Bullet points 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x-none" dirty="0"/>
          </a:p>
          <a:p>
            <a:pPr lvl="0"/>
            <a:endParaRPr lang="x-none" dirty="0"/>
          </a:p>
        </p:txBody>
      </p:sp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FB89E8D4-798D-874C-94BB-2B36583C9E8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74252" y="4108450"/>
            <a:ext cx="3795713" cy="1417707"/>
          </a:xfr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F</a:t>
            </a:r>
            <a:r>
              <a:rPr lang="x-none" dirty="0"/>
              <a:t>urther boxes can be added instead of increasing the number of lines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x-none" dirty="0"/>
              <a:t>The alignment is from the top part side of the box 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x-none" dirty="0"/>
              <a:t>Bullet points 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x-none" dirty="0"/>
          </a:p>
          <a:p>
            <a:pPr lvl="0"/>
            <a:endParaRPr lang="x-none" dirty="0"/>
          </a:p>
        </p:txBody>
      </p:sp>
    </p:spTree>
    <p:extLst>
      <p:ext uri="{BB962C8B-B14F-4D97-AF65-F5344CB8AC3E}">
        <p14:creationId xmlns:p14="http://schemas.microsoft.com/office/powerpoint/2010/main" val="56906523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- Text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6984B64-3D78-E54E-9AF6-75E9736E715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1999" cy="6858000"/>
          </a:xfrm>
        </p:spPr>
        <p:txBody>
          <a:bodyPr/>
          <a:lstStyle/>
          <a:p>
            <a:endParaRPr lang="x-non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4A4A137-FB14-814B-B09D-97141A2692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84BED2-05EF-1641-AA5D-D0EF1B1B19A3}" type="datetimeFigureOut">
              <a:rPr lang="x-none" smtClean="0"/>
              <a:t>7/24/2022</a:t>
            </a:fld>
            <a:endParaRPr lang="x-non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6D0F700-AC6E-234F-9940-F108BCBD91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9BB7825-13A7-8C43-BC7A-773364107C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342AD9-554F-5645-B611-09F8EE20B022}" type="slidenum">
              <a:rPr lang="x-none" smtClean="0"/>
              <a:t>‹#›</a:t>
            </a:fld>
            <a:endParaRPr lang="x-none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09F0579-C1C7-EA46-8DF7-DD97C997835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5125" y="1107593"/>
            <a:ext cx="5340626" cy="537682"/>
          </a:xfrm>
        </p:spPr>
        <p:txBody>
          <a:bodyPr/>
          <a:lstStyle>
            <a:lvl1pPr marL="12700" indent="-12700">
              <a:buFont typeface="Arial" panose="020B0604020202020204" pitchFamily="34" charset="0"/>
              <a:buNone/>
              <a:tabLst/>
              <a:defRPr sz="4000">
                <a:solidFill>
                  <a:srgbClr val="FDDA00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PAGE TITLE HERE</a:t>
            </a:r>
            <a:endParaRPr lang="x-none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812EDDB-8DC0-C34B-A78C-03E2336394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5125" y="1743638"/>
            <a:ext cx="5340350" cy="1446212"/>
          </a:xfrm>
        </p:spPr>
        <p:txBody>
          <a:bodyPr/>
          <a:lstStyle>
            <a:lvl1pPr>
              <a:buNone/>
              <a:defRPr/>
            </a:lvl1pPr>
          </a:lstStyle>
          <a:p>
            <a:r>
              <a:rPr lang="en-US" dirty="0"/>
              <a:t>SUB HERE OR HEADLINE</a:t>
            </a:r>
            <a:endParaRPr lang="x-none" dirty="0"/>
          </a:p>
        </p:txBody>
      </p:sp>
    </p:spTree>
    <p:extLst>
      <p:ext uri="{BB962C8B-B14F-4D97-AF65-F5344CB8AC3E}">
        <p14:creationId xmlns:p14="http://schemas.microsoft.com/office/powerpoint/2010/main" val="173775806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- text -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6984B64-3D78-E54E-9AF6-75E9736E715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1999" cy="6858000"/>
          </a:xfrm>
        </p:spPr>
        <p:txBody>
          <a:bodyPr/>
          <a:lstStyle/>
          <a:p>
            <a:endParaRPr lang="x-non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4A4A137-FB14-814B-B09D-97141A2692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84BED2-05EF-1641-AA5D-D0EF1B1B19A3}" type="datetimeFigureOut">
              <a:rPr lang="x-none" smtClean="0"/>
              <a:t>7/24/2022</a:t>
            </a:fld>
            <a:endParaRPr lang="x-non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6D0F700-AC6E-234F-9940-F108BCBD91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9BB7825-13A7-8C43-BC7A-773364107C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342AD9-554F-5645-B611-09F8EE20B022}" type="slidenum">
              <a:rPr lang="x-none" smtClean="0"/>
              <a:t>‹#›</a:t>
            </a:fld>
            <a:endParaRPr lang="x-none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09F0579-C1C7-EA46-8DF7-DD97C997835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5125" y="1107593"/>
            <a:ext cx="5340626" cy="537682"/>
          </a:xfrm>
        </p:spPr>
        <p:txBody>
          <a:bodyPr/>
          <a:lstStyle>
            <a:lvl1pPr marL="12700" indent="-12700">
              <a:buFont typeface="Arial" panose="020B0604020202020204" pitchFamily="34" charset="0"/>
              <a:buNone/>
              <a:tabLst/>
              <a:defRPr sz="4000">
                <a:solidFill>
                  <a:srgbClr val="FDDA00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PAGE TITLE HERE</a:t>
            </a:r>
            <a:endParaRPr lang="x-none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812EDDB-8DC0-C34B-A78C-03E2336394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5125" y="1743638"/>
            <a:ext cx="5340350" cy="1446212"/>
          </a:xfrm>
        </p:spPr>
        <p:txBody>
          <a:bodyPr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UB HERE OR HEADLINE</a:t>
            </a:r>
            <a:endParaRPr lang="x-none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7E76012-7F8A-5547-A778-241D8CDC193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524" y="5906644"/>
            <a:ext cx="1120516" cy="64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520409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1_Tech - section">
    <p:bg>
      <p:bgPr>
        <a:solidFill>
          <a:srgbClr val="2A2B6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F7F68A-E4B7-AA41-A989-347E069B73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9959" y="2268187"/>
            <a:ext cx="11103840" cy="1650670"/>
          </a:xfrm>
        </p:spPr>
        <p:txBody>
          <a:bodyPr anchor="t"/>
          <a:lstStyle>
            <a:lvl1pPr>
              <a:defRPr sz="600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HEALTH SPEARATOR TITLE</a:t>
            </a:r>
            <a:endParaRPr lang="x-non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1F09A15-FBD5-A246-869B-10F2A6AE56C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49959" y="3934667"/>
            <a:ext cx="11103840" cy="1500187"/>
          </a:xfrm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-TITLE HER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EDA8CA-FC57-7243-8A13-0F90D5D9D7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0084BED2-05EF-1641-AA5D-D0EF1B1B19A3}" type="datetimeFigureOut">
              <a:rPr lang="x-none" smtClean="0"/>
              <a:pPr/>
              <a:t>7/24/2022</a:t>
            </a:fld>
            <a:endParaRPr lang="x-non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7FFABB-42A6-3045-819D-F50438C736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x-none">
              <a:solidFill>
                <a:schemeClr val="bg2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5A30FB4-95B0-9D4C-B844-0ECFBB2B6B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80342AD9-554F-5645-B611-09F8EE20B022}" type="slidenum">
              <a:rPr lang="x-none" smtClean="0"/>
              <a:pPr/>
              <a:t>‹#›</a:t>
            </a:fld>
            <a:endParaRPr lang="x-none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1661304-DED9-D74E-9B0F-105C66B3C9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524" y="5906644"/>
            <a:ext cx="1120516" cy="64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481812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1_SubSection - Technology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F7F68A-E4B7-AA41-A989-347E069B73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9959" y="2268187"/>
            <a:ext cx="11103840" cy="1650670"/>
          </a:xfrm>
        </p:spPr>
        <p:txBody>
          <a:bodyPr anchor="t"/>
          <a:lstStyle>
            <a:lvl1pPr>
              <a:defRPr sz="6000">
                <a:solidFill>
                  <a:srgbClr val="2A2B6A"/>
                </a:solidFill>
              </a:defRPr>
            </a:lvl1pPr>
          </a:lstStyle>
          <a:p>
            <a:r>
              <a:rPr lang="en-US" dirty="0"/>
              <a:t>HEALTH SUB-SECTION TITLE</a:t>
            </a:r>
            <a:endParaRPr lang="x-non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1F09A15-FBD5-A246-869B-10F2A6AE56C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49959" y="3934667"/>
            <a:ext cx="11103840" cy="1500187"/>
          </a:xfrm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-TITLE HER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EDA8CA-FC57-7243-8A13-0F90D5D9D7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2A2B6A"/>
                </a:solidFill>
              </a:defRPr>
            </a:lvl1pPr>
          </a:lstStyle>
          <a:p>
            <a:fld id="{0084BED2-05EF-1641-AA5D-D0EF1B1B19A3}" type="datetimeFigureOut">
              <a:rPr lang="x-none" smtClean="0"/>
              <a:pPr/>
              <a:t>7/24/2022</a:t>
            </a:fld>
            <a:endParaRPr lang="x-non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7FFABB-42A6-3045-819D-F50438C736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2A2B6A"/>
                </a:solidFill>
              </a:defRPr>
            </a:lvl1pPr>
          </a:lstStyle>
          <a:p>
            <a:endParaRPr lang="x-none">
              <a:solidFill>
                <a:srgbClr val="2A2B6A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5A30FB4-95B0-9D4C-B844-0ECFBB2B6B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2A2B6A"/>
                </a:solidFill>
              </a:defRPr>
            </a:lvl1pPr>
          </a:lstStyle>
          <a:p>
            <a:fld id="{80342AD9-554F-5645-B611-09F8EE20B022}" type="slidenum">
              <a:rPr lang="x-none" smtClean="0"/>
              <a:pPr/>
              <a:t>‹#›</a:t>
            </a:fld>
            <a:endParaRPr lang="x-none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1661304-DED9-D74E-9B0F-105C66B3C9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524" y="5906644"/>
            <a:ext cx="1120516" cy="64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914895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FCE2633-20B9-8B49-A601-6935F4AAA7C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866C69E3-01C5-2A43-9A71-E857EC6F73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5A30FB4-95B0-9D4C-B844-0ECFBB2B6B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59215" y="6155362"/>
            <a:ext cx="848139" cy="3651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80342AD9-554F-5645-B611-09F8EE20B022}" type="slidenum">
              <a:rPr lang="x-none" smtClean="0"/>
              <a:pPr/>
              <a:t>‹#›</a:t>
            </a:fld>
            <a:endParaRPr lang="x-none" dirty="0"/>
          </a:p>
        </p:txBody>
      </p:sp>
    </p:spTree>
    <p:extLst>
      <p:ext uri="{BB962C8B-B14F-4D97-AF65-F5344CB8AC3E}">
        <p14:creationId xmlns:p14="http://schemas.microsoft.com/office/powerpoint/2010/main" val="238198040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- Technolog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A2367D-8B3B-4A41-8470-BC0891471C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9836" y="998214"/>
            <a:ext cx="11033962" cy="489898"/>
          </a:xfrm>
        </p:spPr>
        <p:txBody>
          <a:bodyPr anchor="t">
            <a:noAutofit/>
          </a:bodyPr>
          <a:lstStyle>
            <a:lvl1pPr>
              <a:defRPr sz="360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FULL TEXT ONE PARAGRAPH</a:t>
            </a:r>
            <a:endParaRPr lang="x-none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F5E3A51-C571-EF4A-8158-00F8B125C6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84BED2-05EF-1641-AA5D-D0EF1B1B19A3}" type="datetimeFigureOut">
              <a:rPr lang="x-none" smtClean="0"/>
              <a:t>7/24/2022</a:t>
            </a:fld>
            <a:endParaRPr lang="x-non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0A7A71F-0264-5E4F-A22B-C789240D00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F0D39B0-B975-5146-81DC-E5D1505A3D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342AD9-554F-5645-B611-09F8EE20B022}" type="slidenum">
              <a:rPr lang="x-none" smtClean="0"/>
              <a:t>‹#›</a:t>
            </a:fld>
            <a:endParaRPr lang="x-none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ADEA2E1E-4929-6A4B-A04A-B15EAC8CC0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9088" y="1547487"/>
            <a:ext cx="11033962" cy="365125"/>
          </a:xfrm>
        </p:spPr>
        <p:txBody>
          <a:bodyPr anchor="t">
            <a:normAutofit/>
          </a:bodyPr>
          <a:lstStyle>
            <a:lvl1pPr>
              <a:buNone/>
              <a:defRPr sz="2400"/>
            </a:lvl1pPr>
          </a:lstStyle>
          <a:p>
            <a:pPr lvl="0"/>
            <a:r>
              <a:rPr lang="en-US" dirty="0"/>
              <a:t>OPTIONAL SUPPORT LINE 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25B1C1D9-5358-5C4E-BA64-36729925866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9088" y="2256313"/>
            <a:ext cx="11033962" cy="1710046"/>
          </a:xfrm>
        </p:spPr>
        <p:txBody>
          <a:bodyPr/>
          <a:lstStyle>
            <a:lvl2pPr marL="11113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tx2"/>
                </a:solidFill>
              </a:defRPr>
            </a:lvl2pPr>
            <a:lvl5pPr marL="236538" marR="0" indent="-236538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5pPr>
          </a:lstStyle>
          <a:p>
            <a:pPr marL="11113" marR="0" lvl="1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T</a:t>
            </a:r>
            <a:r>
              <a:rPr lang="x-none" dirty="0"/>
              <a:t>his area is reserved for long paragraphs arranged in one paragraph block. </a:t>
            </a:r>
            <a:r>
              <a:rPr lang="en-US" dirty="0"/>
              <a:t>T</a:t>
            </a:r>
            <a:r>
              <a:rPr lang="x-none" dirty="0"/>
              <a:t>his area is reserved for long paragraphs arranged in one paragraph block. </a:t>
            </a:r>
            <a:r>
              <a:rPr lang="en-US" dirty="0"/>
              <a:t>T</a:t>
            </a:r>
            <a:r>
              <a:rPr lang="x-none" dirty="0"/>
              <a:t>his area is reserved for long paragraphs arranged in one paragraph block. </a:t>
            </a:r>
            <a:r>
              <a:rPr lang="en-US" dirty="0"/>
              <a:t>T</a:t>
            </a:r>
            <a:r>
              <a:rPr lang="x-none" dirty="0"/>
              <a:t>his area is reserved for long paragraphs arranged in one paragraph block. </a:t>
            </a:r>
            <a:r>
              <a:rPr lang="en-US" dirty="0"/>
              <a:t>T</a:t>
            </a:r>
            <a:r>
              <a:rPr lang="x-none" dirty="0"/>
              <a:t>his area is reserved for long paragraphs arranged in one paragraph block. </a:t>
            </a:r>
            <a:r>
              <a:rPr lang="en-US" dirty="0"/>
              <a:t>T</a:t>
            </a:r>
            <a:r>
              <a:rPr lang="x-none" dirty="0"/>
              <a:t>his area is reserved for long paragraphs arranged in one paragraph block.</a:t>
            </a:r>
          </a:p>
          <a:p>
            <a:pPr lvl="1"/>
            <a:endParaRPr lang="x-none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12F983B7-A482-9347-B3DC-0282F146DD9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9087" y="4108450"/>
            <a:ext cx="3795713" cy="1417707"/>
          </a:xfr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x-none" dirty="0"/>
              <a:t>Bullet points 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x-none" dirty="0"/>
              <a:t>Bullet points 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x-none" dirty="0"/>
              <a:t>Bullet points 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x-none" dirty="0"/>
              <a:t>Bullet points 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x-none" dirty="0"/>
          </a:p>
          <a:p>
            <a:pPr lvl="0"/>
            <a:endParaRPr lang="x-none" dirty="0"/>
          </a:p>
        </p:txBody>
      </p:sp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FB89E8D4-798D-874C-94BB-2B36583C9E8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74252" y="4108450"/>
            <a:ext cx="3795713" cy="1417707"/>
          </a:xfr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F</a:t>
            </a:r>
            <a:r>
              <a:rPr lang="x-none" dirty="0"/>
              <a:t>urther boxes can be added instead of increasing the number of lines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x-none" dirty="0"/>
              <a:t>The alignment is from the top part side of the box 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x-none" dirty="0"/>
              <a:t>Bullet points 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x-none" dirty="0"/>
          </a:p>
          <a:p>
            <a:pPr lvl="0"/>
            <a:endParaRPr lang="x-none" dirty="0"/>
          </a:p>
        </p:txBody>
      </p:sp>
    </p:spTree>
    <p:extLst>
      <p:ext uri="{BB962C8B-B14F-4D97-AF65-F5344CB8AC3E}">
        <p14:creationId xmlns:p14="http://schemas.microsoft.com/office/powerpoint/2010/main" val="211260831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mage - Text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6984B64-3D78-E54E-9AF6-75E9736E715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1999" cy="6858000"/>
          </a:xfrm>
        </p:spPr>
        <p:txBody>
          <a:bodyPr/>
          <a:lstStyle/>
          <a:p>
            <a:endParaRPr lang="x-none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4A4A137-FB14-814B-B09D-97141A2692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84BED2-05EF-1641-AA5D-D0EF1B1B19A3}" type="datetimeFigureOut">
              <a:rPr lang="x-none" smtClean="0"/>
              <a:t>7/24/2022</a:t>
            </a:fld>
            <a:endParaRPr lang="x-non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6D0F700-AC6E-234F-9940-F108BCBD91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9BB7825-13A7-8C43-BC7A-773364107C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342AD9-554F-5645-B611-09F8EE20B022}" type="slidenum">
              <a:rPr lang="x-none" smtClean="0"/>
              <a:t>‹#›</a:t>
            </a:fld>
            <a:endParaRPr lang="x-none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09F0579-C1C7-EA46-8DF7-DD97C997835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5125" y="1107593"/>
            <a:ext cx="5340626" cy="537682"/>
          </a:xfrm>
        </p:spPr>
        <p:txBody>
          <a:bodyPr/>
          <a:lstStyle>
            <a:lvl1pPr marL="12700" indent="-12700">
              <a:buFont typeface="Arial" panose="020B0604020202020204" pitchFamily="34" charset="0"/>
              <a:buNone/>
              <a:tabLst/>
              <a:defRPr sz="400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PAGE TITLE HERE</a:t>
            </a:r>
            <a:endParaRPr lang="x-none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812EDDB-8DC0-C34B-A78C-03E2336394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5125" y="1743638"/>
            <a:ext cx="5340350" cy="1446212"/>
          </a:xfrm>
        </p:spPr>
        <p:txBody>
          <a:bodyPr/>
          <a:lstStyle>
            <a:lvl1pPr>
              <a:buNone/>
              <a:defRPr/>
            </a:lvl1pPr>
          </a:lstStyle>
          <a:p>
            <a:r>
              <a:rPr lang="en-US" dirty="0"/>
              <a:t>SUB HERE OR HEADLINE</a:t>
            </a:r>
            <a:endParaRPr lang="x-none" dirty="0"/>
          </a:p>
        </p:txBody>
      </p:sp>
    </p:spTree>
    <p:extLst>
      <p:ext uri="{BB962C8B-B14F-4D97-AF65-F5344CB8AC3E}">
        <p14:creationId xmlns:p14="http://schemas.microsoft.com/office/powerpoint/2010/main" val="353551628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mage - text -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6984B64-3D78-E54E-9AF6-75E9736E715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1999" cy="6858000"/>
          </a:xfrm>
        </p:spPr>
        <p:txBody>
          <a:bodyPr/>
          <a:lstStyle/>
          <a:p>
            <a:endParaRPr lang="x-non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4A4A137-FB14-814B-B09D-97141A2692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84BED2-05EF-1641-AA5D-D0EF1B1B19A3}" type="datetimeFigureOut">
              <a:rPr lang="x-none" smtClean="0"/>
              <a:t>7/24/2022</a:t>
            </a:fld>
            <a:endParaRPr lang="x-non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6D0F700-AC6E-234F-9940-F108BCBD91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9BB7825-13A7-8C43-BC7A-773364107C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342AD9-554F-5645-B611-09F8EE20B022}" type="slidenum">
              <a:rPr lang="x-none" smtClean="0"/>
              <a:t>‹#›</a:t>
            </a:fld>
            <a:endParaRPr lang="x-none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09F0579-C1C7-EA46-8DF7-DD97C997835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5125" y="1107593"/>
            <a:ext cx="5340626" cy="537682"/>
          </a:xfrm>
        </p:spPr>
        <p:txBody>
          <a:bodyPr/>
          <a:lstStyle>
            <a:lvl1pPr marL="12700" indent="-12700">
              <a:buFont typeface="Arial" panose="020B0604020202020204" pitchFamily="34" charset="0"/>
              <a:buNone/>
              <a:tabLst/>
              <a:defRPr sz="400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PAGE TITLE HERE</a:t>
            </a:r>
            <a:endParaRPr lang="x-none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812EDDB-8DC0-C34B-A78C-03E2336394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5125" y="1743638"/>
            <a:ext cx="5340350" cy="1446212"/>
          </a:xfrm>
        </p:spPr>
        <p:txBody>
          <a:bodyPr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UB HERE OR HEADLINE</a:t>
            </a:r>
            <a:endParaRPr lang="x-none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7E76012-7F8A-5547-A778-241D8CDC193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524" y="5906644"/>
            <a:ext cx="1120516" cy="64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369325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2_Tech - section">
    <p:bg>
      <p:bgPr>
        <a:solidFill>
          <a:srgbClr val="2A2B6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F7F68A-E4B7-AA41-A989-347E069B73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9959" y="2268187"/>
            <a:ext cx="11103840" cy="1650670"/>
          </a:xfrm>
        </p:spPr>
        <p:txBody>
          <a:bodyPr anchor="t"/>
          <a:lstStyle>
            <a:lvl1pPr>
              <a:defRPr sz="60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ENTERTAINMENT SPEARATOR TITLE</a:t>
            </a:r>
            <a:endParaRPr lang="x-non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1F09A15-FBD5-A246-869B-10F2A6AE56C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49959" y="3934667"/>
            <a:ext cx="11103840" cy="1500187"/>
          </a:xfrm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-TITLE HER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EDA8CA-FC57-7243-8A13-0F90D5D9D7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0084BED2-05EF-1641-AA5D-D0EF1B1B19A3}" type="datetimeFigureOut">
              <a:rPr lang="x-none" smtClean="0"/>
              <a:pPr/>
              <a:t>7/24/2022</a:t>
            </a:fld>
            <a:endParaRPr lang="x-non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7FFABB-42A6-3045-819D-F50438C736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x-none">
              <a:solidFill>
                <a:schemeClr val="bg2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5A30FB4-95B0-9D4C-B844-0ECFBB2B6B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80342AD9-554F-5645-B611-09F8EE20B022}" type="slidenum">
              <a:rPr lang="x-none" smtClean="0"/>
              <a:pPr/>
              <a:t>‹#›</a:t>
            </a:fld>
            <a:endParaRPr lang="x-none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1661304-DED9-D74E-9B0F-105C66B3C9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524" y="5906644"/>
            <a:ext cx="1120516" cy="64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748310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2_SubSection - Technolog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F7F68A-E4B7-AA41-A989-347E069B73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9959" y="2268187"/>
            <a:ext cx="11103840" cy="1650670"/>
          </a:xfrm>
        </p:spPr>
        <p:txBody>
          <a:bodyPr anchor="t"/>
          <a:lstStyle>
            <a:lvl1pPr>
              <a:defRPr sz="6000">
                <a:solidFill>
                  <a:srgbClr val="2A2B6A"/>
                </a:solidFill>
              </a:defRPr>
            </a:lvl1pPr>
          </a:lstStyle>
          <a:p>
            <a:r>
              <a:rPr lang="en-US" dirty="0"/>
              <a:t>ENTERTAINMENT SUB-SECTION TITLE</a:t>
            </a:r>
            <a:endParaRPr lang="x-non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1F09A15-FBD5-A246-869B-10F2A6AE56C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49959" y="3934667"/>
            <a:ext cx="11103840" cy="1500187"/>
          </a:xfrm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-TITLE HER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EDA8CA-FC57-7243-8A13-0F90D5D9D7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2A2B6A"/>
                </a:solidFill>
              </a:defRPr>
            </a:lvl1pPr>
          </a:lstStyle>
          <a:p>
            <a:fld id="{0084BED2-05EF-1641-AA5D-D0EF1B1B19A3}" type="datetimeFigureOut">
              <a:rPr lang="x-none" smtClean="0"/>
              <a:pPr/>
              <a:t>7/24/2022</a:t>
            </a:fld>
            <a:endParaRPr lang="x-non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7FFABB-42A6-3045-819D-F50438C736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2A2B6A"/>
                </a:solidFill>
              </a:defRPr>
            </a:lvl1pPr>
          </a:lstStyle>
          <a:p>
            <a:endParaRPr lang="x-none">
              <a:solidFill>
                <a:srgbClr val="2A2B6A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5A30FB4-95B0-9D4C-B844-0ECFBB2B6B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2A2B6A"/>
                </a:solidFill>
              </a:defRPr>
            </a:lvl1pPr>
          </a:lstStyle>
          <a:p>
            <a:fld id="{80342AD9-554F-5645-B611-09F8EE20B022}" type="slidenum">
              <a:rPr lang="x-none" smtClean="0"/>
              <a:pPr/>
              <a:t>‹#›</a:t>
            </a:fld>
            <a:endParaRPr lang="x-none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1661304-DED9-D74E-9B0F-105C66B3C9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524" y="5906644"/>
            <a:ext cx="1120516" cy="64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051564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 - Technolog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A2367D-8B3B-4A41-8470-BC0891471C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9836" y="998214"/>
            <a:ext cx="11033962" cy="489898"/>
          </a:xfrm>
        </p:spPr>
        <p:txBody>
          <a:bodyPr anchor="t">
            <a:noAutofit/>
          </a:bodyPr>
          <a:lstStyle>
            <a:lvl1pPr>
              <a:defRPr sz="36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FULL TEXT ONE PARAGRAPH</a:t>
            </a:r>
            <a:endParaRPr lang="x-none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F5E3A51-C571-EF4A-8158-00F8B125C6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84BED2-05EF-1641-AA5D-D0EF1B1B19A3}" type="datetimeFigureOut">
              <a:rPr lang="x-none" smtClean="0"/>
              <a:t>7/24/2022</a:t>
            </a:fld>
            <a:endParaRPr lang="x-non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0A7A71F-0264-5E4F-A22B-C789240D00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F0D39B0-B975-5146-81DC-E5D1505A3D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342AD9-554F-5645-B611-09F8EE20B022}" type="slidenum">
              <a:rPr lang="x-none" smtClean="0"/>
              <a:t>‹#›</a:t>
            </a:fld>
            <a:endParaRPr lang="x-none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ADEA2E1E-4929-6A4B-A04A-B15EAC8CC0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9088" y="1547487"/>
            <a:ext cx="11033962" cy="365125"/>
          </a:xfrm>
        </p:spPr>
        <p:txBody>
          <a:bodyPr anchor="t">
            <a:normAutofit/>
          </a:bodyPr>
          <a:lstStyle>
            <a:lvl1pPr>
              <a:buNone/>
              <a:defRPr sz="2400"/>
            </a:lvl1pPr>
          </a:lstStyle>
          <a:p>
            <a:pPr lvl="0"/>
            <a:r>
              <a:rPr lang="en-US" dirty="0"/>
              <a:t>OPTIONAL SUPPORT LINE 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25B1C1D9-5358-5C4E-BA64-36729925866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9088" y="2256313"/>
            <a:ext cx="11033962" cy="1710046"/>
          </a:xfrm>
        </p:spPr>
        <p:txBody>
          <a:bodyPr/>
          <a:lstStyle>
            <a:lvl2pPr marL="11113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tx2"/>
                </a:solidFill>
              </a:defRPr>
            </a:lvl2pPr>
            <a:lvl5pPr marL="236538" marR="0" indent="-236538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5pPr>
          </a:lstStyle>
          <a:p>
            <a:pPr marL="11113" marR="0" lvl="1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T</a:t>
            </a:r>
            <a:r>
              <a:rPr lang="x-none" dirty="0"/>
              <a:t>his area is reserved for long paragraphs arranged in one paragraph block. </a:t>
            </a:r>
            <a:r>
              <a:rPr lang="en-US" dirty="0"/>
              <a:t>T</a:t>
            </a:r>
            <a:r>
              <a:rPr lang="x-none" dirty="0"/>
              <a:t>his area is reserved for long paragraphs arranged in one paragraph block. </a:t>
            </a:r>
            <a:r>
              <a:rPr lang="en-US" dirty="0"/>
              <a:t>T</a:t>
            </a:r>
            <a:r>
              <a:rPr lang="x-none" dirty="0"/>
              <a:t>his area is reserved for long paragraphs arranged in one paragraph block. </a:t>
            </a:r>
            <a:r>
              <a:rPr lang="en-US" dirty="0"/>
              <a:t>T</a:t>
            </a:r>
            <a:r>
              <a:rPr lang="x-none" dirty="0"/>
              <a:t>his area is reserved for long paragraphs arranged in one paragraph block. </a:t>
            </a:r>
            <a:r>
              <a:rPr lang="en-US" dirty="0"/>
              <a:t>T</a:t>
            </a:r>
            <a:r>
              <a:rPr lang="x-none" dirty="0"/>
              <a:t>his area is reserved for long paragraphs arranged in one paragraph block. </a:t>
            </a:r>
            <a:r>
              <a:rPr lang="en-US" dirty="0"/>
              <a:t>T</a:t>
            </a:r>
            <a:r>
              <a:rPr lang="x-none" dirty="0"/>
              <a:t>his area is reserved for long paragraphs arranged in one paragraph block.</a:t>
            </a:r>
          </a:p>
          <a:p>
            <a:pPr lvl="1"/>
            <a:endParaRPr lang="x-none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12F983B7-A482-9347-B3DC-0282F146DD9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9087" y="4108450"/>
            <a:ext cx="3795713" cy="1417707"/>
          </a:xfr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x-none" dirty="0"/>
              <a:t>Bullet points 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x-none" dirty="0"/>
              <a:t>Bullet points 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x-none" dirty="0"/>
              <a:t>Bullet points 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x-none" dirty="0"/>
              <a:t>Bullet points 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x-none" dirty="0"/>
          </a:p>
          <a:p>
            <a:pPr lvl="0"/>
            <a:endParaRPr lang="x-none" dirty="0"/>
          </a:p>
        </p:txBody>
      </p:sp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FB89E8D4-798D-874C-94BB-2B36583C9E8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74252" y="4108450"/>
            <a:ext cx="3795713" cy="1417707"/>
          </a:xfr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F</a:t>
            </a:r>
            <a:r>
              <a:rPr lang="x-none" dirty="0"/>
              <a:t>urther boxes can be added instead of increasing the number of lines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x-none" dirty="0"/>
              <a:t>The alignment is from the top part side of the box 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x-none" dirty="0"/>
              <a:t>Bullet points 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x-none" dirty="0"/>
          </a:p>
          <a:p>
            <a:pPr lvl="0"/>
            <a:endParaRPr lang="x-none" dirty="0"/>
          </a:p>
        </p:txBody>
      </p:sp>
    </p:spTree>
    <p:extLst>
      <p:ext uri="{BB962C8B-B14F-4D97-AF65-F5344CB8AC3E}">
        <p14:creationId xmlns:p14="http://schemas.microsoft.com/office/powerpoint/2010/main" val="311276484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mage - Text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6984B64-3D78-E54E-9AF6-75E9736E715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1999" cy="6858000"/>
          </a:xfrm>
        </p:spPr>
        <p:txBody>
          <a:bodyPr/>
          <a:lstStyle/>
          <a:p>
            <a:endParaRPr lang="x-none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4A4A137-FB14-814B-B09D-97141A2692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84BED2-05EF-1641-AA5D-D0EF1B1B19A3}" type="datetimeFigureOut">
              <a:rPr lang="x-none" smtClean="0"/>
              <a:t>7/24/2022</a:t>
            </a:fld>
            <a:endParaRPr lang="x-non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6D0F700-AC6E-234F-9940-F108BCBD91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9BB7825-13A7-8C43-BC7A-773364107C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342AD9-554F-5645-B611-09F8EE20B022}" type="slidenum">
              <a:rPr lang="x-none" smtClean="0"/>
              <a:t>‹#›</a:t>
            </a:fld>
            <a:endParaRPr lang="x-none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09F0579-C1C7-EA46-8DF7-DD97C997835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5125" y="1107593"/>
            <a:ext cx="5340626" cy="537682"/>
          </a:xfrm>
        </p:spPr>
        <p:txBody>
          <a:bodyPr/>
          <a:lstStyle>
            <a:lvl1pPr marL="12700" indent="-12700">
              <a:buFont typeface="Arial" panose="020B0604020202020204" pitchFamily="34" charset="0"/>
              <a:buNone/>
              <a:tabLst/>
              <a:defRPr sz="40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PAGE TITLE HERE</a:t>
            </a:r>
            <a:endParaRPr lang="x-none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812EDDB-8DC0-C34B-A78C-03E2336394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5125" y="1743638"/>
            <a:ext cx="5340350" cy="1446212"/>
          </a:xfrm>
        </p:spPr>
        <p:txBody>
          <a:bodyPr/>
          <a:lstStyle>
            <a:lvl1pPr>
              <a:buNone/>
              <a:defRPr/>
            </a:lvl1pPr>
          </a:lstStyle>
          <a:p>
            <a:r>
              <a:rPr lang="en-US" dirty="0"/>
              <a:t>SUB HERE OR HEADLINE</a:t>
            </a:r>
            <a:endParaRPr lang="x-none" dirty="0"/>
          </a:p>
        </p:txBody>
      </p:sp>
    </p:spTree>
    <p:extLst>
      <p:ext uri="{BB962C8B-B14F-4D97-AF65-F5344CB8AC3E}">
        <p14:creationId xmlns:p14="http://schemas.microsoft.com/office/powerpoint/2010/main" val="399134726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mage - text -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6984B64-3D78-E54E-9AF6-75E9736E715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1999" cy="6858000"/>
          </a:xfrm>
        </p:spPr>
        <p:txBody>
          <a:bodyPr/>
          <a:lstStyle/>
          <a:p>
            <a:endParaRPr lang="x-non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4A4A137-FB14-814B-B09D-97141A2692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84BED2-05EF-1641-AA5D-D0EF1B1B19A3}" type="datetimeFigureOut">
              <a:rPr lang="x-none" smtClean="0"/>
              <a:t>7/24/2022</a:t>
            </a:fld>
            <a:endParaRPr lang="x-non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6D0F700-AC6E-234F-9940-F108BCBD91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9BB7825-13A7-8C43-BC7A-773364107C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342AD9-554F-5645-B611-09F8EE20B022}" type="slidenum">
              <a:rPr lang="x-none" smtClean="0"/>
              <a:t>‹#›</a:t>
            </a:fld>
            <a:endParaRPr lang="x-none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09F0579-C1C7-EA46-8DF7-DD97C997835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5125" y="1107593"/>
            <a:ext cx="5340626" cy="537682"/>
          </a:xfrm>
        </p:spPr>
        <p:txBody>
          <a:bodyPr/>
          <a:lstStyle>
            <a:lvl1pPr marL="12700" indent="-12700">
              <a:buFont typeface="Arial" panose="020B0604020202020204" pitchFamily="34" charset="0"/>
              <a:buNone/>
              <a:tabLst/>
              <a:defRPr sz="40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PAGE TITLE HERE</a:t>
            </a:r>
            <a:endParaRPr lang="x-none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812EDDB-8DC0-C34B-A78C-03E2336394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5125" y="1743638"/>
            <a:ext cx="5340350" cy="1446212"/>
          </a:xfrm>
        </p:spPr>
        <p:txBody>
          <a:bodyPr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UB HERE OR HEADLINE</a:t>
            </a:r>
            <a:endParaRPr lang="x-none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7E76012-7F8A-5547-A778-241D8CDC193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524" y="5906644"/>
            <a:ext cx="1120516" cy="64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330787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Header">
    <p:bg>
      <p:bgPr>
        <a:solidFill>
          <a:srgbClr val="2A2B6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F7F68A-E4B7-AA41-A989-347E069B73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9959" y="2268187"/>
            <a:ext cx="11103840" cy="1650670"/>
          </a:xfrm>
        </p:spPr>
        <p:txBody>
          <a:bodyPr anchor="b">
            <a:normAutofit/>
          </a:bodyPr>
          <a:lstStyle>
            <a:lvl1pPr>
              <a:defRPr sz="36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THANK YOU</a:t>
            </a:r>
            <a:endParaRPr lang="x-none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EDA8CA-FC57-7243-8A13-0F90D5D9D7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0084BED2-05EF-1641-AA5D-D0EF1B1B19A3}" type="datetimeFigureOut">
              <a:rPr lang="x-none" smtClean="0"/>
              <a:pPr/>
              <a:t>7/24/2022</a:t>
            </a:fld>
            <a:endParaRPr lang="x-non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7FFABB-42A6-3045-819D-F50438C736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x-none">
              <a:solidFill>
                <a:schemeClr val="bg2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5A30FB4-95B0-9D4C-B844-0ECFBB2B6B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80342AD9-554F-5645-B611-09F8EE20B022}" type="slidenum">
              <a:rPr lang="x-none" smtClean="0"/>
              <a:pPr/>
              <a:t>‹#›</a:t>
            </a:fld>
            <a:endParaRPr lang="x-none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1661304-DED9-D74E-9B0F-105C66B3C9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524" y="5906644"/>
            <a:ext cx="1120516" cy="64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52510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3_Section Header">
    <p:bg>
      <p:bgPr>
        <a:solidFill>
          <a:srgbClr val="2A2B6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F7F68A-E4B7-AA41-A989-347E069B73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9959" y="2268187"/>
            <a:ext cx="11103840" cy="1650670"/>
          </a:xfrm>
        </p:spPr>
        <p:txBody>
          <a:bodyPr anchor="t"/>
          <a:lstStyle>
            <a:lvl1pPr>
              <a:defRPr sz="60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SEPARATOR PAGE</a:t>
            </a:r>
            <a:br>
              <a:rPr lang="en-US" dirty="0"/>
            </a:br>
            <a:r>
              <a:rPr lang="en-US" dirty="0"/>
              <a:t>HEADLINE</a:t>
            </a:r>
            <a:endParaRPr lang="x-non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1F09A15-FBD5-A246-869B-10F2A6AE56C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49959" y="3934667"/>
            <a:ext cx="11103840" cy="1500187"/>
          </a:xfrm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-TITLE HER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EDA8CA-FC57-7243-8A13-0F90D5D9D7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0084BED2-05EF-1641-AA5D-D0EF1B1B19A3}" type="datetimeFigureOut">
              <a:rPr lang="x-none" smtClean="0"/>
              <a:pPr/>
              <a:t>7/24/2022</a:t>
            </a:fld>
            <a:endParaRPr lang="x-non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7FFABB-42A6-3045-819D-F50438C736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x-none">
              <a:solidFill>
                <a:schemeClr val="bg2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5A30FB4-95B0-9D4C-B844-0ECFBB2B6B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80342AD9-554F-5645-B611-09F8EE20B022}" type="slidenum">
              <a:rPr lang="x-none" smtClean="0"/>
              <a:pPr/>
              <a:t>‹#›</a:t>
            </a:fld>
            <a:endParaRPr lang="x-none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1661304-DED9-D74E-9B0F-105C66B3C9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524" y="5906644"/>
            <a:ext cx="1120516" cy="64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51783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1_Section Header">
    <p:bg>
      <p:bgPr>
        <a:solidFill>
          <a:srgbClr val="5C5B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F7F68A-E4B7-AA41-A989-347E069B73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9959" y="2268187"/>
            <a:ext cx="11103840" cy="1650670"/>
          </a:xfrm>
        </p:spPr>
        <p:txBody>
          <a:bodyPr anchor="t"/>
          <a:lstStyle>
            <a:lvl1pPr>
              <a:defRPr sz="60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SEPARATOR PAGE</a:t>
            </a:r>
            <a:br>
              <a:rPr lang="en-US" dirty="0"/>
            </a:br>
            <a:r>
              <a:rPr lang="en-US" dirty="0"/>
              <a:t>HEADLINE</a:t>
            </a:r>
            <a:endParaRPr lang="x-non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1F09A15-FBD5-A246-869B-10F2A6AE56C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49959" y="3934667"/>
            <a:ext cx="11103840" cy="1500187"/>
          </a:xfrm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-TITLE HER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EDA8CA-FC57-7243-8A13-0F90D5D9D7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0084BED2-05EF-1641-AA5D-D0EF1B1B19A3}" type="datetimeFigureOut">
              <a:rPr lang="x-none" smtClean="0"/>
              <a:pPr/>
              <a:t>7/24/2022</a:t>
            </a:fld>
            <a:endParaRPr lang="x-non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7FFABB-42A6-3045-819D-F50438C736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x-none">
              <a:solidFill>
                <a:schemeClr val="bg2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5A30FB4-95B0-9D4C-B844-0ECFBB2B6B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80342AD9-554F-5645-B611-09F8EE20B022}" type="slidenum">
              <a:rPr lang="x-none" smtClean="0"/>
              <a:pPr/>
              <a:t>‹#›</a:t>
            </a:fld>
            <a:endParaRPr lang="x-none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1661304-DED9-D74E-9B0F-105C66B3C9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524" y="5906644"/>
            <a:ext cx="1120516" cy="64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37597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ED64EF3-1F67-874A-9081-79F1D1D9CC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0084BED2-05EF-1641-AA5D-D0EF1B1B19A3}" type="datetimeFigureOut">
              <a:rPr lang="x-none" smtClean="0"/>
              <a:pPr algn="r"/>
              <a:t>7/24/2022</a:t>
            </a:fld>
            <a:endParaRPr lang="x-non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FD5F9C4-4C1B-FA46-8A70-27BEAD936E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endParaRPr lang="x-non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AFECAD7-0F35-A44F-AF03-47D9D54BAB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342AD9-554F-5645-B611-09F8EE20B022}" type="slidenum">
              <a:rPr lang="x-none" smtClean="0"/>
              <a:pPr/>
              <a:t>‹#›</a:t>
            </a:fld>
            <a:endParaRPr lang="x-none" dirty="0"/>
          </a:p>
        </p:txBody>
      </p:sp>
    </p:spTree>
    <p:extLst>
      <p:ext uri="{BB962C8B-B14F-4D97-AF65-F5344CB8AC3E}">
        <p14:creationId xmlns:p14="http://schemas.microsoft.com/office/powerpoint/2010/main" val="75799746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A2367D-8B3B-4A41-8470-BC0891471C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9836" y="998214"/>
            <a:ext cx="11033962" cy="489898"/>
          </a:xfrm>
        </p:spPr>
        <p:txBody>
          <a:bodyPr anchor="t">
            <a:noAutofit/>
          </a:bodyPr>
          <a:lstStyle>
            <a:lvl1pPr>
              <a:defRPr sz="3600"/>
            </a:lvl1pPr>
          </a:lstStyle>
          <a:p>
            <a:r>
              <a:rPr lang="en-US" dirty="0"/>
              <a:t>FULL TEXT ONE PARAGRAPH</a:t>
            </a:r>
            <a:endParaRPr lang="x-none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F5E3A51-C571-EF4A-8158-00F8B125C6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84BED2-05EF-1641-AA5D-D0EF1B1B19A3}" type="datetimeFigureOut">
              <a:rPr lang="x-none" smtClean="0"/>
              <a:t>7/24/2022</a:t>
            </a:fld>
            <a:endParaRPr lang="x-non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0A7A71F-0264-5E4F-A22B-C789240D00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F0D39B0-B975-5146-81DC-E5D1505A3D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342AD9-554F-5645-B611-09F8EE20B022}" type="slidenum">
              <a:rPr lang="x-none" smtClean="0"/>
              <a:t>‹#›</a:t>
            </a:fld>
            <a:endParaRPr lang="x-none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ADEA2E1E-4929-6A4B-A04A-B15EAC8CC0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9088" y="1547487"/>
            <a:ext cx="11033962" cy="365125"/>
          </a:xfrm>
        </p:spPr>
        <p:txBody>
          <a:bodyPr anchor="t">
            <a:normAutofit/>
          </a:bodyPr>
          <a:lstStyle>
            <a:lvl1pPr>
              <a:buNone/>
              <a:defRPr sz="2400"/>
            </a:lvl1pPr>
          </a:lstStyle>
          <a:p>
            <a:pPr lvl="0"/>
            <a:r>
              <a:rPr lang="en-US" dirty="0"/>
              <a:t>OPTIONAL SUPPORT LINE 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25B1C1D9-5358-5C4E-BA64-36729925866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9088" y="2256313"/>
            <a:ext cx="11033962" cy="1710046"/>
          </a:xfrm>
        </p:spPr>
        <p:txBody>
          <a:bodyPr/>
          <a:lstStyle>
            <a:lvl2pPr marL="11113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tx2"/>
                </a:solidFill>
              </a:defRPr>
            </a:lvl2pPr>
            <a:lvl5pPr marL="236538" marR="0" indent="-236538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5pPr>
          </a:lstStyle>
          <a:p>
            <a:pPr marL="11113" marR="0" lvl="1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T</a:t>
            </a:r>
            <a:r>
              <a:rPr lang="x-none" dirty="0"/>
              <a:t>his area is reserved for long paragraphs arranged in one paragraph block. </a:t>
            </a:r>
            <a:r>
              <a:rPr lang="en-US" dirty="0"/>
              <a:t>T</a:t>
            </a:r>
            <a:r>
              <a:rPr lang="x-none" dirty="0"/>
              <a:t>his area is reserved for long paragraphs arranged in one paragraph block. </a:t>
            </a:r>
            <a:r>
              <a:rPr lang="en-US" dirty="0"/>
              <a:t>T</a:t>
            </a:r>
            <a:r>
              <a:rPr lang="x-none" dirty="0"/>
              <a:t>his area is reserved for long paragraphs arranged in one paragraph block. </a:t>
            </a:r>
            <a:r>
              <a:rPr lang="en-US" dirty="0"/>
              <a:t>T</a:t>
            </a:r>
            <a:r>
              <a:rPr lang="x-none" dirty="0"/>
              <a:t>his area is reserved for long paragraphs arranged in one paragraph block. </a:t>
            </a:r>
            <a:r>
              <a:rPr lang="en-US" dirty="0"/>
              <a:t>T</a:t>
            </a:r>
            <a:r>
              <a:rPr lang="x-none" dirty="0"/>
              <a:t>his area is reserved for long paragraphs arranged in one paragraph block. </a:t>
            </a:r>
            <a:r>
              <a:rPr lang="en-US" dirty="0"/>
              <a:t>T</a:t>
            </a:r>
            <a:r>
              <a:rPr lang="x-none" dirty="0"/>
              <a:t>his area is reserved for long paragraphs arranged in one paragraph block.</a:t>
            </a:r>
          </a:p>
          <a:p>
            <a:pPr lvl="1"/>
            <a:endParaRPr lang="x-none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12F983B7-A482-9347-B3DC-0282F146DD9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9087" y="4108450"/>
            <a:ext cx="3795713" cy="1417707"/>
          </a:xfr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x-none" dirty="0"/>
              <a:t>Bullet points 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x-none" dirty="0"/>
              <a:t>Bullet points 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x-none" dirty="0"/>
              <a:t>Bullet points 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x-none" dirty="0"/>
              <a:t>Bullet points 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x-none" dirty="0"/>
          </a:p>
          <a:p>
            <a:pPr lvl="0"/>
            <a:endParaRPr lang="x-none" dirty="0"/>
          </a:p>
        </p:txBody>
      </p:sp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FB89E8D4-798D-874C-94BB-2B36583C9E8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74252" y="4108450"/>
            <a:ext cx="3795713" cy="1417707"/>
          </a:xfr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F</a:t>
            </a:r>
            <a:r>
              <a:rPr lang="x-none" dirty="0"/>
              <a:t>urther boxes can be added instead of increasing the number of lines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x-none" dirty="0"/>
              <a:t>The alignment is from the top part side of the box 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x-none" dirty="0"/>
              <a:t>Bullet points 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x-none" dirty="0"/>
          </a:p>
          <a:p>
            <a:pPr lvl="0"/>
            <a:endParaRPr lang="x-none" dirty="0"/>
          </a:p>
        </p:txBody>
      </p:sp>
    </p:spTree>
    <p:extLst>
      <p:ext uri="{BB962C8B-B14F-4D97-AF65-F5344CB8AC3E}">
        <p14:creationId xmlns:p14="http://schemas.microsoft.com/office/powerpoint/2010/main" val="52196008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A2367D-8B3B-4A41-8470-BC0891471C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9836" y="998214"/>
            <a:ext cx="5703277" cy="489898"/>
          </a:xfrm>
        </p:spPr>
        <p:txBody>
          <a:bodyPr anchor="t">
            <a:noAutofit/>
          </a:bodyPr>
          <a:lstStyle>
            <a:lvl1pPr>
              <a:defRPr sz="3600"/>
            </a:lvl1pPr>
          </a:lstStyle>
          <a:p>
            <a:r>
              <a:rPr lang="en-US" dirty="0"/>
              <a:t>FULL TEXT PHOTO</a:t>
            </a:r>
            <a:endParaRPr lang="x-none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F5E3A51-C571-EF4A-8158-00F8B125C6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84BED2-05EF-1641-AA5D-D0EF1B1B19A3}" type="datetimeFigureOut">
              <a:rPr lang="x-none" smtClean="0"/>
              <a:t>7/24/2022</a:t>
            </a:fld>
            <a:endParaRPr lang="x-non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0A7A71F-0264-5E4F-A22B-C789240D00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F0D39B0-B975-5146-81DC-E5D1505A3D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342AD9-554F-5645-B611-09F8EE20B022}" type="slidenum">
              <a:rPr lang="x-none" smtClean="0"/>
              <a:t>‹#›</a:t>
            </a:fld>
            <a:endParaRPr lang="x-none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ADEA2E1E-4929-6A4B-A04A-B15EAC8CC0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9088" y="1547487"/>
            <a:ext cx="5703277" cy="365125"/>
          </a:xfrm>
        </p:spPr>
        <p:txBody>
          <a:bodyPr anchor="t">
            <a:normAutofit/>
          </a:bodyPr>
          <a:lstStyle>
            <a:lvl1pPr>
              <a:buNone/>
              <a:defRPr sz="2400"/>
            </a:lvl1pPr>
          </a:lstStyle>
          <a:p>
            <a:pPr lvl="0"/>
            <a:r>
              <a:rPr lang="en-US" dirty="0"/>
              <a:t>OPTIONAL SUPPORT LINE 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25B1C1D9-5358-5C4E-BA64-36729925866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9088" y="2256312"/>
            <a:ext cx="5704025" cy="3474549"/>
          </a:xfrm>
        </p:spPr>
        <p:txBody>
          <a:bodyPr numCol="1"/>
          <a:lstStyle>
            <a:lvl2pPr marL="11113" marR="0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tx2"/>
                </a:solidFill>
              </a:defRPr>
            </a:lvl2pPr>
            <a:lvl5pPr marL="236538" marR="0" indent="-236538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5pPr>
          </a:lstStyle>
          <a:p>
            <a:pPr marL="11113" marR="0" lvl="1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T</a:t>
            </a:r>
            <a:r>
              <a:rPr lang="x-none" dirty="0"/>
              <a:t>his area is reserved for long paragraphs arranged in one paragraph block. </a:t>
            </a:r>
            <a:r>
              <a:rPr lang="en-US" dirty="0"/>
              <a:t>T</a:t>
            </a:r>
            <a:r>
              <a:rPr lang="x-none" dirty="0"/>
              <a:t>his area is reserved for long paragraphs arranged in one paragraph block. </a:t>
            </a:r>
            <a:r>
              <a:rPr lang="en-US" dirty="0"/>
              <a:t>T</a:t>
            </a:r>
            <a:r>
              <a:rPr lang="x-none" dirty="0"/>
              <a:t>his area is reserved for long paragraphs arranged in one paragraph block. </a:t>
            </a:r>
            <a:r>
              <a:rPr lang="en-US" dirty="0"/>
              <a:t>T</a:t>
            </a:r>
            <a:r>
              <a:rPr lang="x-none" dirty="0"/>
              <a:t>his area is reserved for long paragraphs arranged in one paragraph block. </a:t>
            </a:r>
            <a:r>
              <a:rPr lang="en-US" dirty="0"/>
              <a:t>T</a:t>
            </a:r>
            <a:r>
              <a:rPr lang="x-none" dirty="0"/>
              <a:t>his area is reserved for long paragraphs arranged in one paragraph block. </a:t>
            </a:r>
            <a:r>
              <a:rPr lang="en-US" dirty="0"/>
              <a:t>T</a:t>
            </a:r>
            <a:r>
              <a:rPr lang="x-none" dirty="0"/>
              <a:t>his area is reserved for long paragraphs arranged in one paragraph block.</a:t>
            </a:r>
          </a:p>
          <a:p>
            <a:pPr lvl="1"/>
            <a:endParaRPr lang="x-none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98CA2EC0-4B0A-A749-B3C0-DCF2EC9622E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541339" y="998538"/>
            <a:ext cx="5330825" cy="4732337"/>
          </a:xfrm>
        </p:spPr>
        <p:txBody>
          <a:bodyPr/>
          <a:lstStyle/>
          <a:p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11161043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A2367D-8B3B-4A41-8470-BC0891471C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9836" y="3945965"/>
            <a:ext cx="4262103" cy="984522"/>
          </a:xfrm>
        </p:spPr>
        <p:txBody>
          <a:bodyPr anchor="t">
            <a:noAutofit/>
          </a:bodyPr>
          <a:lstStyle>
            <a:lvl1pPr>
              <a:defRPr sz="3600"/>
            </a:lvl1pPr>
          </a:lstStyle>
          <a:p>
            <a:r>
              <a:rPr lang="en-US" dirty="0"/>
              <a:t>LONG HORIZONTAL</a:t>
            </a:r>
            <a:endParaRPr lang="x-none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F5E3A51-C571-EF4A-8158-00F8B125C6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84BED2-05EF-1641-AA5D-D0EF1B1B19A3}" type="datetimeFigureOut">
              <a:rPr lang="x-none" smtClean="0"/>
              <a:t>7/24/2022</a:t>
            </a:fld>
            <a:endParaRPr lang="x-non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0A7A71F-0264-5E4F-A22B-C789240D00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F0D39B0-B975-5146-81DC-E5D1505A3D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342AD9-554F-5645-B611-09F8EE20B022}" type="slidenum">
              <a:rPr lang="x-none" smtClean="0"/>
              <a:t>‹#›</a:t>
            </a:fld>
            <a:endParaRPr lang="x-none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ADEA2E1E-4929-6A4B-A04A-B15EAC8CC0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9088" y="5084689"/>
            <a:ext cx="4262103" cy="365125"/>
          </a:xfrm>
        </p:spPr>
        <p:txBody>
          <a:bodyPr anchor="t">
            <a:normAutofit/>
          </a:bodyPr>
          <a:lstStyle>
            <a:lvl1pPr>
              <a:buNone/>
              <a:defRPr sz="2400"/>
            </a:lvl1pPr>
          </a:lstStyle>
          <a:p>
            <a:pPr lvl="0"/>
            <a:r>
              <a:rPr lang="en-US" dirty="0"/>
              <a:t>OPTIONAL SUPPORT LINE 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25B1C1D9-5358-5C4E-BA64-36729925866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97556" y="3945965"/>
            <a:ext cx="6574607" cy="1710046"/>
          </a:xfrm>
        </p:spPr>
        <p:txBody>
          <a:bodyPr/>
          <a:lstStyle>
            <a:lvl2pPr marL="11113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tx2"/>
                </a:solidFill>
              </a:defRPr>
            </a:lvl2pPr>
            <a:lvl5pPr marL="236538" marR="0" indent="-236538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2"/>
                </a:solidFill>
              </a:defRPr>
            </a:lvl5pPr>
          </a:lstStyle>
          <a:p>
            <a:pPr marL="11113" marR="0" lvl="1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T</a:t>
            </a:r>
            <a:r>
              <a:rPr lang="x-none" dirty="0"/>
              <a:t>his area is reserved for long paragraphs arranged in one paragraph block. </a:t>
            </a:r>
            <a:r>
              <a:rPr lang="en-US" dirty="0"/>
              <a:t>T</a:t>
            </a:r>
            <a:r>
              <a:rPr lang="x-none" dirty="0"/>
              <a:t>his area is reserved for long paragraphs arranged in one paragraph block. </a:t>
            </a:r>
            <a:r>
              <a:rPr lang="en-US" dirty="0"/>
              <a:t>T</a:t>
            </a:r>
            <a:r>
              <a:rPr lang="x-none" dirty="0"/>
              <a:t>his area is reserved for long paragraphs arranged in one paragraph block. </a:t>
            </a:r>
            <a:r>
              <a:rPr lang="en-US" dirty="0"/>
              <a:t>T</a:t>
            </a:r>
            <a:r>
              <a:rPr lang="x-none" dirty="0"/>
              <a:t>his area is reserved for long paragraphs arranged in one paragraph block. </a:t>
            </a:r>
            <a:r>
              <a:rPr lang="en-US" dirty="0"/>
              <a:t>T</a:t>
            </a:r>
            <a:r>
              <a:rPr lang="x-none" dirty="0"/>
              <a:t>his area is reserved for long paragraphs arranged in one paragraph block. </a:t>
            </a:r>
            <a:r>
              <a:rPr lang="en-US" dirty="0"/>
              <a:t>T</a:t>
            </a:r>
            <a:r>
              <a:rPr lang="x-none" dirty="0"/>
              <a:t>his area is reserved for long paragraphs arranged in one paragraph block.</a:t>
            </a:r>
          </a:p>
          <a:p>
            <a:pPr lvl="1"/>
            <a:endParaRPr lang="x-none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6B0B7BFC-E4F8-6345-9409-9679DE0CE56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19088" y="277253"/>
            <a:ext cx="11553075" cy="3514510"/>
          </a:xfrm>
        </p:spPr>
        <p:txBody>
          <a:bodyPr/>
          <a:lstStyle/>
          <a:p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13513026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heme" Target="../theme/theme1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image" Target="../media/image2.png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F9995AD-FA3A-45F4-B30A-C2A6FF8C28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0"/>
            </p:custDataLst>
            <p:extLst>
              <p:ext uri="{D42A27DB-BD31-4B8C-83A1-F6EECF244321}">
                <p14:modId xmlns:p14="http://schemas.microsoft.com/office/powerpoint/2010/main" val="3060530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1" imgW="347" imgH="348" progId="TCLayout.ActiveDocument.1">
                  <p:embed/>
                </p:oleObj>
              </mc:Choice>
              <mc:Fallback>
                <p:oleObj name="think-cell Slide" r:id="rId41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F9995AD-FA3A-45F4-B30A-C2A6FF8C28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>
            <a:extLst>
              <a:ext uri="{FF2B5EF4-FFF2-40B4-BE49-F238E27FC236}">
                <a16:creationId xmlns:a16="http://schemas.microsoft.com/office/drawing/2014/main" id="{36C5E3D5-8CBE-264F-9DCC-BD9E54644B20}"/>
              </a:ext>
            </a:extLst>
          </p:cNvPr>
          <p:cNvPicPr>
            <a:picLocks noChangeAspect="1"/>
          </p:cNvPicPr>
          <p:nvPr userDrawn="1"/>
        </p:nvPicPr>
        <p:blipFill>
          <a:blip r:embed="rId4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524" y="5906642"/>
            <a:ext cx="1120516" cy="645831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43162B-78A4-EF41-B24B-65D8317D10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C81461-10AA-2E46-8A6D-34B0C79AD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398140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B975079-B00C-1046-9205-47FD00521AB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787602" y="6155362"/>
            <a:ext cx="15670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/>
            <a:fld id="{0084BED2-05EF-1641-AA5D-D0EF1B1B19A3}" type="datetimeFigureOut">
              <a:rPr lang="x-none" smtClean="0"/>
              <a:pPr algn="r"/>
              <a:t>7/24/2022</a:t>
            </a:fld>
            <a:endParaRPr lang="x-non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A84077C-8818-5A4E-935B-869DFA64E9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36630" y="6155362"/>
            <a:ext cx="534062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endParaRPr lang="x-non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CD4ED5-D7EF-464D-93CF-976EB12BC8D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59215" y="6155362"/>
            <a:ext cx="8481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0342AD9-554F-5645-B611-09F8EE20B022}" type="slidenum">
              <a:rPr lang="x-none" smtClean="0"/>
              <a:pPr/>
              <a:t>‹#›</a:t>
            </a:fld>
            <a:endParaRPr lang="x-none" dirty="0"/>
          </a:p>
        </p:txBody>
      </p:sp>
    </p:spTree>
    <p:extLst>
      <p:ext uri="{BB962C8B-B14F-4D97-AF65-F5344CB8AC3E}">
        <p14:creationId xmlns:p14="http://schemas.microsoft.com/office/powerpoint/2010/main" val="6635086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rgbClr val="2A2B6A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rgbClr val="2A2B6A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rgbClr val="2A2B6A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rgbClr val="2A2B6A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2A2B6A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2A2B6A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x-non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275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  <a:sym typeface="Arial Black" panose="020B0A040201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rmAutofit/>
          </a:bodyPr>
          <a:lstStyle/>
          <a:p>
            <a:r>
              <a:rPr lang="en-US" sz="2800" dirty="0"/>
              <a:t>Freighter Network 2022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54B81DD1-0191-4817-9DCC-18CB99C01707}"/>
              </a:ext>
            </a:extLst>
          </p:cNvPr>
          <p:cNvSpPr/>
          <p:nvPr/>
        </p:nvSpPr>
        <p:spPr>
          <a:xfrm>
            <a:off x="838200" y="1825625"/>
            <a:ext cx="10515597" cy="3981409"/>
          </a:xfrm>
          <a:prstGeom prst="rect">
            <a:avLst/>
          </a:prstGeom>
          <a:solidFill>
            <a:schemeClr val="bg1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Freeform: Shape 244">
            <a:extLst>
              <a:ext uri="{FF2B5EF4-FFF2-40B4-BE49-F238E27FC236}">
                <a16:creationId xmlns:a16="http://schemas.microsoft.com/office/drawing/2014/main" id="{CA05DD91-B013-4EC7-BE1C-09691D169DAB}"/>
              </a:ext>
            </a:extLst>
          </p:cNvPr>
          <p:cNvSpPr/>
          <p:nvPr/>
        </p:nvSpPr>
        <p:spPr>
          <a:xfrm>
            <a:off x="7201274" y="3089240"/>
            <a:ext cx="303393" cy="244399"/>
          </a:xfrm>
          <a:custGeom>
            <a:avLst/>
            <a:gdLst>
              <a:gd name="connsiteX0" fmla="*/ 399227 w 405993"/>
              <a:gd name="connsiteY0" fmla="*/ 38908 h 327050"/>
              <a:gd name="connsiteX1" fmla="*/ 368778 w 405993"/>
              <a:gd name="connsiteY1" fmla="*/ 38908 h 327050"/>
              <a:gd name="connsiteX2" fmla="*/ 347350 w 405993"/>
              <a:gd name="connsiteY2" fmla="*/ 36088 h 327050"/>
              <a:gd name="connsiteX3" fmla="*/ 333253 w 405993"/>
              <a:gd name="connsiteY3" fmla="*/ 52441 h 327050"/>
              <a:gd name="connsiteX4" fmla="*/ 321412 w 405993"/>
              <a:gd name="connsiteY4" fmla="*/ 56388 h 327050"/>
              <a:gd name="connsiteX5" fmla="*/ 312953 w 405993"/>
              <a:gd name="connsiteY5" fmla="*/ 63719 h 327050"/>
              <a:gd name="connsiteX6" fmla="*/ 298293 w 405993"/>
              <a:gd name="connsiteY6" fmla="*/ 51877 h 327050"/>
              <a:gd name="connsiteX7" fmla="*/ 292654 w 405993"/>
              <a:gd name="connsiteY7" fmla="*/ 21428 h 327050"/>
              <a:gd name="connsiteX8" fmla="*/ 283632 w 405993"/>
              <a:gd name="connsiteY8" fmla="*/ 19736 h 327050"/>
              <a:gd name="connsiteX9" fmla="*/ 283632 w 405993"/>
              <a:gd name="connsiteY9" fmla="*/ 8458 h 327050"/>
              <a:gd name="connsiteX10" fmla="*/ 265587 w 405993"/>
              <a:gd name="connsiteY10" fmla="*/ 0 h 327050"/>
              <a:gd name="connsiteX11" fmla="*/ 256002 w 405993"/>
              <a:gd name="connsiteY11" fmla="*/ 12969 h 327050"/>
              <a:gd name="connsiteX12" fmla="*/ 257129 w 405993"/>
              <a:gd name="connsiteY12" fmla="*/ 27630 h 327050"/>
              <a:gd name="connsiteX13" fmla="*/ 253746 w 405993"/>
              <a:gd name="connsiteY13" fmla="*/ 32705 h 327050"/>
              <a:gd name="connsiteX14" fmla="*/ 235702 w 405993"/>
              <a:gd name="connsiteY14" fmla="*/ 32141 h 327050"/>
              <a:gd name="connsiteX15" fmla="*/ 230627 w 405993"/>
              <a:gd name="connsiteY15" fmla="*/ 49058 h 327050"/>
              <a:gd name="connsiteX16" fmla="*/ 218786 w 405993"/>
              <a:gd name="connsiteY16" fmla="*/ 41727 h 327050"/>
              <a:gd name="connsiteX17" fmla="*/ 200177 w 405993"/>
              <a:gd name="connsiteY17" fmla="*/ 53569 h 327050"/>
              <a:gd name="connsiteX18" fmla="*/ 190028 w 405993"/>
              <a:gd name="connsiteY18" fmla="*/ 49058 h 327050"/>
              <a:gd name="connsiteX19" fmla="*/ 165781 w 405993"/>
              <a:gd name="connsiteY19" fmla="*/ 41163 h 327050"/>
              <a:gd name="connsiteX20" fmla="*/ 149428 w 405993"/>
              <a:gd name="connsiteY20" fmla="*/ 41163 h 327050"/>
              <a:gd name="connsiteX21" fmla="*/ 140406 w 405993"/>
              <a:gd name="connsiteY21" fmla="*/ 40036 h 327050"/>
              <a:gd name="connsiteX22" fmla="*/ 124054 w 405993"/>
              <a:gd name="connsiteY22" fmla="*/ 30449 h 327050"/>
              <a:gd name="connsiteX23" fmla="*/ 122362 w 405993"/>
              <a:gd name="connsiteY23" fmla="*/ 43419 h 327050"/>
              <a:gd name="connsiteX24" fmla="*/ 99243 w 405993"/>
              <a:gd name="connsiteY24" fmla="*/ 50185 h 327050"/>
              <a:gd name="connsiteX25" fmla="*/ 99807 w 405993"/>
              <a:gd name="connsiteY25" fmla="*/ 79507 h 327050"/>
              <a:gd name="connsiteX26" fmla="*/ 85710 w 405993"/>
              <a:gd name="connsiteY26" fmla="*/ 90785 h 327050"/>
              <a:gd name="connsiteX27" fmla="*/ 63155 w 405993"/>
              <a:gd name="connsiteY27" fmla="*/ 95860 h 327050"/>
              <a:gd name="connsiteX28" fmla="*/ 60899 w 405993"/>
              <a:gd name="connsiteY28" fmla="*/ 112776 h 327050"/>
              <a:gd name="connsiteX29" fmla="*/ 38908 w 405993"/>
              <a:gd name="connsiteY29" fmla="*/ 117287 h 327050"/>
              <a:gd name="connsiteX30" fmla="*/ 5639 w 405993"/>
              <a:gd name="connsiteY30" fmla="*/ 103754 h 327050"/>
              <a:gd name="connsiteX31" fmla="*/ 2819 w 405993"/>
              <a:gd name="connsiteY31" fmla="*/ 148864 h 327050"/>
              <a:gd name="connsiteX32" fmla="*/ 0 w 405993"/>
              <a:gd name="connsiteY32" fmla="*/ 175367 h 327050"/>
              <a:gd name="connsiteX33" fmla="*/ 14097 w 405993"/>
              <a:gd name="connsiteY33" fmla="*/ 180442 h 327050"/>
              <a:gd name="connsiteX34" fmla="*/ 5075 w 405993"/>
              <a:gd name="connsiteY34" fmla="*/ 200177 h 327050"/>
              <a:gd name="connsiteX35" fmla="*/ 20300 w 405993"/>
              <a:gd name="connsiteY35" fmla="*/ 228935 h 327050"/>
              <a:gd name="connsiteX36" fmla="*/ 26503 w 405993"/>
              <a:gd name="connsiteY36" fmla="*/ 251491 h 327050"/>
              <a:gd name="connsiteX37" fmla="*/ 50749 w 405993"/>
              <a:gd name="connsiteY37" fmla="*/ 257693 h 327050"/>
              <a:gd name="connsiteX38" fmla="*/ 56952 w 405993"/>
              <a:gd name="connsiteY38" fmla="*/ 280248 h 327050"/>
              <a:gd name="connsiteX39" fmla="*/ 34961 w 405993"/>
              <a:gd name="connsiteY39" fmla="*/ 312953 h 327050"/>
              <a:gd name="connsiteX40" fmla="*/ 89093 w 405993"/>
              <a:gd name="connsiteY40" fmla="*/ 330998 h 327050"/>
              <a:gd name="connsiteX41" fmla="*/ 118979 w 405993"/>
              <a:gd name="connsiteY41" fmla="*/ 325923 h 327050"/>
              <a:gd name="connsiteX42" fmla="*/ 137587 w 405993"/>
              <a:gd name="connsiteY42" fmla="*/ 330434 h 327050"/>
              <a:gd name="connsiteX43" fmla="*/ 142662 w 405993"/>
              <a:gd name="connsiteY43" fmla="*/ 322539 h 327050"/>
              <a:gd name="connsiteX44" fmla="*/ 164089 w 405993"/>
              <a:gd name="connsiteY44" fmla="*/ 325359 h 327050"/>
              <a:gd name="connsiteX45" fmla="*/ 201306 w 405993"/>
              <a:gd name="connsiteY45" fmla="*/ 310698 h 327050"/>
              <a:gd name="connsiteX46" fmla="*/ 196794 w 405993"/>
              <a:gd name="connsiteY46" fmla="*/ 280248 h 327050"/>
              <a:gd name="connsiteX47" fmla="*/ 209764 w 405993"/>
              <a:gd name="connsiteY47" fmla="*/ 259949 h 327050"/>
              <a:gd name="connsiteX48" fmla="*/ 232319 w 405993"/>
              <a:gd name="connsiteY48" fmla="*/ 259949 h 327050"/>
              <a:gd name="connsiteX49" fmla="*/ 233446 w 405993"/>
              <a:gd name="connsiteY49" fmla="*/ 250363 h 327050"/>
              <a:gd name="connsiteX50" fmla="*/ 256002 w 405993"/>
              <a:gd name="connsiteY50" fmla="*/ 245288 h 327050"/>
              <a:gd name="connsiteX51" fmla="*/ 267843 w 405993"/>
              <a:gd name="connsiteY51" fmla="*/ 248671 h 327050"/>
              <a:gd name="connsiteX52" fmla="*/ 277429 w 405993"/>
              <a:gd name="connsiteY52" fmla="*/ 238521 h 327050"/>
              <a:gd name="connsiteX53" fmla="*/ 271226 w 405993"/>
              <a:gd name="connsiteY53" fmla="*/ 217094 h 327050"/>
              <a:gd name="connsiteX54" fmla="*/ 279684 w 405993"/>
              <a:gd name="connsiteY54" fmla="*/ 195666 h 327050"/>
              <a:gd name="connsiteX55" fmla="*/ 296601 w 405993"/>
              <a:gd name="connsiteY55" fmla="*/ 186644 h 327050"/>
              <a:gd name="connsiteX56" fmla="*/ 279684 w 405993"/>
              <a:gd name="connsiteY56" fmla="*/ 162961 h 327050"/>
              <a:gd name="connsiteX57" fmla="*/ 308443 w 405993"/>
              <a:gd name="connsiteY57" fmla="*/ 164089 h 327050"/>
              <a:gd name="connsiteX58" fmla="*/ 313517 w 405993"/>
              <a:gd name="connsiteY58" fmla="*/ 151120 h 327050"/>
              <a:gd name="connsiteX59" fmla="*/ 309007 w 405993"/>
              <a:gd name="connsiteY59" fmla="*/ 137023 h 327050"/>
              <a:gd name="connsiteX60" fmla="*/ 320284 w 405993"/>
              <a:gd name="connsiteY60" fmla="*/ 121798 h 327050"/>
              <a:gd name="connsiteX61" fmla="*/ 312390 w 405993"/>
              <a:gd name="connsiteY61" fmla="*/ 103754 h 327050"/>
              <a:gd name="connsiteX62" fmla="*/ 301676 w 405993"/>
              <a:gd name="connsiteY62" fmla="*/ 87965 h 327050"/>
              <a:gd name="connsiteX63" fmla="*/ 315209 w 405993"/>
              <a:gd name="connsiteY63" fmla="*/ 72177 h 327050"/>
              <a:gd name="connsiteX64" fmla="*/ 345095 w 405993"/>
              <a:gd name="connsiteY64" fmla="*/ 64846 h 327050"/>
              <a:gd name="connsiteX65" fmla="*/ 377800 w 405993"/>
              <a:gd name="connsiteY65" fmla="*/ 60335 h 327050"/>
              <a:gd name="connsiteX66" fmla="*/ 391333 w 405993"/>
              <a:gd name="connsiteY66" fmla="*/ 53569 h 327050"/>
              <a:gd name="connsiteX67" fmla="*/ 407122 w 405993"/>
              <a:gd name="connsiteY67" fmla="*/ 49622 h 327050"/>
              <a:gd name="connsiteX68" fmla="*/ 399227 w 405993"/>
              <a:gd name="connsiteY68" fmla="*/ 38908 h 32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</a:cxnLst>
            <a:rect l="l" t="t" r="r" b="b"/>
            <a:pathLst>
              <a:path w="405993" h="327050">
                <a:moveTo>
                  <a:pt x="399227" y="38908"/>
                </a:moveTo>
                <a:lnTo>
                  <a:pt x="368778" y="38908"/>
                </a:lnTo>
                <a:lnTo>
                  <a:pt x="347350" y="36088"/>
                </a:lnTo>
                <a:lnTo>
                  <a:pt x="333253" y="52441"/>
                </a:lnTo>
                <a:lnTo>
                  <a:pt x="321412" y="56388"/>
                </a:lnTo>
                <a:lnTo>
                  <a:pt x="312953" y="63719"/>
                </a:lnTo>
                <a:lnTo>
                  <a:pt x="298293" y="51877"/>
                </a:lnTo>
                <a:lnTo>
                  <a:pt x="292654" y="21428"/>
                </a:lnTo>
                <a:lnTo>
                  <a:pt x="283632" y="19736"/>
                </a:lnTo>
                <a:lnTo>
                  <a:pt x="283632" y="8458"/>
                </a:lnTo>
                <a:lnTo>
                  <a:pt x="265587" y="0"/>
                </a:lnTo>
                <a:lnTo>
                  <a:pt x="256002" y="12969"/>
                </a:lnTo>
                <a:lnTo>
                  <a:pt x="257129" y="27630"/>
                </a:lnTo>
                <a:lnTo>
                  <a:pt x="253746" y="32705"/>
                </a:lnTo>
                <a:lnTo>
                  <a:pt x="235702" y="32141"/>
                </a:lnTo>
                <a:lnTo>
                  <a:pt x="230627" y="49058"/>
                </a:lnTo>
                <a:lnTo>
                  <a:pt x="218786" y="41727"/>
                </a:lnTo>
                <a:lnTo>
                  <a:pt x="200177" y="53569"/>
                </a:lnTo>
                <a:lnTo>
                  <a:pt x="190028" y="49058"/>
                </a:lnTo>
                <a:lnTo>
                  <a:pt x="165781" y="41163"/>
                </a:lnTo>
                <a:lnTo>
                  <a:pt x="149428" y="41163"/>
                </a:lnTo>
                <a:lnTo>
                  <a:pt x="140406" y="40036"/>
                </a:lnTo>
                <a:lnTo>
                  <a:pt x="124054" y="30449"/>
                </a:lnTo>
                <a:lnTo>
                  <a:pt x="122362" y="43419"/>
                </a:lnTo>
                <a:lnTo>
                  <a:pt x="99243" y="50185"/>
                </a:lnTo>
                <a:lnTo>
                  <a:pt x="99807" y="79507"/>
                </a:lnTo>
                <a:lnTo>
                  <a:pt x="85710" y="90785"/>
                </a:lnTo>
                <a:lnTo>
                  <a:pt x="63155" y="95860"/>
                </a:lnTo>
                <a:lnTo>
                  <a:pt x="60899" y="112776"/>
                </a:lnTo>
                <a:lnTo>
                  <a:pt x="38908" y="117287"/>
                </a:lnTo>
                <a:lnTo>
                  <a:pt x="5639" y="103754"/>
                </a:lnTo>
                <a:lnTo>
                  <a:pt x="2819" y="148864"/>
                </a:lnTo>
                <a:lnTo>
                  <a:pt x="0" y="175367"/>
                </a:lnTo>
                <a:lnTo>
                  <a:pt x="14097" y="180442"/>
                </a:lnTo>
                <a:lnTo>
                  <a:pt x="5075" y="200177"/>
                </a:lnTo>
                <a:lnTo>
                  <a:pt x="20300" y="228935"/>
                </a:lnTo>
                <a:lnTo>
                  <a:pt x="26503" y="251491"/>
                </a:lnTo>
                <a:lnTo>
                  <a:pt x="50749" y="257693"/>
                </a:lnTo>
                <a:lnTo>
                  <a:pt x="56952" y="280248"/>
                </a:lnTo>
                <a:lnTo>
                  <a:pt x="34961" y="312953"/>
                </a:lnTo>
                <a:lnTo>
                  <a:pt x="89093" y="330998"/>
                </a:lnTo>
                <a:lnTo>
                  <a:pt x="118979" y="325923"/>
                </a:lnTo>
                <a:lnTo>
                  <a:pt x="137587" y="330434"/>
                </a:lnTo>
                <a:lnTo>
                  <a:pt x="142662" y="322539"/>
                </a:lnTo>
                <a:lnTo>
                  <a:pt x="164089" y="325359"/>
                </a:lnTo>
                <a:lnTo>
                  <a:pt x="201306" y="310698"/>
                </a:lnTo>
                <a:lnTo>
                  <a:pt x="196794" y="280248"/>
                </a:lnTo>
                <a:lnTo>
                  <a:pt x="209764" y="259949"/>
                </a:lnTo>
                <a:lnTo>
                  <a:pt x="232319" y="259949"/>
                </a:lnTo>
                <a:lnTo>
                  <a:pt x="233446" y="250363"/>
                </a:lnTo>
                <a:lnTo>
                  <a:pt x="256002" y="245288"/>
                </a:lnTo>
                <a:lnTo>
                  <a:pt x="267843" y="248671"/>
                </a:lnTo>
                <a:lnTo>
                  <a:pt x="277429" y="238521"/>
                </a:lnTo>
                <a:lnTo>
                  <a:pt x="271226" y="217094"/>
                </a:lnTo>
                <a:lnTo>
                  <a:pt x="279684" y="195666"/>
                </a:lnTo>
                <a:lnTo>
                  <a:pt x="296601" y="186644"/>
                </a:lnTo>
                <a:lnTo>
                  <a:pt x="279684" y="162961"/>
                </a:lnTo>
                <a:lnTo>
                  <a:pt x="308443" y="164089"/>
                </a:lnTo>
                <a:lnTo>
                  <a:pt x="313517" y="151120"/>
                </a:lnTo>
                <a:lnTo>
                  <a:pt x="309007" y="137023"/>
                </a:lnTo>
                <a:lnTo>
                  <a:pt x="320284" y="121798"/>
                </a:lnTo>
                <a:lnTo>
                  <a:pt x="312390" y="103754"/>
                </a:lnTo>
                <a:lnTo>
                  <a:pt x="301676" y="87965"/>
                </a:lnTo>
                <a:lnTo>
                  <a:pt x="315209" y="72177"/>
                </a:lnTo>
                <a:lnTo>
                  <a:pt x="345095" y="64846"/>
                </a:lnTo>
                <a:lnTo>
                  <a:pt x="377800" y="60335"/>
                </a:lnTo>
                <a:lnTo>
                  <a:pt x="391333" y="53569"/>
                </a:lnTo>
                <a:lnTo>
                  <a:pt x="407122" y="49622"/>
                </a:lnTo>
                <a:lnTo>
                  <a:pt x="399227" y="38908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Freeform: Shape 245">
            <a:extLst>
              <a:ext uri="{FF2B5EF4-FFF2-40B4-BE49-F238E27FC236}">
                <a16:creationId xmlns:a16="http://schemas.microsoft.com/office/drawing/2014/main" id="{13641931-FED4-4416-8487-9E082BD4045E}"/>
              </a:ext>
            </a:extLst>
          </p:cNvPr>
          <p:cNvSpPr/>
          <p:nvPr/>
        </p:nvSpPr>
        <p:spPr>
          <a:xfrm>
            <a:off x="6114960" y="4241711"/>
            <a:ext cx="290752" cy="358172"/>
          </a:xfrm>
          <a:custGeom>
            <a:avLst/>
            <a:gdLst>
              <a:gd name="connsiteX0" fmla="*/ 152248 w 389077"/>
              <a:gd name="connsiteY0" fmla="*/ 51877 h 479298"/>
              <a:gd name="connsiteX1" fmla="*/ 58643 w 389077"/>
              <a:gd name="connsiteY1" fmla="*/ 51313 h 479298"/>
              <a:gd name="connsiteX2" fmla="*/ 47930 w 389077"/>
              <a:gd name="connsiteY2" fmla="*/ 55260 h 479298"/>
              <a:gd name="connsiteX3" fmla="*/ 38343 w 389077"/>
              <a:gd name="connsiteY3" fmla="*/ 54696 h 479298"/>
              <a:gd name="connsiteX4" fmla="*/ 25375 w 389077"/>
              <a:gd name="connsiteY4" fmla="*/ 59771 h 479298"/>
              <a:gd name="connsiteX5" fmla="*/ 22555 w 389077"/>
              <a:gd name="connsiteY5" fmla="*/ 66538 h 479298"/>
              <a:gd name="connsiteX6" fmla="*/ 38343 w 389077"/>
              <a:gd name="connsiteY6" fmla="*/ 89093 h 479298"/>
              <a:gd name="connsiteX7" fmla="*/ 44546 w 389077"/>
              <a:gd name="connsiteY7" fmla="*/ 113340 h 479298"/>
              <a:gd name="connsiteX8" fmla="*/ 53569 w 389077"/>
              <a:gd name="connsiteY8" fmla="*/ 147736 h 479298"/>
              <a:gd name="connsiteX9" fmla="*/ 43982 w 389077"/>
              <a:gd name="connsiteY9" fmla="*/ 162397 h 479298"/>
              <a:gd name="connsiteX10" fmla="*/ 42291 w 389077"/>
              <a:gd name="connsiteY10" fmla="*/ 169728 h 479298"/>
              <a:gd name="connsiteX11" fmla="*/ 49621 w 389077"/>
              <a:gd name="connsiteY11" fmla="*/ 191155 h 479298"/>
              <a:gd name="connsiteX12" fmla="*/ 58079 w 389077"/>
              <a:gd name="connsiteY12" fmla="*/ 213147 h 479298"/>
              <a:gd name="connsiteX13" fmla="*/ 67101 w 389077"/>
              <a:gd name="connsiteY13" fmla="*/ 225552 h 479298"/>
              <a:gd name="connsiteX14" fmla="*/ 68793 w 389077"/>
              <a:gd name="connsiteY14" fmla="*/ 245852 h 479298"/>
              <a:gd name="connsiteX15" fmla="*/ 64846 w 389077"/>
              <a:gd name="connsiteY15" fmla="*/ 272918 h 479298"/>
              <a:gd name="connsiteX16" fmla="*/ 54696 w 389077"/>
              <a:gd name="connsiteY16" fmla="*/ 288706 h 479298"/>
              <a:gd name="connsiteX17" fmla="*/ 36088 w 389077"/>
              <a:gd name="connsiteY17" fmla="*/ 312389 h 479298"/>
              <a:gd name="connsiteX18" fmla="*/ 28758 w 389077"/>
              <a:gd name="connsiteY18" fmla="*/ 327050 h 479298"/>
              <a:gd name="connsiteX19" fmla="*/ 18044 w 389077"/>
              <a:gd name="connsiteY19" fmla="*/ 359191 h 479298"/>
              <a:gd name="connsiteX20" fmla="*/ 16352 w 389077"/>
              <a:gd name="connsiteY20" fmla="*/ 374416 h 479298"/>
              <a:gd name="connsiteX21" fmla="*/ 5074 w 389077"/>
              <a:gd name="connsiteY21" fmla="*/ 407685 h 479298"/>
              <a:gd name="connsiteX22" fmla="*/ 0 w 389077"/>
              <a:gd name="connsiteY22" fmla="*/ 438699 h 479298"/>
              <a:gd name="connsiteX23" fmla="*/ 2819 w 389077"/>
              <a:gd name="connsiteY23" fmla="*/ 461254 h 479298"/>
              <a:gd name="connsiteX24" fmla="*/ 18044 w 389077"/>
              <a:gd name="connsiteY24" fmla="*/ 454487 h 479298"/>
              <a:gd name="connsiteX25" fmla="*/ 36652 w 389077"/>
              <a:gd name="connsiteY25" fmla="*/ 448848 h 479298"/>
              <a:gd name="connsiteX26" fmla="*/ 56952 w 389077"/>
              <a:gd name="connsiteY26" fmla="*/ 449412 h 479298"/>
              <a:gd name="connsiteX27" fmla="*/ 74996 w 389077"/>
              <a:gd name="connsiteY27" fmla="*/ 465765 h 479298"/>
              <a:gd name="connsiteX28" fmla="*/ 80071 w 389077"/>
              <a:gd name="connsiteY28" fmla="*/ 463509 h 479298"/>
              <a:gd name="connsiteX29" fmla="*/ 206944 w 389077"/>
              <a:gd name="connsiteY29" fmla="*/ 461818 h 479298"/>
              <a:gd name="connsiteX30" fmla="*/ 227807 w 389077"/>
              <a:gd name="connsiteY30" fmla="*/ 478734 h 479298"/>
              <a:gd name="connsiteX31" fmla="*/ 303367 w 389077"/>
              <a:gd name="connsiteY31" fmla="*/ 483809 h 479298"/>
              <a:gd name="connsiteX32" fmla="*/ 361447 w 389077"/>
              <a:gd name="connsiteY32" fmla="*/ 469712 h 479298"/>
              <a:gd name="connsiteX33" fmla="*/ 341711 w 389077"/>
              <a:gd name="connsiteY33" fmla="*/ 447157 h 479298"/>
              <a:gd name="connsiteX34" fmla="*/ 321412 w 389077"/>
              <a:gd name="connsiteY34" fmla="*/ 417835 h 479298"/>
              <a:gd name="connsiteX35" fmla="*/ 325922 w 389077"/>
              <a:gd name="connsiteY35" fmla="*/ 303367 h 479298"/>
              <a:gd name="connsiteX36" fmla="*/ 391332 w 389077"/>
              <a:gd name="connsiteY36" fmla="*/ 303931 h 479298"/>
              <a:gd name="connsiteX37" fmla="*/ 388513 w 389077"/>
              <a:gd name="connsiteY37" fmla="*/ 291526 h 479298"/>
              <a:gd name="connsiteX38" fmla="*/ 393588 w 389077"/>
              <a:gd name="connsiteY38" fmla="*/ 277993 h 479298"/>
              <a:gd name="connsiteX39" fmla="*/ 388513 w 389077"/>
              <a:gd name="connsiteY39" fmla="*/ 261076 h 479298"/>
              <a:gd name="connsiteX40" fmla="*/ 392460 w 389077"/>
              <a:gd name="connsiteY40" fmla="*/ 244160 h 479298"/>
              <a:gd name="connsiteX41" fmla="*/ 389641 w 389077"/>
              <a:gd name="connsiteY41" fmla="*/ 232882 h 479298"/>
              <a:gd name="connsiteX42" fmla="*/ 374980 w 389077"/>
              <a:gd name="connsiteY42" fmla="*/ 230627 h 479298"/>
              <a:gd name="connsiteX43" fmla="*/ 355244 w 389077"/>
              <a:gd name="connsiteY43" fmla="*/ 236266 h 479298"/>
              <a:gd name="connsiteX44" fmla="*/ 341711 w 389077"/>
              <a:gd name="connsiteY44" fmla="*/ 235138 h 479298"/>
              <a:gd name="connsiteX45" fmla="*/ 333817 w 389077"/>
              <a:gd name="connsiteY45" fmla="*/ 238521 h 479298"/>
              <a:gd name="connsiteX46" fmla="*/ 336636 w 389077"/>
              <a:gd name="connsiteY46" fmla="*/ 195666 h 479298"/>
              <a:gd name="connsiteX47" fmla="*/ 325922 w 389077"/>
              <a:gd name="connsiteY47" fmla="*/ 182697 h 479298"/>
              <a:gd name="connsiteX48" fmla="*/ 324231 w 389077"/>
              <a:gd name="connsiteY48" fmla="*/ 160142 h 479298"/>
              <a:gd name="connsiteX49" fmla="*/ 329305 w 389077"/>
              <a:gd name="connsiteY49" fmla="*/ 138714 h 479298"/>
              <a:gd name="connsiteX50" fmla="*/ 322539 w 389077"/>
              <a:gd name="connsiteY50" fmla="*/ 125181 h 479298"/>
              <a:gd name="connsiteX51" fmla="*/ 322539 w 389077"/>
              <a:gd name="connsiteY51" fmla="*/ 102626 h 479298"/>
              <a:gd name="connsiteX52" fmla="*/ 284195 w 389077"/>
              <a:gd name="connsiteY52" fmla="*/ 102626 h 479298"/>
              <a:gd name="connsiteX53" fmla="*/ 287014 w 389077"/>
              <a:gd name="connsiteY53" fmla="*/ 89657 h 479298"/>
              <a:gd name="connsiteX54" fmla="*/ 270662 w 389077"/>
              <a:gd name="connsiteY54" fmla="*/ 89657 h 479298"/>
              <a:gd name="connsiteX55" fmla="*/ 268971 w 389077"/>
              <a:gd name="connsiteY55" fmla="*/ 95860 h 479298"/>
              <a:gd name="connsiteX56" fmla="*/ 249798 w 389077"/>
              <a:gd name="connsiteY56" fmla="*/ 97551 h 479298"/>
              <a:gd name="connsiteX57" fmla="*/ 241340 w 389077"/>
              <a:gd name="connsiteY57" fmla="*/ 118415 h 479298"/>
              <a:gd name="connsiteX58" fmla="*/ 236265 w 389077"/>
              <a:gd name="connsiteY58" fmla="*/ 127437 h 479298"/>
              <a:gd name="connsiteX59" fmla="*/ 219349 w 389077"/>
              <a:gd name="connsiteY59" fmla="*/ 122362 h 479298"/>
              <a:gd name="connsiteX60" fmla="*/ 208636 w 389077"/>
              <a:gd name="connsiteY60" fmla="*/ 127437 h 479298"/>
              <a:gd name="connsiteX61" fmla="*/ 187772 w 389077"/>
              <a:gd name="connsiteY61" fmla="*/ 130256 h 479298"/>
              <a:gd name="connsiteX62" fmla="*/ 175930 w 389077"/>
              <a:gd name="connsiteY62" fmla="*/ 111648 h 479298"/>
              <a:gd name="connsiteX63" fmla="*/ 168600 w 389077"/>
              <a:gd name="connsiteY63" fmla="*/ 99806 h 479298"/>
              <a:gd name="connsiteX64" fmla="*/ 159578 w 389077"/>
              <a:gd name="connsiteY64" fmla="*/ 78379 h 479298"/>
              <a:gd name="connsiteX65" fmla="*/ 152248 w 389077"/>
              <a:gd name="connsiteY65" fmla="*/ 51877 h 479298"/>
              <a:gd name="connsiteX66" fmla="*/ 29321 w 389077"/>
              <a:gd name="connsiteY66" fmla="*/ 44546 h 479298"/>
              <a:gd name="connsiteX67" fmla="*/ 30449 w 389077"/>
              <a:gd name="connsiteY67" fmla="*/ 29321 h 479298"/>
              <a:gd name="connsiteX68" fmla="*/ 35524 w 389077"/>
              <a:gd name="connsiteY68" fmla="*/ 19736 h 479298"/>
              <a:gd name="connsiteX69" fmla="*/ 46802 w 389077"/>
              <a:gd name="connsiteY69" fmla="*/ 12405 h 479298"/>
              <a:gd name="connsiteX70" fmla="*/ 35524 w 389077"/>
              <a:gd name="connsiteY70" fmla="*/ 0 h 479298"/>
              <a:gd name="connsiteX71" fmla="*/ 25375 w 389077"/>
              <a:gd name="connsiteY71" fmla="*/ 6203 h 479298"/>
              <a:gd name="connsiteX72" fmla="*/ 12969 w 389077"/>
              <a:gd name="connsiteY72" fmla="*/ 21427 h 479298"/>
              <a:gd name="connsiteX73" fmla="*/ 20863 w 389077"/>
              <a:gd name="connsiteY73" fmla="*/ 48494 h 479298"/>
              <a:gd name="connsiteX74" fmla="*/ 29321 w 389077"/>
              <a:gd name="connsiteY74" fmla="*/ 44546 h 4792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</a:cxnLst>
            <a:rect l="l" t="t" r="r" b="b"/>
            <a:pathLst>
              <a:path w="389077" h="479298">
                <a:moveTo>
                  <a:pt x="152248" y="51877"/>
                </a:moveTo>
                <a:lnTo>
                  <a:pt x="58643" y="51313"/>
                </a:lnTo>
                <a:lnTo>
                  <a:pt x="47930" y="55260"/>
                </a:lnTo>
                <a:lnTo>
                  <a:pt x="38343" y="54696"/>
                </a:lnTo>
                <a:lnTo>
                  <a:pt x="25375" y="59771"/>
                </a:lnTo>
                <a:lnTo>
                  <a:pt x="22555" y="66538"/>
                </a:lnTo>
                <a:lnTo>
                  <a:pt x="38343" y="89093"/>
                </a:lnTo>
                <a:lnTo>
                  <a:pt x="44546" y="113340"/>
                </a:lnTo>
                <a:lnTo>
                  <a:pt x="53569" y="147736"/>
                </a:lnTo>
                <a:lnTo>
                  <a:pt x="43982" y="162397"/>
                </a:lnTo>
                <a:lnTo>
                  <a:pt x="42291" y="169728"/>
                </a:lnTo>
                <a:lnTo>
                  <a:pt x="49621" y="191155"/>
                </a:lnTo>
                <a:lnTo>
                  <a:pt x="58079" y="213147"/>
                </a:lnTo>
                <a:lnTo>
                  <a:pt x="67101" y="225552"/>
                </a:lnTo>
                <a:lnTo>
                  <a:pt x="68793" y="245852"/>
                </a:lnTo>
                <a:lnTo>
                  <a:pt x="64846" y="272918"/>
                </a:lnTo>
                <a:lnTo>
                  <a:pt x="54696" y="288706"/>
                </a:lnTo>
                <a:lnTo>
                  <a:pt x="36088" y="312389"/>
                </a:lnTo>
                <a:lnTo>
                  <a:pt x="28758" y="327050"/>
                </a:lnTo>
                <a:lnTo>
                  <a:pt x="18044" y="359191"/>
                </a:lnTo>
                <a:lnTo>
                  <a:pt x="16352" y="374416"/>
                </a:lnTo>
                <a:lnTo>
                  <a:pt x="5074" y="407685"/>
                </a:lnTo>
                <a:lnTo>
                  <a:pt x="0" y="438699"/>
                </a:lnTo>
                <a:lnTo>
                  <a:pt x="2819" y="461254"/>
                </a:lnTo>
                <a:lnTo>
                  <a:pt x="18044" y="454487"/>
                </a:lnTo>
                <a:lnTo>
                  <a:pt x="36652" y="448848"/>
                </a:lnTo>
                <a:lnTo>
                  <a:pt x="56952" y="449412"/>
                </a:lnTo>
                <a:lnTo>
                  <a:pt x="74996" y="465765"/>
                </a:lnTo>
                <a:lnTo>
                  <a:pt x="80071" y="463509"/>
                </a:lnTo>
                <a:lnTo>
                  <a:pt x="206944" y="461818"/>
                </a:lnTo>
                <a:lnTo>
                  <a:pt x="227807" y="478734"/>
                </a:lnTo>
                <a:lnTo>
                  <a:pt x="303367" y="483809"/>
                </a:lnTo>
                <a:lnTo>
                  <a:pt x="361447" y="469712"/>
                </a:lnTo>
                <a:lnTo>
                  <a:pt x="341711" y="447157"/>
                </a:lnTo>
                <a:lnTo>
                  <a:pt x="321412" y="417835"/>
                </a:lnTo>
                <a:lnTo>
                  <a:pt x="325922" y="303367"/>
                </a:lnTo>
                <a:lnTo>
                  <a:pt x="391332" y="303931"/>
                </a:lnTo>
                <a:lnTo>
                  <a:pt x="388513" y="291526"/>
                </a:lnTo>
                <a:lnTo>
                  <a:pt x="393588" y="277993"/>
                </a:lnTo>
                <a:lnTo>
                  <a:pt x="388513" y="261076"/>
                </a:lnTo>
                <a:lnTo>
                  <a:pt x="392460" y="244160"/>
                </a:lnTo>
                <a:lnTo>
                  <a:pt x="389641" y="232882"/>
                </a:lnTo>
                <a:lnTo>
                  <a:pt x="374980" y="230627"/>
                </a:lnTo>
                <a:lnTo>
                  <a:pt x="355244" y="236266"/>
                </a:lnTo>
                <a:lnTo>
                  <a:pt x="341711" y="235138"/>
                </a:lnTo>
                <a:lnTo>
                  <a:pt x="333817" y="238521"/>
                </a:lnTo>
                <a:lnTo>
                  <a:pt x="336636" y="195666"/>
                </a:lnTo>
                <a:lnTo>
                  <a:pt x="325922" y="182697"/>
                </a:lnTo>
                <a:lnTo>
                  <a:pt x="324231" y="160142"/>
                </a:lnTo>
                <a:lnTo>
                  <a:pt x="329305" y="138714"/>
                </a:lnTo>
                <a:lnTo>
                  <a:pt x="322539" y="125181"/>
                </a:lnTo>
                <a:lnTo>
                  <a:pt x="322539" y="102626"/>
                </a:lnTo>
                <a:lnTo>
                  <a:pt x="284195" y="102626"/>
                </a:lnTo>
                <a:lnTo>
                  <a:pt x="287014" y="89657"/>
                </a:lnTo>
                <a:lnTo>
                  <a:pt x="270662" y="89657"/>
                </a:lnTo>
                <a:lnTo>
                  <a:pt x="268971" y="95860"/>
                </a:lnTo>
                <a:lnTo>
                  <a:pt x="249798" y="97551"/>
                </a:lnTo>
                <a:lnTo>
                  <a:pt x="241340" y="118415"/>
                </a:lnTo>
                <a:lnTo>
                  <a:pt x="236265" y="127437"/>
                </a:lnTo>
                <a:lnTo>
                  <a:pt x="219349" y="122362"/>
                </a:lnTo>
                <a:lnTo>
                  <a:pt x="208636" y="127437"/>
                </a:lnTo>
                <a:lnTo>
                  <a:pt x="187772" y="130256"/>
                </a:lnTo>
                <a:lnTo>
                  <a:pt x="175930" y="111648"/>
                </a:lnTo>
                <a:lnTo>
                  <a:pt x="168600" y="99806"/>
                </a:lnTo>
                <a:lnTo>
                  <a:pt x="159578" y="78379"/>
                </a:lnTo>
                <a:lnTo>
                  <a:pt x="152248" y="51877"/>
                </a:lnTo>
                <a:close/>
                <a:moveTo>
                  <a:pt x="29321" y="44546"/>
                </a:moveTo>
                <a:lnTo>
                  <a:pt x="30449" y="29321"/>
                </a:lnTo>
                <a:lnTo>
                  <a:pt x="35524" y="19736"/>
                </a:lnTo>
                <a:lnTo>
                  <a:pt x="46802" y="12405"/>
                </a:lnTo>
                <a:lnTo>
                  <a:pt x="35524" y="0"/>
                </a:lnTo>
                <a:lnTo>
                  <a:pt x="25375" y="6203"/>
                </a:lnTo>
                <a:lnTo>
                  <a:pt x="12969" y="21427"/>
                </a:lnTo>
                <a:lnTo>
                  <a:pt x="20863" y="48494"/>
                </a:lnTo>
                <a:lnTo>
                  <a:pt x="29321" y="44546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Freeform: Shape 246">
            <a:extLst>
              <a:ext uri="{FF2B5EF4-FFF2-40B4-BE49-F238E27FC236}">
                <a16:creationId xmlns:a16="http://schemas.microsoft.com/office/drawing/2014/main" id="{422B6905-E8D5-4C76-AF7D-3B0AE78339A6}"/>
              </a:ext>
            </a:extLst>
          </p:cNvPr>
          <p:cNvSpPr/>
          <p:nvPr/>
        </p:nvSpPr>
        <p:spPr>
          <a:xfrm>
            <a:off x="6259071" y="2977996"/>
            <a:ext cx="37924" cy="80062"/>
          </a:xfrm>
          <a:custGeom>
            <a:avLst/>
            <a:gdLst>
              <a:gd name="connsiteX0" fmla="*/ 11278 w 50749"/>
              <a:gd name="connsiteY0" fmla="*/ 0 h 107137"/>
              <a:gd name="connsiteX1" fmla="*/ 0 w 50749"/>
              <a:gd name="connsiteY1" fmla="*/ 17480 h 107137"/>
              <a:gd name="connsiteX2" fmla="*/ 2819 w 50749"/>
              <a:gd name="connsiteY2" fmla="*/ 28194 h 107137"/>
              <a:gd name="connsiteX3" fmla="*/ 2819 w 50749"/>
              <a:gd name="connsiteY3" fmla="*/ 28194 h 107137"/>
              <a:gd name="connsiteX4" fmla="*/ 8458 w 50749"/>
              <a:gd name="connsiteY4" fmla="*/ 33833 h 107137"/>
              <a:gd name="connsiteX5" fmla="*/ 5639 w 50749"/>
              <a:gd name="connsiteY5" fmla="*/ 44546 h 107137"/>
              <a:gd name="connsiteX6" fmla="*/ 5075 w 50749"/>
              <a:gd name="connsiteY6" fmla="*/ 68793 h 107137"/>
              <a:gd name="connsiteX7" fmla="*/ 9022 w 50749"/>
              <a:gd name="connsiteY7" fmla="*/ 85710 h 107137"/>
              <a:gd name="connsiteX8" fmla="*/ 25938 w 50749"/>
              <a:gd name="connsiteY8" fmla="*/ 97551 h 107137"/>
              <a:gd name="connsiteX9" fmla="*/ 27067 w 50749"/>
              <a:gd name="connsiteY9" fmla="*/ 105446 h 107137"/>
              <a:gd name="connsiteX10" fmla="*/ 32705 w 50749"/>
              <a:gd name="connsiteY10" fmla="*/ 107701 h 107137"/>
              <a:gd name="connsiteX11" fmla="*/ 44547 w 50749"/>
              <a:gd name="connsiteY11" fmla="*/ 90785 h 107137"/>
              <a:gd name="connsiteX12" fmla="*/ 45110 w 50749"/>
              <a:gd name="connsiteY12" fmla="*/ 78943 h 107137"/>
              <a:gd name="connsiteX13" fmla="*/ 54132 w 50749"/>
              <a:gd name="connsiteY13" fmla="*/ 73868 h 107137"/>
              <a:gd name="connsiteX14" fmla="*/ 54132 w 50749"/>
              <a:gd name="connsiteY14" fmla="*/ 64846 h 107137"/>
              <a:gd name="connsiteX15" fmla="*/ 41164 w 50749"/>
              <a:gd name="connsiteY15" fmla="*/ 55824 h 107137"/>
              <a:gd name="connsiteX16" fmla="*/ 36088 w 50749"/>
              <a:gd name="connsiteY16" fmla="*/ 41163 h 107137"/>
              <a:gd name="connsiteX17" fmla="*/ 38344 w 50749"/>
              <a:gd name="connsiteY17" fmla="*/ 29322 h 107137"/>
              <a:gd name="connsiteX18" fmla="*/ 38344 w 50749"/>
              <a:gd name="connsiteY18" fmla="*/ 29322 h 107137"/>
              <a:gd name="connsiteX19" fmla="*/ 35525 w 50749"/>
              <a:gd name="connsiteY19" fmla="*/ 16352 h 107137"/>
              <a:gd name="connsiteX20" fmla="*/ 28194 w 50749"/>
              <a:gd name="connsiteY20" fmla="*/ 12969 h 107137"/>
              <a:gd name="connsiteX21" fmla="*/ 20863 w 50749"/>
              <a:gd name="connsiteY21" fmla="*/ 3947 h 107137"/>
              <a:gd name="connsiteX22" fmla="*/ 13533 w 50749"/>
              <a:gd name="connsiteY22" fmla="*/ 6767 h 107137"/>
              <a:gd name="connsiteX23" fmla="*/ 11278 w 50749"/>
              <a:gd name="connsiteY23" fmla="*/ 0 h 107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50749" h="107137">
                <a:moveTo>
                  <a:pt x="11278" y="0"/>
                </a:moveTo>
                <a:lnTo>
                  <a:pt x="0" y="17480"/>
                </a:lnTo>
                <a:lnTo>
                  <a:pt x="2819" y="28194"/>
                </a:lnTo>
                <a:lnTo>
                  <a:pt x="2819" y="28194"/>
                </a:lnTo>
                <a:lnTo>
                  <a:pt x="8458" y="33833"/>
                </a:lnTo>
                <a:lnTo>
                  <a:pt x="5639" y="44546"/>
                </a:lnTo>
                <a:lnTo>
                  <a:pt x="5075" y="68793"/>
                </a:lnTo>
                <a:lnTo>
                  <a:pt x="9022" y="85710"/>
                </a:lnTo>
                <a:lnTo>
                  <a:pt x="25938" y="97551"/>
                </a:lnTo>
                <a:lnTo>
                  <a:pt x="27067" y="105446"/>
                </a:lnTo>
                <a:lnTo>
                  <a:pt x="32705" y="107701"/>
                </a:lnTo>
                <a:lnTo>
                  <a:pt x="44547" y="90785"/>
                </a:lnTo>
                <a:lnTo>
                  <a:pt x="45110" y="78943"/>
                </a:lnTo>
                <a:lnTo>
                  <a:pt x="54132" y="73868"/>
                </a:lnTo>
                <a:lnTo>
                  <a:pt x="54132" y="64846"/>
                </a:lnTo>
                <a:lnTo>
                  <a:pt x="41164" y="55824"/>
                </a:lnTo>
                <a:lnTo>
                  <a:pt x="36088" y="41163"/>
                </a:lnTo>
                <a:lnTo>
                  <a:pt x="38344" y="29322"/>
                </a:lnTo>
                <a:lnTo>
                  <a:pt x="38344" y="29322"/>
                </a:lnTo>
                <a:lnTo>
                  <a:pt x="35525" y="16352"/>
                </a:lnTo>
                <a:lnTo>
                  <a:pt x="28194" y="12969"/>
                </a:lnTo>
                <a:lnTo>
                  <a:pt x="20863" y="3947"/>
                </a:lnTo>
                <a:lnTo>
                  <a:pt x="13533" y="6767"/>
                </a:lnTo>
                <a:lnTo>
                  <a:pt x="11278" y="0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Freeform: Shape 247">
            <a:extLst>
              <a:ext uri="{FF2B5EF4-FFF2-40B4-BE49-F238E27FC236}">
                <a16:creationId xmlns:a16="http://schemas.microsoft.com/office/drawing/2014/main" id="{8239CFF6-68CB-4447-B781-9B89244071E8}"/>
              </a:ext>
            </a:extLst>
          </p:cNvPr>
          <p:cNvSpPr/>
          <p:nvPr/>
        </p:nvSpPr>
        <p:spPr>
          <a:xfrm>
            <a:off x="7033144" y="3424236"/>
            <a:ext cx="109559" cy="92704"/>
          </a:xfrm>
          <a:custGeom>
            <a:avLst/>
            <a:gdLst>
              <a:gd name="connsiteX0" fmla="*/ 139279 w 146608"/>
              <a:gd name="connsiteY0" fmla="*/ 12405 h 124053"/>
              <a:gd name="connsiteX1" fmla="*/ 131948 w 146608"/>
              <a:gd name="connsiteY1" fmla="*/ 0 h 124053"/>
              <a:gd name="connsiteX2" fmla="*/ 115032 w 146608"/>
              <a:gd name="connsiteY2" fmla="*/ 21991 h 124053"/>
              <a:gd name="connsiteX3" fmla="*/ 94168 w 146608"/>
              <a:gd name="connsiteY3" fmla="*/ 45110 h 124053"/>
              <a:gd name="connsiteX4" fmla="*/ 75560 w 146608"/>
              <a:gd name="connsiteY4" fmla="*/ 69357 h 124053"/>
              <a:gd name="connsiteX5" fmla="*/ 56952 w 146608"/>
              <a:gd name="connsiteY5" fmla="*/ 68230 h 124053"/>
              <a:gd name="connsiteX6" fmla="*/ 31013 w 146608"/>
              <a:gd name="connsiteY6" fmla="*/ 67102 h 124053"/>
              <a:gd name="connsiteX7" fmla="*/ 7331 w 146608"/>
              <a:gd name="connsiteY7" fmla="*/ 72740 h 124053"/>
              <a:gd name="connsiteX8" fmla="*/ 5639 w 146608"/>
              <a:gd name="connsiteY8" fmla="*/ 63155 h 124053"/>
              <a:gd name="connsiteX9" fmla="*/ 0 w 146608"/>
              <a:gd name="connsiteY9" fmla="*/ 64846 h 124053"/>
              <a:gd name="connsiteX10" fmla="*/ 2256 w 146608"/>
              <a:gd name="connsiteY10" fmla="*/ 73304 h 124053"/>
              <a:gd name="connsiteX11" fmla="*/ 16916 w 146608"/>
              <a:gd name="connsiteY11" fmla="*/ 109393 h 124053"/>
              <a:gd name="connsiteX12" fmla="*/ 111649 w 146608"/>
              <a:gd name="connsiteY12" fmla="*/ 127437 h 124053"/>
              <a:gd name="connsiteX13" fmla="*/ 117287 w 146608"/>
              <a:gd name="connsiteY13" fmla="*/ 120107 h 124053"/>
              <a:gd name="connsiteX14" fmla="*/ 116724 w 146608"/>
              <a:gd name="connsiteY14" fmla="*/ 105446 h 124053"/>
              <a:gd name="connsiteX15" fmla="*/ 124618 w 146608"/>
              <a:gd name="connsiteY15" fmla="*/ 90785 h 124053"/>
              <a:gd name="connsiteX16" fmla="*/ 122926 w 146608"/>
              <a:gd name="connsiteY16" fmla="*/ 76124 h 124053"/>
              <a:gd name="connsiteX17" fmla="*/ 136459 w 146608"/>
              <a:gd name="connsiteY17" fmla="*/ 68793 h 124053"/>
              <a:gd name="connsiteX18" fmla="*/ 130257 w 146608"/>
              <a:gd name="connsiteY18" fmla="*/ 64282 h 124053"/>
              <a:gd name="connsiteX19" fmla="*/ 130821 w 146608"/>
              <a:gd name="connsiteY19" fmla="*/ 40599 h 124053"/>
              <a:gd name="connsiteX20" fmla="*/ 146609 w 146608"/>
              <a:gd name="connsiteY20" fmla="*/ 40599 h 124053"/>
              <a:gd name="connsiteX21" fmla="*/ 139279 w 146608"/>
              <a:gd name="connsiteY21" fmla="*/ 12405 h 124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46608" h="124053">
                <a:moveTo>
                  <a:pt x="139279" y="12405"/>
                </a:moveTo>
                <a:lnTo>
                  <a:pt x="131948" y="0"/>
                </a:lnTo>
                <a:lnTo>
                  <a:pt x="115032" y="21991"/>
                </a:lnTo>
                <a:lnTo>
                  <a:pt x="94168" y="45110"/>
                </a:lnTo>
                <a:lnTo>
                  <a:pt x="75560" y="69357"/>
                </a:lnTo>
                <a:lnTo>
                  <a:pt x="56952" y="68230"/>
                </a:lnTo>
                <a:lnTo>
                  <a:pt x="31013" y="67102"/>
                </a:lnTo>
                <a:lnTo>
                  <a:pt x="7331" y="72740"/>
                </a:lnTo>
                <a:lnTo>
                  <a:pt x="5639" y="63155"/>
                </a:lnTo>
                <a:lnTo>
                  <a:pt x="0" y="64846"/>
                </a:lnTo>
                <a:lnTo>
                  <a:pt x="2256" y="73304"/>
                </a:lnTo>
                <a:lnTo>
                  <a:pt x="16916" y="109393"/>
                </a:lnTo>
                <a:lnTo>
                  <a:pt x="111649" y="127437"/>
                </a:lnTo>
                <a:lnTo>
                  <a:pt x="117287" y="120107"/>
                </a:lnTo>
                <a:lnTo>
                  <a:pt x="116724" y="105446"/>
                </a:lnTo>
                <a:lnTo>
                  <a:pt x="124618" y="90785"/>
                </a:lnTo>
                <a:lnTo>
                  <a:pt x="122926" y="76124"/>
                </a:lnTo>
                <a:lnTo>
                  <a:pt x="136459" y="68793"/>
                </a:lnTo>
                <a:lnTo>
                  <a:pt x="130257" y="64282"/>
                </a:lnTo>
                <a:lnTo>
                  <a:pt x="130821" y="40599"/>
                </a:lnTo>
                <a:lnTo>
                  <a:pt x="146609" y="40599"/>
                </a:lnTo>
                <a:lnTo>
                  <a:pt x="139279" y="12405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Freeform: Shape 248">
            <a:extLst>
              <a:ext uri="{FF2B5EF4-FFF2-40B4-BE49-F238E27FC236}">
                <a16:creationId xmlns:a16="http://schemas.microsoft.com/office/drawing/2014/main" id="{8B4964B8-8CCB-4294-8545-7A0D1077AD82}"/>
              </a:ext>
            </a:extLst>
          </p:cNvPr>
          <p:cNvSpPr/>
          <p:nvPr/>
        </p:nvSpPr>
        <p:spPr>
          <a:xfrm>
            <a:off x="4246145" y="4708178"/>
            <a:ext cx="362386" cy="880682"/>
          </a:xfrm>
          <a:custGeom>
            <a:avLst/>
            <a:gdLst>
              <a:gd name="connsiteX0" fmla="*/ 405994 w 484936"/>
              <a:gd name="connsiteY0" fmla="*/ 1181893 h 1178509"/>
              <a:gd name="connsiteX1" fmla="*/ 411069 w 484936"/>
              <a:gd name="connsiteY1" fmla="*/ 1164976 h 1178509"/>
              <a:gd name="connsiteX2" fmla="*/ 369906 w 484936"/>
              <a:gd name="connsiteY2" fmla="*/ 1156518 h 1178509"/>
              <a:gd name="connsiteX3" fmla="*/ 326487 w 484936"/>
              <a:gd name="connsiteY3" fmla="*/ 1136218 h 1178509"/>
              <a:gd name="connsiteX4" fmla="*/ 302240 w 484936"/>
              <a:gd name="connsiteY4" fmla="*/ 1110280 h 1178509"/>
              <a:gd name="connsiteX5" fmla="*/ 285324 w 484936"/>
              <a:gd name="connsiteY5" fmla="*/ 1094491 h 1178509"/>
              <a:gd name="connsiteX6" fmla="*/ 318592 w 484936"/>
              <a:gd name="connsiteY6" fmla="*/ 1170615 h 1178509"/>
              <a:gd name="connsiteX7" fmla="*/ 346786 w 484936"/>
              <a:gd name="connsiteY7" fmla="*/ 1170615 h 1178509"/>
              <a:gd name="connsiteX8" fmla="*/ 363139 w 484936"/>
              <a:gd name="connsiteY8" fmla="*/ 1171743 h 1178509"/>
              <a:gd name="connsiteX9" fmla="*/ 381747 w 484936"/>
              <a:gd name="connsiteY9" fmla="*/ 1183584 h 1178509"/>
              <a:gd name="connsiteX10" fmla="*/ 405994 w 484936"/>
              <a:gd name="connsiteY10" fmla="*/ 1181893 h 1178509"/>
              <a:gd name="connsiteX11" fmla="*/ 121798 w 484936"/>
              <a:gd name="connsiteY11" fmla="*/ 8458 h 1178509"/>
              <a:gd name="connsiteX12" fmla="*/ 80071 w 484936"/>
              <a:gd name="connsiteY12" fmla="*/ 0 h 1178509"/>
              <a:gd name="connsiteX13" fmla="*/ 57516 w 484936"/>
              <a:gd name="connsiteY13" fmla="*/ 32141 h 1178509"/>
              <a:gd name="connsiteX14" fmla="*/ 62591 w 484936"/>
              <a:gd name="connsiteY14" fmla="*/ 41164 h 1178509"/>
              <a:gd name="connsiteX15" fmla="*/ 56388 w 484936"/>
              <a:gd name="connsiteY15" fmla="*/ 78379 h 1178509"/>
              <a:gd name="connsiteX16" fmla="*/ 24811 w 484936"/>
              <a:gd name="connsiteY16" fmla="*/ 96424 h 1178509"/>
              <a:gd name="connsiteX17" fmla="*/ 33833 w 484936"/>
              <a:gd name="connsiteY17" fmla="*/ 156195 h 1178509"/>
              <a:gd name="connsiteX18" fmla="*/ 28758 w 484936"/>
              <a:gd name="connsiteY18" fmla="*/ 167472 h 1178509"/>
              <a:gd name="connsiteX19" fmla="*/ 40036 w 484936"/>
              <a:gd name="connsiteY19" fmla="*/ 181569 h 1178509"/>
              <a:gd name="connsiteX20" fmla="*/ 21991 w 484936"/>
              <a:gd name="connsiteY20" fmla="*/ 204125 h 1178509"/>
              <a:gd name="connsiteX21" fmla="*/ 7330 w 484936"/>
              <a:gd name="connsiteY21" fmla="*/ 237394 h 1178509"/>
              <a:gd name="connsiteX22" fmla="*/ 2256 w 484936"/>
              <a:gd name="connsiteY22" fmla="*/ 270099 h 1178509"/>
              <a:gd name="connsiteX23" fmla="*/ 11842 w 484936"/>
              <a:gd name="connsiteY23" fmla="*/ 305059 h 1178509"/>
              <a:gd name="connsiteX24" fmla="*/ 0 w 484936"/>
              <a:gd name="connsiteY24" fmla="*/ 341712 h 1178509"/>
              <a:gd name="connsiteX25" fmla="*/ 27630 w 484936"/>
              <a:gd name="connsiteY25" fmla="*/ 403174 h 1178509"/>
              <a:gd name="connsiteX26" fmla="*/ 36652 w 484936"/>
              <a:gd name="connsiteY26" fmla="*/ 409941 h 1178509"/>
              <a:gd name="connsiteX27" fmla="*/ 43983 w 484936"/>
              <a:gd name="connsiteY27" fmla="*/ 443210 h 1178509"/>
              <a:gd name="connsiteX28" fmla="*/ 34961 w 484936"/>
              <a:gd name="connsiteY28" fmla="*/ 478171 h 1178509"/>
              <a:gd name="connsiteX29" fmla="*/ 42855 w 484936"/>
              <a:gd name="connsiteY29" fmla="*/ 508620 h 1178509"/>
              <a:gd name="connsiteX30" fmla="*/ 26502 w 484936"/>
              <a:gd name="connsiteY30" fmla="*/ 532867 h 1178509"/>
              <a:gd name="connsiteX31" fmla="*/ 34961 w 484936"/>
              <a:gd name="connsiteY31" fmla="*/ 566136 h 1178509"/>
              <a:gd name="connsiteX32" fmla="*/ 53569 w 484936"/>
              <a:gd name="connsiteY32" fmla="*/ 601660 h 1178509"/>
              <a:gd name="connsiteX33" fmla="*/ 39472 w 484936"/>
              <a:gd name="connsiteY33" fmla="*/ 615193 h 1178509"/>
              <a:gd name="connsiteX34" fmla="*/ 41163 w 484936"/>
              <a:gd name="connsiteY34" fmla="*/ 647335 h 1178509"/>
              <a:gd name="connsiteX35" fmla="*/ 45110 w 484936"/>
              <a:gd name="connsiteY35" fmla="*/ 683423 h 1178509"/>
              <a:gd name="connsiteX36" fmla="*/ 63718 w 484936"/>
              <a:gd name="connsiteY36" fmla="*/ 726278 h 1178509"/>
              <a:gd name="connsiteX37" fmla="*/ 54696 w 484936"/>
              <a:gd name="connsiteY37" fmla="*/ 733044 h 1178509"/>
              <a:gd name="connsiteX38" fmla="*/ 74996 w 484936"/>
              <a:gd name="connsiteY38" fmla="*/ 773080 h 1178509"/>
              <a:gd name="connsiteX39" fmla="*/ 92476 w 484936"/>
              <a:gd name="connsiteY39" fmla="*/ 786049 h 1178509"/>
              <a:gd name="connsiteX40" fmla="*/ 87965 w 484936"/>
              <a:gd name="connsiteY40" fmla="*/ 800710 h 1178509"/>
              <a:gd name="connsiteX41" fmla="*/ 103754 w 484936"/>
              <a:gd name="connsiteY41" fmla="*/ 808040 h 1178509"/>
              <a:gd name="connsiteX42" fmla="*/ 111084 w 484936"/>
              <a:gd name="connsiteY42" fmla="*/ 821010 h 1178509"/>
              <a:gd name="connsiteX43" fmla="*/ 100935 w 484936"/>
              <a:gd name="connsiteY43" fmla="*/ 827212 h 1178509"/>
              <a:gd name="connsiteX44" fmla="*/ 111084 w 484936"/>
              <a:gd name="connsiteY44" fmla="*/ 848076 h 1178509"/>
              <a:gd name="connsiteX45" fmla="*/ 117287 w 484936"/>
              <a:gd name="connsiteY45" fmla="*/ 894314 h 1178509"/>
              <a:gd name="connsiteX46" fmla="*/ 113340 w 484936"/>
              <a:gd name="connsiteY46" fmla="*/ 924200 h 1178509"/>
              <a:gd name="connsiteX47" fmla="*/ 123490 w 484936"/>
              <a:gd name="connsiteY47" fmla="*/ 942244 h 1178509"/>
              <a:gd name="connsiteX48" fmla="*/ 122926 w 484936"/>
              <a:gd name="connsiteY48" fmla="*/ 964235 h 1178509"/>
              <a:gd name="connsiteX49" fmla="*/ 107701 w 484936"/>
              <a:gd name="connsiteY49" fmla="*/ 979460 h 1178509"/>
              <a:gd name="connsiteX50" fmla="*/ 125181 w 484936"/>
              <a:gd name="connsiteY50" fmla="*/ 1016676 h 1178509"/>
              <a:gd name="connsiteX51" fmla="*/ 139842 w 484936"/>
              <a:gd name="connsiteY51" fmla="*/ 1029081 h 1178509"/>
              <a:gd name="connsiteX52" fmla="*/ 157323 w 484936"/>
              <a:gd name="connsiteY52" fmla="*/ 1026826 h 1178509"/>
              <a:gd name="connsiteX53" fmla="*/ 167472 w 484936"/>
              <a:gd name="connsiteY53" fmla="*/ 1052764 h 1178509"/>
              <a:gd name="connsiteX54" fmla="*/ 187208 w 484936"/>
              <a:gd name="connsiteY54" fmla="*/ 1073064 h 1178509"/>
              <a:gd name="connsiteX55" fmla="*/ 254874 w 484936"/>
              <a:gd name="connsiteY55" fmla="*/ 1077575 h 1178509"/>
              <a:gd name="connsiteX56" fmla="*/ 281940 w 484936"/>
              <a:gd name="connsiteY56" fmla="*/ 1082650 h 1178509"/>
              <a:gd name="connsiteX57" fmla="*/ 294345 w 484936"/>
              <a:gd name="connsiteY57" fmla="*/ 1084905 h 1178509"/>
              <a:gd name="connsiteX58" fmla="*/ 267843 w 484936"/>
              <a:gd name="connsiteY58" fmla="*/ 1064606 h 1178509"/>
              <a:gd name="connsiteX59" fmla="*/ 244724 w 484936"/>
              <a:gd name="connsiteY59" fmla="*/ 1029081 h 1178509"/>
              <a:gd name="connsiteX60" fmla="*/ 249799 w 484936"/>
              <a:gd name="connsiteY60" fmla="*/ 1012729 h 1178509"/>
              <a:gd name="connsiteX61" fmla="*/ 269535 w 484936"/>
              <a:gd name="connsiteY61" fmla="*/ 998632 h 1178509"/>
              <a:gd name="connsiteX62" fmla="*/ 272354 w 484936"/>
              <a:gd name="connsiteY62" fmla="*/ 958032 h 1178509"/>
              <a:gd name="connsiteX63" fmla="*/ 298856 w 484936"/>
              <a:gd name="connsiteY63" fmla="*/ 938297 h 1178509"/>
              <a:gd name="connsiteX64" fmla="*/ 297729 w 484936"/>
              <a:gd name="connsiteY64" fmla="*/ 906719 h 1178509"/>
              <a:gd name="connsiteX65" fmla="*/ 268407 w 484936"/>
              <a:gd name="connsiteY65" fmla="*/ 899389 h 1178509"/>
              <a:gd name="connsiteX66" fmla="*/ 232319 w 484936"/>
              <a:gd name="connsiteY66" fmla="*/ 874014 h 1178509"/>
              <a:gd name="connsiteX67" fmla="*/ 231755 w 484936"/>
              <a:gd name="connsiteY67" fmla="*/ 847512 h 1178509"/>
              <a:gd name="connsiteX68" fmla="*/ 248107 w 484936"/>
              <a:gd name="connsiteY68" fmla="*/ 830031 h 1178509"/>
              <a:gd name="connsiteX69" fmla="*/ 274610 w 484936"/>
              <a:gd name="connsiteY69" fmla="*/ 829468 h 1178509"/>
              <a:gd name="connsiteX70" fmla="*/ 275737 w 484936"/>
              <a:gd name="connsiteY70" fmla="*/ 810860 h 1178509"/>
              <a:gd name="connsiteX71" fmla="*/ 268971 w 484936"/>
              <a:gd name="connsiteY71" fmla="*/ 776463 h 1178509"/>
              <a:gd name="connsiteX72" fmla="*/ 285324 w 484936"/>
              <a:gd name="connsiteY72" fmla="*/ 754472 h 1178509"/>
              <a:gd name="connsiteX73" fmla="*/ 308442 w 484936"/>
              <a:gd name="connsiteY73" fmla="*/ 743758 h 1178509"/>
              <a:gd name="connsiteX74" fmla="*/ 294345 w 484936"/>
              <a:gd name="connsiteY74" fmla="*/ 725714 h 1178509"/>
              <a:gd name="connsiteX75" fmla="*/ 281940 w 484936"/>
              <a:gd name="connsiteY75" fmla="*/ 736991 h 1178509"/>
              <a:gd name="connsiteX76" fmla="*/ 259385 w 484936"/>
              <a:gd name="connsiteY76" fmla="*/ 726278 h 1178509"/>
              <a:gd name="connsiteX77" fmla="*/ 245288 w 484936"/>
              <a:gd name="connsiteY77" fmla="*/ 691317 h 1178509"/>
              <a:gd name="connsiteX78" fmla="*/ 253746 w 484936"/>
              <a:gd name="connsiteY78" fmla="*/ 682295 h 1178509"/>
              <a:gd name="connsiteX79" fmla="*/ 285324 w 484936"/>
              <a:gd name="connsiteY79" fmla="*/ 695264 h 1178509"/>
              <a:gd name="connsiteX80" fmla="*/ 313518 w 484936"/>
              <a:gd name="connsiteY80" fmla="*/ 690189 h 1178509"/>
              <a:gd name="connsiteX81" fmla="*/ 327615 w 484936"/>
              <a:gd name="connsiteY81" fmla="*/ 677784 h 1178509"/>
              <a:gd name="connsiteX82" fmla="*/ 317464 w 484936"/>
              <a:gd name="connsiteY82" fmla="*/ 660304 h 1178509"/>
              <a:gd name="connsiteX83" fmla="*/ 316901 w 484936"/>
              <a:gd name="connsiteY83" fmla="*/ 633238 h 1178509"/>
              <a:gd name="connsiteX84" fmla="*/ 305623 w 484936"/>
              <a:gd name="connsiteY84" fmla="*/ 611810 h 1178509"/>
              <a:gd name="connsiteX85" fmla="*/ 338328 w 484936"/>
              <a:gd name="connsiteY85" fmla="*/ 615193 h 1178509"/>
              <a:gd name="connsiteX86" fmla="*/ 395844 w 484936"/>
              <a:gd name="connsiteY86" fmla="*/ 607863 h 1178509"/>
              <a:gd name="connsiteX87" fmla="*/ 434752 w 484936"/>
              <a:gd name="connsiteY87" fmla="*/ 588691 h 1178509"/>
              <a:gd name="connsiteX88" fmla="*/ 453360 w 484936"/>
              <a:gd name="connsiteY88" fmla="*/ 541889 h 1178509"/>
              <a:gd name="connsiteX89" fmla="*/ 451668 w 484936"/>
              <a:gd name="connsiteY89" fmla="*/ 523845 h 1178509"/>
              <a:gd name="connsiteX90" fmla="*/ 429677 w 484936"/>
              <a:gd name="connsiteY90" fmla="*/ 508056 h 1178509"/>
              <a:gd name="connsiteX91" fmla="*/ 429113 w 484936"/>
              <a:gd name="connsiteY91" fmla="*/ 482682 h 1178509"/>
              <a:gd name="connsiteX92" fmla="*/ 385130 w 484936"/>
              <a:gd name="connsiteY92" fmla="*/ 451668 h 1178509"/>
              <a:gd name="connsiteX93" fmla="*/ 383438 w 484936"/>
              <a:gd name="connsiteY93" fmla="*/ 433060 h 1178509"/>
              <a:gd name="connsiteX94" fmla="*/ 381183 w 484936"/>
              <a:gd name="connsiteY94" fmla="*/ 409377 h 1178509"/>
              <a:gd name="connsiteX95" fmla="*/ 386258 w 484936"/>
              <a:gd name="connsiteY95" fmla="*/ 401483 h 1178509"/>
              <a:gd name="connsiteX96" fmla="*/ 380055 w 484936"/>
              <a:gd name="connsiteY96" fmla="*/ 365958 h 1178509"/>
              <a:gd name="connsiteX97" fmla="*/ 381747 w 484936"/>
              <a:gd name="connsiteY97" fmla="*/ 329306 h 1178509"/>
              <a:gd name="connsiteX98" fmla="*/ 384566 w 484936"/>
              <a:gd name="connsiteY98" fmla="*/ 300548 h 1178509"/>
              <a:gd name="connsiteX99" fmla="*/ 417835 w 484936"/>
              <a:gd name="connsiteY99" fmla="*/ 252054 h 1178509"/>
              <a:gd name="connsiteX100" fmla="*/ 447721 w 484936"/>
              <a:gd name="connsiteY100" fmla="*/ 217094 h 1178509"/>
              <a:gd name="connsiteX101" fmla="*/ 466329 w 484936"/>
              <a:gd name="connsiteY101" fmla="*/ 202433 h 1178509"/>
              <a:gd name="connsiteX102" fmla="*/ 490012 w 484936"/>
              <a:gd name="connsiteY102" fmla="*/ 182697 h 1178509"/>
              <a:gd name="connsiteX103" fmla="*/ 487192 w 484936"/>
              <a:gd name="connsiteY103" fmla="*/ 153940 h 1178509"/>
              <a:gd name="connsiteX104" fmla="*/ 469712 w 484936"/>
              <a:gd name="connsiteY104" fmla="*/ 133076 h 1178509"/>
              <a:gd name="connsiteX105" fmla="*/ 455051 w 484936"/>
              <a:gd name="connsiteY105" fmla="*/ 139843 h 1178509"/>
              <a:gd name="connsiteX106" fmla="*/ 453360 w 484936"/>
              <a:gd name="connsiteY106" fmla="*/ 171983 h 1178509"/>
              <a:gd name="connsiteX107" fmla="*/ 429113 w 484936"/>
              <a:gd name="connsiteY107" fmla="*/ 199050 h 1178509"/>
              <a:gd name="connsiteX108" fmla="*/ 405430 w 484936"/>
              <a:gd name="connsiteY108" fmla="*/ 205252 h 1178509"/>
              <a:gd name="connsiteX109" fmla="*/ 370469 w 484936"/>
              <a:gd name="connsiteY109" fmla="*/ 199614 h 1178509"/>
              <a:gd name="connsiteX110" fmla="*/ 338328 w 484936"/>
              <a:gd name="connsiteY110" fmla="*/ 189464 h 1178509"/>
              <a:gd name="connsiteX111" fmla="*/ 362011 w 484936"/>
              <a:gd name="connsiteY111" fmla="*/ 135331 h 1178509"/>
              <a:gd name="connsiteX112" fmla="*/ 355809 w 484936"/>
              <a:gd name="connsiteY112" fmla="*/ 119543 h 1178509"/>
              <a:gd name="connsiteX113" fmla="*/ 322539 w 484936"/>
              <a:gd name="connsiteY113" fmla="*/ 105446 h 1178509"/>
              <a:gd name="connsiteX114" fmla="*/ 281940 w 484936"/>
              <a:gd name="connsiteY114" fmla="*/ 78943 h 1178509"/>
              <a:gd name="connsiteX115" fmla="*/ 256002 w 484936"/>
              <a:gd name="connsiteY115" fmla="*/ 73304 h 1178509"/>
              <a:gd name="connsiteX116" fmla="*/ 192847 w 484936"/>
              <a:gd name="connsiteY116" fmla="*/ 14661 h 1178509"/>
              <a:gd name="connsiteX117" fmla="*/ 187208 w 484936"/>
              <a:gd name="connsiteY117" fmla="*/ 7331 h 1178509"/>
              <a:gd name="connsiteX118" fmla="*/ 151684 w 484936"/>
              <a:gd name="connsiteY118" fmla="*/ 5639 h 1178509"/>
              <a:gd name="connsiteX119" fmla="*/ 142662 w 484936"/>
              <a:gd name="connsiteY119" fmla="*/ 34397 h 1178509"/>
              <a:gd name="connsiteX120" fmla="*/ 121798 w 484936"/>
              <a:gd name="connsiteY120" fmla="*/ 8458 h 11785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</a:cxnLst>
            <a:rect l="l" t="t" r="r" b="b"/>
            <a:pathLst>
              <a:path w="484936" h="1178509">
                <a:moveTo>
                  <a:pt x="405994" y="1181893"/>
                </a:moveTo>
                <a:lnTo>
                  <a:pt x="411069" y="1164976"/>
                </a:lnTo>
                <a:lnTo>
                  <a:pt x="369906" y="1156518"/>
                </a:lnTo>
                <a:lnTo>
                  <a:pt x="326487" y="1136218"/>
                </a:lnTo>
                <a:lnTo>
                  <a:pt x="302240" y="1110280"/>
                </a:lnTo>
                <a:lnTo>
                  <a:pt x="285324" y="1094491"/>
                </a:lnTo>
                <a:lnTo>
                  <a:pt x="318592" y="1170615"/>
                </a:lnTo>
                <a:lnTo>
                  <a:pt x="346786" y="1170615"/>
                </a:lnTo>
                <a:lnTo>
                  <a:pt x="363139" y="1171743"/>
                </a:lnTo>
                <a:lnTo>
                  <a:pt x="381747" y="1183584"/>
                </a:lnTo>
                <a:lnTo>
                  <a:pt x="405994" y="1181893"/>
                </a:lnTo>
                <a:close/>
                <a:moveTo>
                  <a:pt x="121798" y="8458"/>
                </a:moveTo>
                <a:lnTo>
                  <a:pt x="80071" y="0"/>
                </a:lnTo>
                <a:lnTo>
                  <a:pt x="57516" y="32141"/>
                </a:lnTo>
                <a:lnTo>
                  <a:pt x="62591" y="41164"/>
                </a:lnTo>
                <a:lnTo>
                  <a:pt x="56388" y="78379"/>
                </a:lnTo>
                <a:lnTo>
                  <a:pt x="24811" y="96424"/>
                </a:lnTo>
                <a:lnTo>
                  <a:pt x="33833" y="156195"/>
                </a:lnTo>
                <a:lnTo>
                  <a:pt x="28758" y="167472"/>
                </a:lnTo>
                <a:lnTo>
                  <a:pt x="40036" y="181569"/>
                </a:lnTo>
                <a:lnTo>
                  <a:pt x="21991" y="204125"/>
                </a:lnTo>
                <a:lnTo>
                  <a:pt x="7330" y="237394"/>
                </a:lnTo>
                <a:lnTo>
                  <a:pt x="2256" y="270099"/>
                </a:lnTo>
                <a:lnTo>
                  <a:pt x="11842" y="305059"/>
                </a:lnTo>
                <a:lnTo>
                  <a:pt x="0" y="341712"/>
                </a:lnTo>
                <a:lnTo>
                  <a:pt x="27630" y="403174"/>
                </a:lnTo>
                <a:lnTo>
                  <a:pt x="36652" y="409941"/>
                </a:lnTo>
                <a:lnTo>
                  <a:pt x="43983" y="443210"/>
                </a:lnTo>
                <a:lnTo>
                  <a:pt x="34961" y="478171"/>
                </a:lnTo>
                <a:lnTo>
                  <a:pt x="42855" y="508620"/>
                </a:lnTo>
                <a:lnTo>
                  <a:pt x="26502" y="532867"/>
                </a:lnTo>
                <a:lnTo>
                  <a:pt x="34961" y="566136"/>
                </a:lnTo>
                <a:lnTo>
                  <a:pt x="53569" y="601660"/>
                </a:lnTo>
                <a:lnTo>
                  <a:pt x="39472" y="615193"/>
                </a:lnTo>
                <a:lnTo>
                  <a:pt x="41163" y="647335"/>
                </a:lnTo>
                <a:lnTo>
                  <a:pt x="45110" y="683423"/>
                </a:lnTo>
                <a:lnTo>
                  <a:pt x="63718" y="726278"/>
                </a:lnTo>
                <a:lnTo>
                  <a:pt x="54696" y="733044"/>
                </a:lnTo>
                <a:lnTo>
                  <a:pt x="74996" y="773080"/>
                </a:lnTo>
                <a:lnTo>
                  <a:pt x="92476" y="786049"/>
                </a:lnTo>
                <a:lnTo>
                  <a:pt x="87965" y="800710"/>
                </a:lnTo>
                <a:lnTo>
                  <a:pt x="103754" y="808040"/>
                </a:lnTo>
                <a:lnTo>
                  <a:pt x="111084" y="821010"/>
                </a:lnTo>
                <a:lnTo>
                  <a:pt x="100935" y="827212"/>
                </a:lnTo>
                <a:lnTo>
                  <a:pt x="111084" y="848076"/>
                </a:lnTo>
                <a:lnTo>
                  <a:pt x="117287" y="894314"/>
                </a:lnTo>
                <a:lnTo>
                  <a:pt x="113340" y="924200"/>
                </a:lnTo>
                <a:lnTo>
                  <a:pt x="123490" y="942244"/>
                </a:lnTo>
                <a:lnTo>
                  <a:pt x="122926" y="964235"/>
                </a:lnTo>
                <a:lnTo>
                  <a:pt x="107701" y="979460"/>
                </a:lnTo>
                <a:lnTo>
                  <a:pt x="125181" y="1016676"/>
                </a:lnTo>
                <a:lnTo>
                  <a:pt x="139842" y="1029081"/>
                </a:lnTo>
                <a:lnTo>
                  <a:pt x="157323" y="1026826"/>
                </a:lnTo>
                <a:lnTo>
                  <a:pt x="167472" y="1052764"/>
                </a:lnTo>
                <a:lnTo>
                  <a:pt x="187208" y="1073064"/>
                </a:lnTo>
                <a:lnTo>
                  <a:pt x="254874" y="1077575"/>
                </a:lnTo>
                <a:lnTo>
                  <a:pt x="281940" y="1082650"/>
                </a:lnTo>
                <a:lnTo>
                  <a:pt x="294345" y="1084905"/>
                </a:lnTo>
                <a:lnTo>
                  <a:pt x="267843" y="1064606"/>
                </a:lnTo>
                <a:lnTo>
                  <a:pt x="244724" y="1029081"/>
                </a:lnTo>
                <a:lnTo>
                  <a:pt x="249799" y="1012729"/>
                </a:lnTo>
                <a:lnTo>
                  <a:pt x="269535" y="998632"/>
                </a:lnTo>
                <a:lnTo>
                  <a:pt x="272354" y="958032"/>
                </a:lnTo>
                <a:lnTo>
                  <a:pt x="298856" y="938297"/>
                </a:lnTo>
                <a:lnTo>
                  <a:pt x="297729" y="906719"/>
                </a:lnTo>
                <a:lnTo>
                  <a:pt x="268407" y="899389"/>
                </a:lnTo>
                <a:lnTo>
                  <a:pt x="232319" y="874014"/>
                </a:lnTo>
                <a:lnTo>
                  <a:pt x="231755" y="847512"/>
                </a:lnTo>
                <a:lnTo>
                  <a:pt x="248107" y="830031"/>
                </a:lnTo>
                <a:lnTo>
                  <a:pt x="274610" y="829468"/>
                </a:lnTo>
                <a:lnTo>
                  <a:pt x="275737" y="810860"/>
                </a:lnTo>
                <a:lnTo>
                  <a:pt x="268971" y="776463"/>
                </a:lnTo>
                <a:lnTo>
                  <a:pt x="285324" y="754472"/>
                </a:lnTo>
                <a:lnTo>
                  <a:pt x="308442" y="743758"/>
                </a:lnTo>
                <a:lnTo>
                  <a:pt x="294345" y="725714"/>
                </a:lnTo>
                <a:lnTo>
                  <a:pt x="281940" y="736991"/>
                </a:lnTo>
                <a:lnTo>
                  <a:pt x="259385" y="726278"/>
                </a:lnTo>
                <a:lnTo>
                  <a:pt x="245288" y="691317"/>
                </a:lnTo>
                <a:lnTo>
                  <a:pt x="253746" y="682295"/>
                </a:lnTo>
                <a:lnTo>
                  <a:pt x="285324" y="695264"/>
                </a:lnTo>
                <a:lnTo>
                  <a:pt x="313518" y="690189"/>
                </a:lnTo>
                <a:lnTo>
                  <a:pt x="327615" y="677784"/>
                </a:lnTo>
                <a:lnTo>
                  <a:pt x="317464" y="660304"/>
                </a:lnTo>
                <a:lnTo>
                  <a:pt x="316901" y="633238"/>
                </a:lnTo>
                <a:lnTo>
                  <a:pt x="305623" y="611810"/>
                </a:lnTo>
                <a:lnTo>
                  <a:pt x="338328" y="615193"/>
                </a:lnTo>
                <a:lnTo>
                  <a:pt x="395844" y="607863"/>
                </a:lnTo>
                <a:lnTo>
                  <a:pt x="434752" y="588691"/>
                </a:lnTo>
                <a:lnTo>
                  <a:pt x="453360" y="541889"/>
                </a:lnTo>
                <a:lnTo>
                  <a:pt x="451668" y="523845"/>
                </a:lnTo>
                <a:lnTo>
                  <a:pt x="429677" y="508056"/>
                </a:lnTo>
                <a:lnTo>
                  <a:pt x="429113" y="482682"/>
                </a:lnTo>
                <a:lnTo>
                  <a:pt x="385130" y="451668"/>
                </a:lnTo>
                <a:lnTo>
                  <a:pt x="383438" y="433060"/>
                </a:lnTo>
                <a:lnTo>
                  <a:pt x="381183" y="409377"/>
                </a:lnTo>
                <a:lnTo>
                  <a:pt x="386258" y="401483"/>
                </a:lnTo>
                <a:lnTo>
                  <a:pt x="380055" y="365958"/>
                </a:lnTo>
                <a:lnTo>
                  <a:pt x="381747" y="329306"/>
                </a:lnTo>
                <a:lnTo>
                  <a:pt x="384566" y="300548"/>
                </a:lnTo>
                <a:lnTo>
                  <a:pt x="417835" y="252054"/>
                </a:lnTo>
                <a:lnTo>
                  <a:pt x="447721" y="217094"/>
                </a:lnTo>
                <a:lnTo>
                  <a:pt x="466329" y="202433"/>
                </a:lnTo>
                <a:lnTo>
                  <a:pt x="490012" y="182697"/>
                </a:lnTo>
                <a:lnTo>
                  <a:pt x="487192" y="153940"/>
                </a:lnTo>
                <a:lnTo>
                  <a:pt x="469712" y="133076"/>
                </a:lnTo>
                <a:lnTo>
                  <a:pt x="455051" y="139843"/>
                </a:lnTo>
                <a:lnTo>
                  <a:pt x="453360" y="171983"/>
                </a:lnTo>
                <a:lnTo>
                  <a:pt x="429113" y="199050"/>
                </a:lnTo>
                <a:lnTo>
                  <a:pt x="405430" y="205252"/>
                </a:lnTo>
                <a:lnTo>
                  <a:pt x="370469" y="199614"/>
                </a:lnTo>
                <a:lnTo>
                  <a:pt x="338328" y="189464"/>
                </a:lnTo>
                <a:lnTo>
                  <a:pt x="362011" y="135331"/>
                </a:lnTo>
                <a:lnTo>
                  <a:pt x="355809" y="119543"/>
                </a:lnTo>
                <a:lnTo>
                  <a:pt x="322539" y="105446"/>
                </a:lnTo>
                <a:lnTo>
                  <a:pt x="281940" y="78943"/>
                </a:lnTo>
                <a:lnTo>
                  <a:pt x="256002" y="73304"/>
                </a:lnTo>
                <a:lnTo>
                  <a:pt x="192847" y="14661"/>
                </a:lnTo>
                <a:lnTo>
                  <a:pt x="187208" y="7331"/>
                </a:lnTo>
                <a:lnTo>
                  <a:pt x="151684" y="5639"/>
                </a:lnTo>
                <a:lnTo>
                  <a:pt x="142662" y="34397"/>
                </a:lnTo>
                <a:lnTo>
                  <a:pt x="121798" y="8458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Freeform: Shape 249">
            <a:extLst>
              <a:ext uri="{FF2B5EF4-FFF2-40B4-BE49-F238E27FC236}">
                <a16:creationId xmlns:a16="http://schemas.microsoft.com/office/drawing/2014/main" id="{CB91170F-76CA-455E-9F23-1A71A76CFBD9}"/>
              </a:ext>
            </a:extLst>
          </p:cNvPr>
          <p:cNvSpPr/>
          <p:nvPr/>
        </p:nvSpPr>
        <p:spPr>
          <a:xfrm>
            <a:off x="6788744" y="3015499"/>
            <a:ext cx="71634" cy="63207"/>
          </a:xfrm>
          <a:custGeom>
            <a:avLst/>
            <a:gdLst>
              <a:gd name="connsiteX0" fmla="*/ 100371 w 95859"/>
              <a:gd name="connsiteY0" fmla="*/ 88529 h 84582"/>
              <a:gd name="connsiteX1" fmla="*/ 95296 w 95859"/>
              <a:gd name="connsiteY1" fmla="*/ 63719 h 84582"/>
              <a:gd name="connsiteX2" fmla="*/ 81199 w 95859"/>
              <a:gd name="connsiteY2" fmla="*/ 57516 h 84582"/>
              <a:gd name="connsiteX3" fmla="*/ 67102 w 95859"/>
              <a:gd name="connsiteY3" fmla="*/ 47930 h 84582"/>
              <a:gd name="connsiteX4" fmla="*/ 72741 w 95859"/>
              <a:gd name="connsiteY4" fmla="*/ 36652 h 84582"/>
              <a:gd name="connsiteX5" fmla="*/ 55261 w 95859"/>
              <a:gd name="connsiteY5" fmla="*/ 24247 h 84582"/>
              <a:gd name="connsiteX6" fmla="*/ 59207 w 95859"/>
              <a:gd name="connsiteY6" fmla="*/ 15789 h 84582"/>
              <a:gd name="connsiteX7" fmla="*/ 46802 w 95859"/>
              <a:gd name="connsiteY7" fmla="*/ 9586 h 84582"/>
              <a:gd name="connsiteX8" fmla="*/ 38908 w 95859"/>
              <a:gd name="connsiteY8" fmla="*/ 0 h 84582"/>
              <a:gd name="connsiteX9" fmla="*/ 0 w 95859"/>
              <a:gd name="connsiteY9" fmla="*/ 5639 h 84582"/>
              <a:gd name="connsiteX10" fmla="*/ 7331 w 95859"/>
              <a:gd name="connsiteY10" fmla="*/ 18044 h 84582"/>
              <a:gd name="connsiteX11" fmla="*/ 7331 w 95859"/>
              <a:gd name="connsiteY11" fmla="*/ 35525 h 84582"/>
              <a:gd name="connsiteX12" fmla="*/ 31013 w 95859"/>
              <a:gd name="connsiteY12" fmla="*/ 43983 h 84582"/>
              <a:gd name="connsiteX13" fmla="*/ 44547 w 95859"/>
              <a:gd name="connsiteY13" fmla="*/ 54696 h 84582"/>
              <a:gd name="connsiteX14" fmla="*/ 50185 w 95859"/>
              <a:gd name="connsiteY14" fmla="*/ 53569 h 84582"/>
              <a:gd name="connsiteX15" fmla="*/ 60336 w 95859"/>
              <a:gd name="connsiteY15" fmla="*/ 63155 h 84582"/>
              <a:gd name="connsiteX16" fmla="*/ 73304 w 95859"/>
              <a:gd name="connsiteY16" fmla="*/ 63155 h 84582"/>
              <a:gd name="connsiteX17" fmla="*/ 74433 w 95859"/>
              <a:gd name="connsiteY17" fmla="*/ 68793 h 84582"/>
              <a:gd name="connsiteX18" fmla="*/ 90221 w 95859"/>
              <a:gd name="connsiteY18" fmla="*/ 89657 h 84582"/>
              <a:gd name="connsiteX19" fmla="*/ 100371 w 95859"/>
              <a:gd name="connsiteY19" fmla="*/ 88529 h 84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95859" h="84582">
                <a:moveTo>
                  <a:pt x="100371" y="88529"/>
                </a:moveTo>
                <a:lnTo>
                  <a:pt x="95296" y="63719"/>
                </a:lnTo>
                <a:lnTo>
                  <a:pt x="81199" y="57516"/>
                </a:lnTo>
                <a:lnTo>
                  <a:pt x="67102" y="47930"/>
                </a:lnTo>
                <a:lnTo>
                  <a:pt x="72741" y="36652"/>
                </a:lnTo>
                <a:lnTo>
                  <a:pt x="55261" y="24247"/>
                </a:lnTo>
                <a:lnTo>
                  <a:pt x="59207" y="15789"/>
                </a:lnTo>
                <a:lnTo>
                  <a:pt x="46802" y="9586"/>
                </a:lnTo>
                <a:lnTo>
                  <a:pt x="38908" y="0"/>
                </a:lnTo>
                <a:lnTo>
                  <a:pt x="0" y="5639"/>
                </a:lnTo>
                <a:lnTo>
                  <a:pt x="7331" y="18044"/>
                </a:lnTo>
                <a:lnTo>
                  <a:pt x="7331" y="35525"/>
                </a:lnTo>
                <a:lnTo>
                  <a:pt x="31013" y="43983"/>
                </a:lnTo>
                <a:lnTo>
                  <a:pt x="44547" y="54696"/>
                </a:lnTo>
                <a:lnTo>
                  <a:pt x="50185" y="53569"/>
                </a:lnTo>
                <a:lnTo>
                  <a:pt x="60336" y="63155"/>
                </a:lnTo>
                <a:lnTo>
                  <a:pt x="73304" y="63155"/>
                </a:lnTo>
                <a:lnTo>
                  <a:pt x="74433" y="68793"/>
                </a:lnTo>
                <a:lnTo>
                  <a:pt x="90221" y="89657"/>
                </a:lnTo>
                <a:lnTo>
                  <a:pt x="100371" y="88529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Freeform: Shape 250">
            <a:extLst>
              <a:ext uri="{FF2B5EF4-FFF2-40B4-BE49-F238E27FC236}">
                <a16:creationId xmlns:a16="http://schemas.microsoft.com/office/drawing/2014/main" id="{33324830-3AFE-454F-AA6C-81D059677779}"/>
              </a:ext>
            </a:extLst>
          </p:cNvPr>
          <p:cNvSpPr/>
          <p:nvPr/>
        </p:nvSpPr>
        <p:spPr>
          <a:xfrm>
            <a:off x="8419059" y="4408577"/>
            <a:ext cx="943888" cy="880682"/>
          </a:xfrm>
          <a:custGeom>
            <a:avLst/>
            <a:gdLst>
              <a:gd name="connsiteX0" fmla="*/ 781538 w 1263091"/>
              <a:gd name="connsiteY0" fmla="*/ 1082650 h 1178509"/>
              <a:gd name="connsiteX1" fmla="*/ 764621 w 1263091"/>
              <a:gd name="connsiteY1" fmla="*/ 1079830 h 1178509"/>
              <a:gd name="connsiteX2" fmla="*/ 753908 w 1263091"/>
              <a:gd name="connsiteY2" fmla="*/ 1096183 h 1178509"/>
              <a:gd name="connsiteX3" fmla="*/ 750524 w 1263091"/>
              <a:gd name="connsiteY3" fmla="*/ 1126632 h 1178509"/>
              <a:gd name="connsiteX4" fmla="*/ 738683 w 1263091"/>
              <a:gd name="connsiteY4" fmla="*/ 1149187 h 1178509"/>
              <a:gd name="connsiteX5" fmla="*/ 735863 w 1263091"/>
              <a:gd name="connsiteY5" fmla="*/ 1179073 h 1178509"/>
              <a:gd name="connsiteX6" fmla="*/ 752780 w 1263091"/>
              <a:gd name="connsiteY6" fmla="*/ 1180201 h 1178509"/>
              <a:gd name="connsiteX7" fmla="*/ 757291 w 1263091"/>
              <a:gd name="connsiteY7" fmla="*/ 1181892 h 1178509"/>
              <a:gd name="connsiteX8" fmla="*/ 794507 w 1263091"/>
              <a:gd name="connsiteY8" fmla="*/ 1157646 h 1178509"/>
              <a:gd name="connsiteX9" fmla="*/ 797890 w 1263091"/>
              <a:gd name="connsiteY9" fmla="*/ 1167232 h 1178509"/>
              <a:gd name="connsiteX10" fmla="*/ 820445 w 1263091"/>
              <a:gd name="connsiteY10" fmla="*/ 1139601 h 1178509"/>
              <a:gd name="connsiteX11" fmla="*/ 838490 w 1263091"/>
              <a:gd name="connsiteY11" fmla="*/ 1127196 h 1178509"/>
              <a:gd name="connsiteX12" fmla="*/ 863865 w 1263091"/>
              <a:gd name="connsiteY12" fmla="*/ 1086033 h 1178509"/>
              <a:gd name="connsiteX13" fmla="*/ 848076 w 1263091"/>
              <a:gd name="connsiteY13" fmla="*/ 1083213 h 1178509"/>
              <a:gd name="connsiteX14" fmla="*/ 821009 w 1263091"/>
              <a:gd name="connsiteY14" fmla="*/ 1089980 h 1178509"/>
              <a:gd name="connsiteX15" fmla="*/ 801838 w 1263091"/>
              <a:gd name="connsiteY15" fmla="*/ 1095055 h 1178509"/>
              <a:gd name="connsiteX16" fmla="*/ 781538 w 1263091"/>
              <a:gd name="connsiteY16" fmla="*/ 1082650 h 1178509"/>
              <a:gd name="connsiteX17" fmla="*/ 1064042 w 1263091"/>
              <a:gd name="connsiteY17" fmla="*/ 111084 h 1178509"/>
              <a:gd name="connsiteX18" fmla="*/ 1066861 w 1263091"/>
              <a:gd name="connsiteY18" fmla="*/ 98115 h 1178509"/>
              <a:gd name="connsiteX19" fmla="*/ 1067425 w 1263091"/>
              <a:gd name="connsiteY19" fmla="*/ 77815 h 1178509"/>
              <a:gd name="connsiteX20" fmla="*/ 1058403 w 1263091"/>
              <a:gd name="connsiteY20" fmla="*/ 59771 h 1178509"/>
              <a:gd name="connsiteX21" fmla="*/ 1058967 w 1263091"/>
              <a:gd name="connsiteY21" fmla="*/ 44547 h 1178509"/>
              <a:gd name="connsiteX22" fmla="*/ 1051636 w 1263091"/>
              <a:gd name="connsiteY22" fmla="*/ 40035 h 1178509"/>
              <a:gd name="connsiteX23" fmla="*/ 1052200 w 1263091"/>
              <a:gd name="connsiteY23" fmla="*/ 18044 h 1178509"/>
              <a:gd name="connsiteX24" fmla="*/ 1045434 w 1263091"/>
              <a:gd name="connsiteY24" fmla="*/ 0 h 1178509"/>
              <a:gd name="connsiteX25" fmla="*/ 1032464 w 1263091"/>
              <a:gd name="connsiteY25" fmla="*/ 13533 h 1178509"/>
              <a:gd name="connsiteX26" fmla="*/ 1030209 w 1263091"/>
              <a:gd name="connsiteY26" fmla="*/ 23683 h 1178509"/>
              <a:gd name="connsiteX27" fmla="*/ 1021751 w 1263091"/>
              <a:gd name="connsiteY27" fmla="*/ 43419 h 1178509"/>
              <a:gd name="connsiteX28" fmla="*/ 1011601 w 1263091"/>
              <a:gd name="connsiteY28" fmla="*/ 62591 h 1178509"/>
              <a:gd name="connsiteX29" fmla="*/ 1014984 w 1263091"/>
              <a:gd name="connsiteY29" fmla="*/ 74432 h 1178509"/>
              <a:gd name="connsiteX30" fmla="*/ 1008218 w 1263091"/>
              <a:gd name="connsiteY30" fmla="*/ 81763 h 1178509"/>
              <a:gd name="connsiteX31" fmla="*/ 999760 w 1263091"/>
              <a:gd name="connsiteY31" fmla="*/ 108829 h 1178509"/>
              <a:gd name="connsiteX32" fmla="*/ 1000323 w 1263091"/>
              <a:gd name="connsiteY32" fmla="*/ 129692 h 1178509"/>
              <a:gd name="connsiteX33" fmla="*/ 996376 w 1263091"/>
              <a:gd name="connsiteY33" fmla="*/ 139842 h 1178509"/>
              <a:gd name="connsiteX34" fmla="*/ 998068 w 1263091"/>
              <a:gd name="connsiteY34" fmla="*/ 157323 h 1178509"/>
              <a:gd name="connsiteX35" fmla="*/ 983407 w 1263091"/>
              <a:gd name="connsiteY35" fmla="*/ 185517 h 1178509"/>
              <a:gd name="connsiteX36" fmla="*/ 976076 w 1263091"/>
              <a:gd name="connsiteY36" fmla="*/ 205252 h 1178509"/>
              <a:gd name="connsiteX37" fmla="*/ 966490 w 1263091"/>
              <a:gd name="connsiteY37" fmla="*/ 221605 h 1178509"/>
              <a:gd name="connsiteX38" fmla="*/ 956905 w 1263091"/>
              <a:gd name="connsiteY38" fmla="*/ 240777 h 1178509"/>
              <a:gd name="connsiteX39" fmla="*/ 933785 w 1263091"/>
              <a:gd name="connsiteY39" fmla="*/ 252618 h 1178509"/>
              <a:gd name="connsiteX40" fmla="*/ 906156 w 1263091"/>
              <a:gd name="connsiteY40" fmla="*/ 240777 h 1178509"/>
              <a:gd name="connsiteX41" fmla="*/ 903336 w 1263091"/>
              <a:gd name="connsiteY41" fmla="*/ 229499 h 1178509"/>
              <a:gd name="connsiteX42" fmla="*/ 889239 w 1263091"/>
              <a:gd name="connsiteY42" fmla="*/ 220477 h 1178509"/>
              <a:gd name="connsiteX43" fmla="*/ 880217 w 1263091"/>
              <a:gd name="connsiteY43" fmla="*/ 220477 h 1178509"/>
              <a:gd name="connsiteX44" fmla="*/ 861609 w 1263091"/>
              <a:gd name="connsiteY44" fmla="*/ 199050 h 1178509"/>
              <a:gd name="connsiteX45" fmla="*/ 847512 w 1263091"/>
              <a:gd name="connsiteY45" fmla="*/ 186644 h 1178509"/>
              <a:gd name="connsiteX46" fmla="*/ 825520 w 1263091"/>
              <a:gd name="connsiteY46" fmla="*/ 175367 h 1178509"/>
              <a:gd name="connsiteX47" fmla="*/ 803529 w 1263091"/>
              <a:gd name="connsiteY47" fmla="*/ 155631 h 1178509"/>
              <a:gd name="connsiteX48" fmla="*/ 802965 w 1263091"/>
              <a:gd name="connsiteY48" fmla="*/ 145481 h 1178509"/>
              <a:gd name="connsiteX49" fmla="*/ 817062 w 1263091"/>
              <a:gd name="connsiteY49" fmla="*/ 128001 h 1178509"/>
              <a:gd name="connsiteX50" fmla="*/ 828904 w 1263091"/>
              <a:gd name="connsiteY50" fmla="*/ 109957 h 1178509"/>
              <a:gd name="connsiteX51" fmla="*/ 827212 w 1263091"/>
              <a:gd name="connsiteY51" fmla="*/ 95296 h 1178509"/>
              <a:gd name="connsiteX52" fmla="*/ 837926 w 1263091"/>
              <a:gd name="connsiteY52" fmla="*/ 94168 h 1178509"/>
              <a:gd name="connsiteX53" fmla="*/ 852023 w 1263091"/>
              <a:gd name="connsiteY53" fmla="*/ 80071 h 1178509"/>
              <a:gd name="connsiteX54" fmla="*/ 863300 w 1263091"/>
              <a:gd name="connsiteY54" fmla="*/ 60899 h 1178509"/>
              <a:gd name="connsiteX55" fmla="*/ 850895 w 1263091"/>
              <a:gd name="connsiteY55" fmla="*/ 42855 h 1178509"/>
              <a:gd name="connsiteX56" fmla="*/ 842437 w 1263091"/>
              <a:gd name="connsiteY56" fmla="*/ 49621 h 1178509"/>
              <a:gd name="connsiteX57" fmla="*/ 831159 w 1263091"/>
              <a:gd name="connsiteY57" fmla="*/ 46802 h 1178509"/>
              <a:gd name="connsiteX58" fmla="*/ 811423 w 1263091"/>
              <a:gd name="connsiteY58" fmla="*/ 56952 h 1178509"/>
              <a:gd name="connsiteX59" fmla="*/ 793380 w 1263091"/>
              <a:gd name="connsiteY59" fmla="*/ 45674 h 1178509"/>
              <a:gd name="connsiteX60" fmla="*/ 783793 w 1263091"/>
              <a:gd name="connsiteY60" fmla="*/ 49621 h 1178509"/>
              <a:gd name="connsiteX61" fmla="*/ 758419 w 1263091"/>
              <a:gd name="connsiteY61" fmla="*/ 40599 h 1178509"/>
              <a:gd name="connsiteX62" fmla="*/ 743194 w 1263091"/>
              <a:gd name="connsiteY62" fmla="*/ 25375 h 1178509"/>
              <a:gd name="connsiteX63" fmla="*/ 723458 w 1263091"/>
              <a:gd name="connsiteY63" fmla="*/ 16916 h 1178509"/>
              <a:gd name="connsiteX64" fmla="*/ 705978 w 1263091"/>
              <a:gd name="connsiteY64" fmla="*/ 21991 h 1178509"/>
              <a:gd name="connsiteX65" fmla="*/ 727969 w 1263091"/>
              <a:gd name="connsiteY65" fmla="*/ 33833 h 1178509"/>
              <a:gd name="connsiteX66" fmla="*/ 726278 w 1263091"/>
              <a:gd name="connsiteY66" fmla="*/ 51877 h 1178509"/>
              <a:gd name="connsiteX67" fmla="*/ 699211 w 1263091"/>
              <a:gd name="connsiteY67" fmla="*/ 58644 h 1178509"/>
              <a:gd name="connsiteX68" fmla="*/ 683423 w 1263091"/>
              <a:gd name="connsiteY68" fmla="*/ 54696 h 1178509"/>
              <a:gd name="connsiteX69" fmla="*/ 663123 w 1263091"/>
              <a:gd name="connsiteY69" fmla="*/ 67102 h 1178509"/>
              <a:gd name="connsiteX70" fmla="*/ 646771 w 1263091"/>
              <a:gd name="connsiteY70" fmla="*/ 87965 h 1178509"/>
              <a:gd name="connsiteX71" fmla="*/ 650154 w 1263091"/>
              <a:gd name="connsiteY71" fmla="*/ 96423 h 1178509"/>
              <a:gd name="connsiteX72" fmla="*/ 634929 w 1263091"/>
              <a:gd name="connsiteY72" fmla="*/ 106009 h 1178509"/>
              <a:gd name="connsiteX73" fmla="*/ 615757 w 1263091"/>
              <a:gd name="connsiteY73" fmla="*/ 134767 h 1178509"/>
              <a:gd name="connsiteX74" fmla="*/ 619141 w 1263091"/>
              <a:gd name="connsiteY74" fmla="*/ 154503 h 1178509"/>
              <a:gd name="connsiteX75" fmla="*/ 599968 w 1263091"/>
              <a:gd name="connsiteY75" fmla="*/ 151120 h 1178509"/>
              <a:gd name="connsiteX76" fmla="*/ 580233 w 1263091"/>
              <a:gd name="connsiteY76" fmla="*/ 151120 h 1178509"/>
              <a:gd name="connsiteX77" fmla="*/ 566136 w 1263091"/>
              <a:gd name="connsiteY77" fmla="*/ 129692 h 1178509"/>
              <a:gd name="connsiteX78" fmla="*/ 545272 w 1263091"/>
              <a:gd name="connsiteY78" fmla="*/ 113340 h 1178509"/>
              <a:gd name="connsiteX79" fmla="*/ 529483 w 1263091"/>
              <a:gd name="connsiteY79" fmla="*/ 117851 h 1178509"/>
              <a:gd name="connsiteX80" fmla="*/ 514823 w 1263091"/>
              <a:gd name="connsiteY80" fmla="*/ 122926 h 1178509"/>
              <a:gd name="connsiteX81" fmla="*/ 513131 w 1263091"/>
              <a:gd name="connsiteY81" fmla="*/ 131948 h 1178509"/>
              <a:gd name="connsiteX82" fmla="*/ 499598 w 1263091"/>
              <a:gd name="connsiteY82" fmla="*/ 128001 h 1178509"/>
              <a:gd name="connsiteX83" fmla="*/ 497906 w 1263091"/>
              <a:gd name="connsiteY83" fmla="*/ 138151 h 1178509"/>
              <a:gd name="connsiteX84" fmla="*/ 480990 w 1263091"/>
              <a:gd name="connsiteY84" fmla="*/ 144353 h 1178509"/>
              <a:gd name="connsiteX85" fmla="*/ 471404 w 1263091"/>
              <a:gd name="connsiteY85" fmla="*/ 158450 h 1178509"/>
              <a:gd name="connsiteX86" fmla="*/ 451668 w 1263091"/>
              <a:gd name="connsiteY86" fmla="*/ 175931 h 1178509"/>
              <a:gd name="connsiteX87" fmla="*/ 443774 w 1263091"/>
              <a:gd name="connsiteY87" fmla="*/ 202997 h 1178509"/>
              <a:gd name="connsiteX88" fmla="*/ 430804 w 1263091"/>
              <a:gd name="connsiteY88" fmla="*/ 195666 h 1178509"/>
              <a:gd name="connsiteX89" fmla="*/ 418399 w 1263091"/>
              <a:gd name="connsiteY89" fmla="*/ 213147 h 1178509"/>
              <a:gd name="connsiteX90" fmla="*/ 426858 w 1263091"/>
              <a:gd name="connsiteY90" fmla="*/ 230063 h 1178509"/>
              <a:gd name="connsiteX91" fmla="*/ 412196 w 1263091"/>
              <a:gd name="connsiteY91" fmla="*/ 236830 h 1178509"/>
              <a:gd name="connsiteX92" fmla="*/ 404302 w 1263091"/>
              <a:gd name="connsiteY92" fmla="*/ 205816 h 1178509"/>
              <a:gd name="connsiteX93" fmla="*/ 377236 w 1263091"/>
              <a:gd name="connsiteY93" fmla="*/ 236266 h 1178509"/>
              <a:gd name="connsiteX94" fmla="*/ 372725 w 1263091"/>
              <a:gd name="connsiteY94" fmla="*/ 256002 h 1178509"/>
              <a:gd name="connsiteX95" fmla="*/ 368778 w 1263091"/>
              <a:gd name="connsiteY95" fmla="*/ 270099 h 1178509"/>
              <a:gd name="connsiteX96" fmla="*/ 347350 w 1263091"/>
              <a:gd name="connsiteY96" fmla="*/ 288707 h 1178509"/>
              <a:gd name="connsiteX97" fmla="*/ 336072 w 1263091"/>
              <a:gd name="connsiteY97" fmla="*/ 307878 h 1178509"/>
              <a:gd name="connsiteX98" fmla="*/ 316337 w 1263091"/>
              <a:gd name="connsiteY98" fmla="*/ 323667 h 1178509"/>
              <a:gd name="connsiteX99" fmla="*/ 281940 w 1263091"/>
              <a:gd name="connsiteY99" fmla="*/ 334381 h 1178509"/>
              <a:gd name="connsiteX100" fmla="*/ 264460 w 1263091"/>
              <a:gd name="connsiteY100" fmla="*/ 333253 h 1178509"/>
              <a:gd name="connsiteX101" fmla="*/ 256002 w 1263091"/>
              <a:gd name="connsiteY101" fmla="*/ 336636 h 1178509"/>
              <a:gd name="connsiteX102" fmla="*/ 249799 w 1263091"/>
              <a:gd name="connsiteY102" fmla="*/ 344531 h 1178509"/>
              <a:gd name="connsiteX103" fmla="*/ 230063 w 1263091"/>
              <a:gd name="connsiteY103" fmla="*/ 348478 h 1178509"/>
              <a:gd name="connsiteX104" fmla="*/ 203561 w 1263091"/>
              <a:gd name="connsiteY104" fmla="*/ 362011 h 1178509"/>
              <a:gd name="connsiteX105" fmla="*/ 195667 w 1263091"/>
              <a:gd name="connsiteY105" fmla="*/ 357500 h 1178509"/>
              <a:gd name="connsiteX106" fmla="*/ 181005 w 1263091"/>
              <a:gd name="connsiteY106" fmla="*/ 360319 h 1178509"/>
              <a:gd name="connsiteX107" fmla="*/ 155067 w 1263091"/>
              <a:gd name="connsiteY107" fmla="*/ 373289 h 1178509"/>
              <a:gd name="connsiteX108" fmla="*/ 137023 w 1263091"/>
              <a:gd name="connsiteY108" fmla="*/ 388513 h 1178509"/>
              <a:gd name="connsiteX109" fmla="*/ 109957 w 1263091"/>
              <a:gd name="connsiteY109" fmla="*/ 400355 h 1178509"/>
              <a:gd name="connsiteX110" fmla="*/ 92476 w 1263091"/>
              <a:gd name="connsiteY110" fmla="*/ 425166 h 1178509"/>
              <a:gd name="connsiteX111" fmla="*/ 94732 w 1263091"/>
              <a:gd name="connsiteY111" fmla="*/ 398099 h 1178509"/>
              <a:gd name="connsiteX112" fmla="*/ 77252 w 1263091"/>
              <a:gd name="connsiteY112" fmla="*/ 424038 h 1178509"/>
              <a:gd name="connsiteX113" fmla="*/ 76688 w 1263091"/>
              <a:gd name="connsiteY113" fmla="*/ 444901 h 1178509"/>
              <a:gd name="connsiteX114" fmla="*/ 69358 w 1263091"/>
              <a:gd name="connsiteY114" fmla="*/ 462945 h 1178509"/>
              <a:gd name="connsiteX115" fmla="*/ 60899 w 1263091"/>
              <a:gd name="connsiteY115" fmla="*/ 471404 h 1178509"/>
              <a:gd name="connsiteX116" fmla="*/ 53569 w 1263091"/>
              <a:gd name="connsiteY116" fmla="*/ 492267 h 1178509"/>
              <a:gd name="connsiteX117" fmla="*/ 58644 w 1263091"/>
              <a:gd name="connsiteY117" fmla="*/ 502981 h 1178509"/>
              <a:gd name="connsiteX118" fmla="*/ 59207 w 1263091"/>
              <a:gd name="connsiteY118" fmla="*/ 514259 h 1178509"/>
              <a:gd name="connsiteX119" fmla="*/ 68229 w 1263091"/>
              <a:gd name="connsiteY119" fmla="*/ 542453 h 1178509"/>
              <a:gd name="connsiteX120" fmla="*/ 64282 w 1263091"/>
              <a:gd name="connsiteY120" fmla="*/ 561061 h 1178509"/>
              <a:gd name="connsiteX121" fmla="*/ 58644 w 1263091"/>
              <a:gd name="connsiteY121" fmla="*/ 546964 h 1178509"/>
              <a:gd name="connsiteX122" fmla="*/ 45674 w 1263091"/>
              <a:gd name="connsiteY122" fmla="*/ 536814 h 1178509"/>
              <a:gd name="connsiteX123" fmla="*/ 47930 w 1263091"/>
              <a:gd name="connsiteY123" fmla="*/ 570083 h 1178509"/>
              <a:gd name="connsiteX124" fmla="*/ 38344 w 1263091"/>
              <a:gd name="connsiteY124" fmla="*/ 554294 h 1178509"/>
              <a:gd name="connsiteX125" fmla="*/ 38908 w 1263091"/>
              <a:gd name="connsiteY125" fmla="*/ 570083 h 1178509"/>
              <a:gd name="connsiteX126" fmla="*/ 49058 w 1263091"/>
              <a:gd name="connsiteY126" fmla="*/ 598277 h 1178509"/>
              <a:gd name="connsiteX127" fmla="*/ 45674 w 1263091"/>
              <a:gd name="connsiteY127" fmla="*/ 626471 h 1178509"/>
              <a:gd name="connsiteX128" fmla="*/ 55261 w 1263091"/>
              <a:gd name="connsiteY128" fmla="*/ 640568 h 1178509"/>
              <a:gd name="connsiteX129" fmla="*/ 53005 w 1263091"/>
              <a:gd name="connsiteY129" fmla="*/ 651281 h 1178509"/>
              <a:gd name="connsiteX130" fmla="*/ 58080 w 1263091"/>
              <a:gd name="connsiteY130" fmla="*/ 674400 h 1178509"/>
              <a:gd name="connsiteX131" fmla="*/ 50749 w 1263091"/>
              <a:gd name="connsiteY131" fmla="*/ 694700 h 1178509"/>
              <a:gd name="connsiteX132" fmla="*/ 49058 w 1263091"/>
              <a:gd name="connsiteY132" fmla="*/ 715000 h 1178509"/>
              <a:gd name="connsiteX133" fmla="*/ 53005 w 1263091"/>
              <a:gd name="connsiteY133" fmla="*/ 751652 h 1178509"/>
              <a:gd name="connsiteX134" fmla="*/ 49058 w 1263091"/>
              <a:gd name="connsiteY134" fmla="*/ 772516 h 1178509"/>
              <a:gd name="connsiteX135" fmla="*/ 36652 w 1263091"/>
              <a:gd name="connsiteY135" fmla="*/ 797327 h 1178509"/>
              <a:gd name="connsiteX136" fmla="*/ 33269 w 1263091"/>
              <a:gd name="connsiteY136" fmla="*/ 810296 h 1178509"/>
              <a:gd name="connsiteX137" fmla="*/ 24811 w 1263091"/>
              <a:gd name="connsiteY137" fmla="*/ 818754 h 1178509"/>
              <a:gd name="connsiteX138" fmla="*/ 8458 w 1263091"/>
              <a:gd name="connsiteY138" fmla="*/ 823265 h 1178509"/>
              <a:gd name="connsiteX139" fmla="*/ 0 w 1263091"/>
              <a:gd name="connsiteY139" fmla="*/ 844128 h 1178509"/>
              <a:gd name="connsiteX140" fmla="*/ 13533 w 1263091"/>
              <a:gd name="connsiteY140" fmla="*/ 850895 h 1178509"/>
              <a:gd name="connsiteX141" fmla="*/ 36088 w 1263091"/>
              <a:gd name="connsiteY141" fmla="*/ 874014 h 1178509"/>
              <a:gd name="connsiteX142" fmla="*/ 56388 w 1263091"/>
              <a:gd name="connsiteY142" fmla="*/ 874014 h 1178509"/>
              <a:gd name="connsiteX143" fmla="*/ 77816 w 1263091"/>
              <a:gd name="connsiteY143" fmla="*/ 875706 h 1178509"/>
              <a:gd name="connsiteX144" fmla="*/ 96423 w 1263091"/>
              <a:gd name="connsiteY144" fmla="*/ 863864 h 1178509"/>
              <a:gd name="connsiteX145" fmla="*/ 115595 w 1263091"/>
              <a:gd name="connsiteY145" fmla="*/ 853715 h 1178509"/>
              <a:gd name="connsiteX146" fmla="*/ 123490 w 1263091"/>
              <a:gd name="connsiteY146" fmla="*/ 855406 h 1178509"/>
              <a:gd name="connsiteX147" fmla="*/ 148864 w 1263091"/>
              <a:gd name="connsiteY147" fmla="*/ 836234 h 1178509"/>
              <a:gd name="connsiteX148" fmla="*/ 170292 w 1263091"/>
              <a:gd name="connsiteY148" fmla="*/ 834542 h 1178509"/>
              <a:gd name="connsiteX149" fmla="*/ 193411 w 1263091"/>
              <a:gd name="connsiteY149" fmla="*/ 830595 h 1178509"/>
              <a:gd name="connsiteX150" fmla="*/ 217094 w 1263091"/>
              <a:gd name="connsiteY150" fmla="*/ 837362 h 1178509"/>
              <a:gd name="connsiteX151" fmla="*/ 237393 w 1263091"/>
              <a:gd name="connsiteY151" fmla="*/ 833979 h 1178509"/>
              <a:gd name="connsiteX152" fmla="*/ 263332 w 1263091"/>
              <a:gd name="connsiteY152" fmla="*/ 832851 h 1178509"/>
              <a:gd name="connsiteX153" fmla="*/ 280249 w 1263091"/>
              <a:gd name="connsiteY153" fmla="*/ 818190 h 1178509"/>
              <a:gd name="connsiteX154" fmla="*/ 293218 w 1263091"/>
              <a:gd name="connsiteY154" fmla="*/ 799582 h 1178509"/>
              <a:gd name="connsiteX155" fmla="*/ 322540 w 1263091"/>
              <a:gd name="connsiteY155" fmla="*/ 791124 h 1178509"/>
              <a:gd name="connsiteX156" fmla="*/ 361447 w 1263091"/>
              <a:gd name="connsiteY156" fmla="*/ 773079 h 1178509"/>
              <a:gd name="connsiteX157" fmla="*/ 389641 w 1263091"/>
              <a:gd name="connsiteY157" fmla="*/ 775335 h 1178509"/>
              <a:gd name="connsiteX158" fmla="*/ 428549 w 1263091"/>
              <a:gd name="connsiteY158" fmla="*/ 763494 h 1178509"/>
              <a:gd name="connsiteX159" fmla="*/ 472532 w 1263091"/>
              <a:gd name="connsiteY159" fmla="*/ 750524 h 1178509"/>
              <a:gd name="connsiteX160" fmla="*/ 527792 w 1263091"/>
              <a:gd name="connsiteY160" fmla="*/ 747141 h 1178509"/>
              <a:gd name="connsiteX161" fmla="*/ 550347 w 1263091"/>
              <a:gd name="connsiteY161" fmla="*/ 764621 h 1178509"/>
              <a:gd name="connsiteX162" fmla="*/ 571211 w 1263091"/>
              <a:gd name="connsiteY162" fmla="*/ 765749 h 1178509"/>
              <a:gd name="connsiteX163" fmla="*/ 601096 w 1263091"/>
              <a:gd name="connsiteY163" fmla="*/ 787176 h 1178509"/>
              <a:gd name="connsiteX164" fmla="*/ 592074 w 1263091"/>
              <a:gd name="connsiteY164" fmla="*/ 795635 h 1178509"/>
              <a:gd name="connsiteX165" fmla="*/ 602224 w 1263091"/>
              <a:gd name="connsiteY165" fmla="*/ 809168 h 1178509"/>
              <a:gd name="connsiteX166" fmla="*/ 609554 w 1263091"/>
              <a:gd name="connsiteY166" fmla="*/ 835106 h 1178509"/>
              <a:gd name="connsiteX167" fmla="*/ 600532 w 1263091"/>
              <a:gd name="connsiteY167" fmla="*/ 854278 h 1178509"/>
              <a:gd name="connsiteX168" fmla="*/ 616885 w 1263091"/>
              <a:gd name="connsiteY168" fmla="*/ 868939 h 1178509"/>
              <a:gd name="connsiteX169" fmla="*/ 641132 w 1263091"/>
              <a:gd name="connsiteY169" fmla="*/ 840181 h 1178509"/>
              <a:gd name="connsiteX170" fmla="*/ 665378 w 1263091"/>
              <a:gd name="connsiteY170" fmla="*/ 828340 h 1178509"/>
              <a:gd name="connsiteX171" fmla="*/ 703159 w 1263091"/>
              <a:gd name="connsiteY171" fmla="*/ 797327 h 1178509"/>
              <a:gd name="connsiteX172" fmla="*/ 694136 w 1263091"/>
              <a:gd name="connsiteY172" fmla="*/ 823829 h 1178509"/>
              <a:gd name="connsiteX173" fmla="*/ 674965 w 1263091"/>
              <a:gd name="connsiteY173" fmla="*/ 841873 h 1178509"/>
              <a:gd name="connsiteX174" fmla="*/ 660868 w 1263091"/>
              <a:gd name="connsiteY174" fmla="*/ 862736 h 1178509"/>
              <a:gd name="connsiteX175" fmla="*/ 636057 w 1263091"/>
              <a:gd name="connsiteY175" fmla="*/ 882472 h 1178509"/>
              <a:gd name="connsiteX176" fmla="*/ 665378 w 1263091"/>
              <a:gd name="connsiteY176" fmla="*/ 875706 h 1178509"/>
              <a:gd name="connsiteX177" fmla="*/ 691881 w 1263091"/>
              <a:gd name="connsiteY177" fmla="*/ 850895 h 1178509"/>
              <a:gd name="connsiteX178" fmla="*/ 686806 w 1263091"/>
              <a:gd name="connsiteY178" fmla="*/ 877961 h 1178509"/>
              <a:gd name="connsiteX179" fmla="*/ 668762 w 1263091"/>
              <a:gd name="connsiteY179" fmla="*/ 895441 h 1178509"/>
              <a:gd name="connsiteX180" fmla="*/ 695264 w 1263091"/>
              <a:gd name="connsiteY180" fmla="*/ 899952 h 1178509"/>
              <a:gd name="connsiteX181" fmla="*/ 702594 w 1263091"/>
              <a:gd name="connsiteY181" fmla="*/ 914613 h 1178509"/>
              <a:gd name="connsiteX182" fmla="*/ 700339 w 1263091"/>
              <a:gd name="connsiteY182" fmla="*/ 933221 h 1178509"/>
              <a:gd name="connsiteX183" fmla="*/ 691881 w 1263091"/>
              <a:gd name="connsiteY183" fmla="*/ 960852 h 1178509"/>
              <a:gd name="connsiteX184" fmla="*/ 699775 w 1263091"/>
              <a:gd name="connsiteY184" fmla="*/ 983407 h 1178509"/>
              <a:gd name="connsiteX185" fmla="*/ 722330 w 1263091"/>
              <a:gd name="connsiteY185" fmla="*/ 994120 h 1178509"/>
              <a:gd name="connsiteX186" fmla="*/ 738119 w 1263091"/>
              <a:gd name="connsiteY186" fmla="*/ 996376 h 1178509"/>
              <a:gd name="connsiteX187" fmla="*/ 751652 w 1263091"/>
              <a:gd name="connsiteY187" fmla="*/ 1002015 h 1178509"/>
              <a:gd name="connsiteX188" fmla="*/ 771388 w 1263091"/>
              <a:gd name="connsiteY188" fmla="*/ 1012165 h 1178509"/>
              <a:gd name="connsiteX189" fmla="*/ 811987 w 1263091"/>
              <a:gd name="connsiteY189" fmla="*/ 985662 h 1178509"/>
              <a:gd name="connsiteX190" fmla="*/ 831723 w 1263091"/>
              <a:gd name="connsiteY190" fmla="*/ 978896 h 1178509"/>
              <a:gd name="connsiteX191" fmla="*/ 816499 w 1263091"/>
              <a:gd name="connsiteY191" fmla="*/ 998068 h 1178509"/>
              <a:gd name="connsiteX192" fmla="*/ 831159 w 1263091"/>
              <a:gd name="connsiteY192" fmla="*/ 1004270 h 1178509"/>
              <a:gd name="connsiteX193" fmla="*/ 846384 w 1263091"/>
              <a:gd name="connsiteY193" fmla="*/ 1020059 h 1178509"/>
              <a:gd name="connsiteX194" fmla="*/ 872887 w 1263091"/>
              <a:gd name="connsiteY194" fmla="*/ 1004834 h 1178509"/>
              <a:gd name="connsiteX195" fmla="*/ 894314 w 1263091"/>
              <a:gd name="connsiteY195" fmla="*/ 990737 h 1178509"/>
              <a:gd name="connsiteX196" fmla="*/ 929838 w 1263091"/>
              <a:gd name="connsiteY196" fmla="*/ 975512 h 1178509"/>
              <a:gd name="connsiteX197" fmla="*/ 963671 w 1263091"/>
              <a:gd name="connsiteY197" fmla="*/ 974385 h 1178509"/>
              <a:gd name="connsiteX198" fmla="*/ 987354 w 1263091"/>
              <a:gd name="connsiteY198" fmla="*/ 961415 h 1178509"/>
              <a:gd name="connsiteX199" fmla="*/ 992429 w 1263091"/>
              <a:gd name="connsiteY199" fmla="*/ 950138 h 1178509"/>
              <a:gd name="connsiteX200" fmla="*/ 1009345 w 1263091"/>
              <a:gd name="connsiteY200" fmla="*/ 924763 h 1178509"/>
              <a:gd name="connsiteX201" fmla="*/ 1031337 w 1263091"/>
              <a:gd name="connsiteY201" fmla="*/ 897697 h 1178509"/>
              <a:gd name="connsiteX202" fmla="*/ 1051636 w 1263091"/>
              <a:gd name="connsiteY202" fmla="*/ 879653 h 1178509"/>
              <a:gd name="connsiteX203" fmla="*/ 1076447 w 1263091"/>
              <a:gd name="connsiteY203" fmla="*/ 848076 h 1178509"/>
              <a:gd name="connsiteX204" fmla="*/ 1095055 w 1263091"/>
              <a:gd name="connsiteY204" fmla="*/ 830595 h 1178509"/>
              <a:gd name="connsiteX205" fmla="*/ 1119866 w 1263091"/>
              <a:gd name="connsiteY205" fmla="*/ 802401 h 1178509"/>
              <a:gd name="connsiteX206" fmla="*/ 1150315 w 1263091"/>
              <a:gd name="connsiteY206" fmla="*/ 784921 h 1178509"/>
              <a:gd name="connsiteX207" fmla="*/ 1178509 w 1263091"/>
              <a:gd name="connsiteY207" fmla="*/ 752216 h 1178509"/>
              <a:gd name="connsiteX208" fmla="*/ 1195989 w 1263091"/>
              <a:gd name="connsiteY208" fmla="*/ 726842 h 1178509"/>
              <a:gd name="connsiteX209" fmla="*/ 1203884 w 1263091"/>
              <a:gd name="connsiteY209" fmla="*/ 706542 h 1178509"/>
              <a:gd name="connsiteX210" fmla="*/ 1225312 w 1263091"/>
              <a:gd name="connsiteY210" fmla="*/ 674400 h 1178509"/>
              <a:gd name="connsiteX211" fmla="*/ 1237153 w 1263091"/>
              <a:gd name="connsiteY211" fmla="*/ 658048 h 1178509"/>
              <a:gd name="connsiteX212" fmla="*/ 1251250 w 1263091"/>
              <a:gd name="connsiteY212" fmla="*/ 625907 h 1178509"/>
              <a:gd name="connsiteX213" fmla="*/ 1247303 w 1263091"/>
              <a:gd name="connsiteY213" fmla="*/ 595457 h 1178509"/>
              <a:gd name="connsiteX214" fmla="*/ 1256889 w 1263091"/>
              <a:gd name="connsiteY214" fmla="*/ 573466 h 1178509"/>
              <a:gd name="connsiteX215" fmla="*/ 1263091 w 1263091"/>
              <a:gd name="connsiteY215" fmla="*/ 552602 h 1178509"/>
              <a:gd name="connsiteX216" fmla="*/ 1263091 w 1263091"/>
              <a:gd name="connsiteY216" fmla="*/ 523845 h 1178509"/>
              <a:gd name="connsiteX217" fmla="*/ 1247303 w 1263091"/>
              <a:gd name="connsiteY217" fmla="*/ 495087 h 1178509"/>
              <a:gd name="connsiteX218" fmla="*/ 1236589 w 1263091"/>
              <a:gd name="connsiteY218" fmla="*/ 480990 h 1178509"/>
              <a:gd name="connsiteX219" fmla="*/ 1220237 w 1263091"/>
              <a:gd name="connsiteY219" fmla="*/ 458998 h 1178509"/>
              <a:gd name="connsiteX220" fmla="*/ 1224183 w 1263091"/>
              <a:gd name="connsiteY220" fmla="*/ 421218 h 1178509"/>
              <a:gd name="connsiteX221" fmla="*/ 1215725 w 1263091"/>
              <a:gd name="connsiteY221" fmla="*/ 426857 h 1178509"/>
              <a:gd name="connsiteX222" fmla="*/ 1206703 w 1263091"/>
              <a:gd name="connsiteY222" fmla="*/ 411069 h 1178509"/>
              <a:gd name="connsiteX223" fmla="*/ 1192606 w 1263091"/>
              <a:gd name="connsiteY223" fmla="*/ 418963 h 1178509"/>
              <a:gd name="connsiteX224" fmla="*/ 1189223 w 1263091"/>
              <a:gd name="connsiteY224" fmla="*/ 380055 h 1178509"/>
              <a:gd name="connsiteX225" fmla="*/ 1176818 w 1263091"/>
              <a:gd name="connsiteY225" fmla="*/ 357500 h 1178509"/>
              <a:gd name="connsiteX226" fmla="*/ 1182457 w 1263091"/>
              <a:gd name="connsiteY226" fmla="*/ 349042 h 1178509"/>
              <a:gd name="connsiteX227" fmla="*/ 1164976 w 1263091"/>
              <a:gd name="connsiteY227" fmla="*/ 333253 h 1178509"/>
              <a:gd name="connsiteX228" fmla="*/ 1146932 w 1263091"/>
              <a:gd name="connsiteY228" fmla="*/ 316337 h 1178509"/>
              <a:gd name="connsiteX229" fmla="*/ 1117046 w 1263091"/>
              <a:gd name="connsiteY229" fmla="*/ 297729 h 1178509"/>
              <a:gd name="connsiteX230" fmla="*/ 1111972 w 1263091"/>
              <a:gd name="connsiteY230" fmla="*/ 273482 h 1178509"/>
              <a:gd name="connsiteX231" fmla="*/ 1119302 w 1263091"/>
              <a:gd name="connsiteY231" fmla="*/ 254874 h 1178509"/>
              <a:gd name="connsiteX232" fmla="*/ 1117046 w 1263091"/>
              <a:gd name="connsiteY232" fmla="*/ 223860 h 1178509"/>
              <a:gd name="connsiteX233" fmla="*/ 1109716 w 1263091"/>
              <a:gd name="connsiteY233" fmla="*/ 219913 h 1178509"/>
              <a:gd name="connsiteX234" fmla="*/ 1108588 w 1263091"/>
              <a:gd name="connsiteY234" fmla="*/ 201869 h 1178509"/>
              <a:gd name="connsiteX235" fmla="*/ 1107461 w 1263091"/>
              <a:gd name="connsiteY235" fmla="*/ 170856 h 1178509"/>
              <a:gd name="connsiteX236" fmla="*/ 1113663 w 1263091"/>
              <a:gd name="connsiteY236" fmla="*/ 155067 h 1178509"/>
              <a:gd name="connsiteX237" fmla="*/ 1100694 w 1263091"/>
              <a:gd name="connsiteY237" fmla="*/ 140970 h 1178509"/>
              <a:gd name="connsiteX238" fmla="*/ 1092800 w 1263091"/>
              <a:gd name="connsiteY238" fmla="*/ 125745 h 1178509"/>
              <a:gd name="connsiteX239" fmla="*/ 1070808 w 1263091"/>
              <a:gd name="connsiteY239" fmla="*/ 139278 h 1178509"/>
              <a:gd name="connsiteX240" fmla="*/ 1064042 w 1263091"/>
              <a:gd name="connsiteY240" fmla="*/ 111084 h 11785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</a:cxnLst>
            <a:rect l="l" t="t" r="r" b="b"/>
            <a:pathLst>
              <a:path w="1263091" h="1178509">
                <a:moveTo>
                  <a:pt x="781538" y="1082650"/>
                </a:moveTo>
                <a:lnTo>
                  <a:pt x="764621" y="1079830"/>
                </a:lnTo>
                <a:lnTo>
                  <a:pt x="753908" y="1096183"/>
                </a:lnTo>
                <a:lnTo>
                  <a:pt x="750524" y="1126632"/>
                </a:lnTo>
                <a:lnTo>
                  <a:pt x="738683" y="1149187"/>
                </a:lnTo>
                <a:lnTo>
                  <a:pt x="735863" y="1179073"/>
                </a:lnTo>
                <a:lnTo>
                  <a:pt x="752780" y="1180201"/>
                </a:lnTo>
                <a:lnTo>
                  <a:pt x="757291" y="1181892"/>
                </a:lnTo>
                <a:lnTo>
                  <a:pt x="794507" y="1157646"/>
                </a:lnTo>
                <a:lnTo>
                  <a:pt x="797890" y="1167232"/>
                </a:lnTo>
                <a:lnTo>
                  <a:pt x="820445" y="1139601"/>
                </a:lnTo>
                <a:lnTo>
                  <a:pt x="838490" y="1127196"/>
                </a:lnTo>
                <a:lnTo>
                  <a:pt x="863865" y="1086033"/>
                </a:lnTo>
                <a:lnTo>
                  <a:pt x="848076" y="1083213"/>
                </a:lnTo>
                <a:lnTo>
                  <a:pt x="821009" y="1089980"/>
                </a:lnTo>
                <a:lnTo>
                  <a:pt x="801838" y="1095055"/>
                </a:lnTo>
                <a:lnTo>
                  <a:pt x="781538" y="1082650"/>
                </a:lnTo>
                <a:close/>
                <a:moveTo>
                  <a:pt x="1064042" y="111084"/>
                </a:moveTo>
                <a:lnTo>
                  <a:pt x="1066861" y="98115"/>
                </a:lnTo>
                <a:lnTo>
                  <a:pt x="1067425" y="77815"/>
                </a:lnTo>
                <a:lnTo>
                  <a:pt x="1058403" y="59771"/>
                </a:lnTo>
                <a:lnTo>
                  <a:pt x="1058967" y="44547"/>
                </a:lnTo>
                <a:lnTo>
                  <a:pt x="1051636" y="40035"/>
                </a:lnTo>
                <a:lnTo>
                  <a:pt x="1052200" y="18044"/>
                </a:lnTo>
                <a:lnTo>
                  <a:pt x="1045434" y="0"/>
                </a:lnTo>
                <a:lnTo>
                  <a:pt x="1032464" y="13533"/>
                </a:lnTo>
                <a:lnTo>
                  <a:pt x="1030209" y="23683"/>
                </a:lnTo>
                <a:lnTo>
                  <a:pt x="1021751" y="43419"/>
                </a:lnTo>
                <a:lnTo>
                  <a:pt x="1011601" y="62591"/>
                </a:lnTo>
                <a:lnTo>
                  <a:pt x="1014984" y="74432"/>
                </a:lnTo>
                <a:lnTo>
                  <a:pt x="1008218" y="81763"/>
                </a:lnTo>
                <a:lnTo>
                  <a:pt x="999760" y="108829"/>
                </a:lnTo>
                <a:lnTo>
                  <a:pt x="1000323" y="129692"/>
                </a:lnTo>
                <a:lnTo>
                  <a:pt x="996376" y="139842"/>
                </a:lnTo>
                <a:lnTo>
                  <a:pt x="998068" y="157323"/>
                </a:lnTo>
                <a:lnTo>
                  <a:pt x="983407" y="185517"/>
                </a:lnTo>
                <a:lnTo>
                  <a:pt x="976076" y="205252"/>
                </a:lnTo>
                <a:lnTo>
                  <a:pt x="966490" y="221605"/>
                </a:lnTo>
                <a:lnTo>
                  <a:pt x="956905" y="240777"/>
                </a:lnTo>
                <a:lnTo>
                  <a:pt x="933785" y="252618"/>
                </a:lnTo>
                <a:lnTo>
                  <a:pt x="906156" y="240777"/>
                </a:lnTo>
                <a:lnTo>
                  <a:pt x="903336" y="229499"/>
                </a:lnTo>
                <a:lnTo>
                  <a:pt x="889239" y="220477"/>
                </a:lnTo>
                <a:lnTo>
                  <a:pt x="880217" y="220477"/>
                </a:lnTo>
                <a:lnTo>
                  <a:pt x="861609" y="199050"/>
                </a:lnTo>
                <a:lnTo>
                  <a:pt x="847512" y="186644"/>
                </a:lnTo>
                <a:lnTo>
                  <a:pt x="825520" y="175367"/>
                </a:lnTo>
                <a:lnTo>
                  <a:pt x="803529" y="155631"/>
                </a:lnTo>
                <a:lnTo>
                  <a:pt x="802965" y="145481"/>
                </a:lnTo>
                <a:lnTo>
                  <a:pt x="817062" y="128001"/>
                </a:lnTo>
                <a:lnTo>
                  <a:pt x="828904" y="109957"/>
                </a:lnTo>
                <a:lnTo>
                  <a:pt x="827212" y="95296"/>
                </a:lnTo>
                <a:lnTo>
                  <a:pt x="837926" y="94168"/>
                </a:lnTo>
                <a:lnTo>
                  <a:pt x="852023" y="80071"/>
                </a:lnTo>
                <a:lnTo>
                  <a:pt x="863300" y="60899"/>
                </a:lnTo>
                <a:lnTo>
                  <a:pt x="850895" y="42855"/>
                </a:lnTo>
                <a:lnTo>
                  <a:pt x="842437" y="49621"/>
                </a:lnTo>
                <a:lnTo>
                  <a:pt x="831159" y="46802"/>
                </a:lnTo>
                <a:lnTo>
                  <a:pt x="811423" y="56952"/>
                </a:lnTo>
                <a:lnTo>
                  <a:pt x="793380" y="45674"/>
                </a:lnTo>
                <a:lnTo>
                  <a:pt x="783793" y="49621"/>
                </a:lnTo>
                <a:lnTo>
                  <a:pt x="758419" y="40599"/>
                </a:lnTo>
                <a:lnTo>
                  <a:pt x="743194" y="25375"/>
                </a:lnTo>
                <a:lnTo>
                  <a:pt x="723458" y="16916"/>
                </a:lnTo>
                <a:lnTo>
                  <a:pt x="705978" y="21991"/>
                </a:lnTo>
                <a:lnTo>
                  <a:pt x="727969" y="33833"/>
                </a:lnTo>
                <a:lnTo>
                  <a:pt x="726278" y="51877"/>
                </a:lnTo>
                <a:lnTo>
                  <a:pt x="699211" y="58644"/>
                </a:lnTo>
                <a:lnTo>
                  <a:pt x="683423" y="54696"/>
                </a:lnTo>
                <a:lnTo>
                  <a:pt x="663123" y="67102"/>
                </a:lnTo>
                <a:lnTo>
                  <a:pt x="646771" y="87965"/>
                </a:lnTo>
                <a:lnTo>
                  <a:pt x="650154" y="96423"/>
                </a:lnTo>
                <a:lnTo>
                  <a:pt x="634929" y="106009"/>
                </a:lnTo>
                <a:lnTo>
                  <a:pt x="615757" y="134767"/>
                </a:lnTo>
                <a:lnTo>
                  <a:pt x="619141" y="154503"/>
                </a:lnTo>
                <a:lnTo>
                  <a:pt x="599968" y="151120"/>
                </a:lnTo>
                <a:lnTo>
                  <a:pt x="580233" y="151120"/>
                </a:lnTo>
                <a:lnTo>
                  <a:pt x="566136" y="129692"/>
                </a:lnTo>
                <a:lnTo>
                  <a:pt x="545272" y="113340"/>
                </a:lnTo>
                <a:lnTo>
                  <a:pt x="529483" y="117851"/>
                </a:lnTo>
                <a:lnTo>
                  <a:pt x="514823" y="122926"/>
                </a:lnTo>
                <a:lnTo>
                  <a:pt x="513131" y="131948"/>
                </a:lnTo>
                <a:lnTo>
                  <a:pt x="499598" y="128001"/>
                </a:lnTo>
                <a:lnTo>
                  <a:pt x="497906" y="138151"/>
                </a:lnTo>
                <a:lnTo>
                  <a:pt x="480990" y="144353"/>
                </a:lnTo>
                <a:lnTo>
                  <a:pt x="471404" y="158450"/>
                </a:lnTo>
                <a:lnTo>
                  <a:pt x="451668" y="175931"/>
                </a:lnTo>
                <a:lnTo>
                  <a:pt x="443774" y="202997"/>
                </a:lnTo>
                <a:lnTo>
                  <a:pt x="430804" y="195666"/>
                </a:lnTo>
                <a:lnTo>
                  <a:pt x="418399" y="213147"/>
                </a:lnTo>
                <a:lnTo>
                  <a:pt x="426858" y="230063"/>
                </a:lnTo>
                <a:lnTo>
                  <a:pt x="412196" y="236830"/>
                </a:lnTo>
                <a:lnTo>
                  <a:pt x="404302" y="205816"/>
                </a:lnTo>
                <a:lnTo>
                  <a:pt x="377236" y="236266"/>
                </a:lnTo>
                <a:lnTo>
                  <a:pt x="372725" y="256002"/>
                </a:lnTo>
                <a:lnTo>
                  <a:pt x="368778" y="270099"/>
                </a:lnTo>
                <a:lnTo>
                  <a:pt x="347350" y="288707"/>
                </a:lnTo>
                <a:lnTo>
                  <a:pt x="336072" y="307878"/>
                </a:lnTo>
                <a:lnTo>
                  <a:pt x="316337" y="323667"/>
                </a:lnTo>
                <a:lnTo>
                  <a:pt x="281940" y="334381"/>
                </a:lnTo>
                <a:lnTo>
                  <a:pt x="264460" y="333253"/>
                </a:lnTo>
                <a:lnTo>
                  <a:pt x="256002" y="336636"/>
                </a:lnTo>
                <a:lnTo>
                  <a:pt x="249799" y="344531"/>
                </a:lnTo>
                <a:lnTo>
                  <a:pt x="230063" y="348478"/>
                </a:lnTo>
                <a:lnTo>
                  <a:pt x="203561" y="362011"/>
                </a:lnTo>
                <a:lnTo>
                  <a:pt x="195667" y="357500"/>
                </a:lnTo>
                <a:lnTo>
                  <a:pt x="181005" y="360319"/>
                </a:lnTo>
                <a:lnTo>
                  <a:pt x="155067" y="373289"/>
                </a:lnTo>
                <a:lnTo>
                  <a:pt x="137023" y="388513"/>
                </a:lnTo>
                <a:lnTo>
                  <a:pt x="109957" y="400355"/>
                </a:lnTo>
                <a:lnTo>
                  <a:pt x="92476" y="425166"/>
                </a:lnTo>
                <a:lnTo>
                  <a:pt x="94732" y="398099"/>
                </a:lnTo>
                <a:lnTo>
                  <a:pt x="77252" y="424038"/>
                </a:lnTo>
                <a:lnTo>
                  <a:pt x="76688" y="444901"/>
                </a:lnTo>
                <a:lnTo>
                  <a:pt x="69358" y="462945"/>
                </a:lnTo>
                <a:lnTo>
                  <a:pt x="60899" y="471404"/>
                </a:lnTo>
                <a:lnTo>
                  <a:pt x="53569" y="492267"/>
                </a:lnTo>
                <a:lnTo>
                  <a:pt x="58644" y="502981"/>
                </a:lnTo>
                <a:lnTo>
                  <a:pt x="59207" y="514259"/>
                </a:lnTo>
                <a:lnTo>
                  <a:pt x="68229" y="542453"/>
                </a:lnTo>
                <a:lnTo>
                  <a:pt x="64282" y="561061"/>
                </a:lnTo>
                <a:lnTo>
                  <a:pt x="58644" y="546964"/>
                </a:lnTo>
                <a:lnTo>
                  <a:pt x="45674" y="536814"/>
                </a:lnTo>
                <a:lnTo>
                  <a:pt x="47930" y="570083"/>
                </a:lnTo>
                <a:lnTo>
                  <a:pt x="38344" y="554294"/>
                </a:lnTo>
                <a:lnTo>
                  <a:pt x="38908" y="570083"/>
                </a:lnTo>
                <a:lnTo>
                  <a:pt x="49058" y="598277"/>
                </a:lnTo>
                <a:lnTo>
                  <a:pt x="45674" y="626471"/>
                </a:lnTo>
                <a:lnTo>
                  <a:pt x="55261" y="640568"/>
                </a:lnTo>
                <a:lnTo>
                  <a:pt x="53005" y="651281"/>
                </a:lnTo>
                <a:lnTo>
                  <a:pt x="58080" y="674400"/>
                </a:lnTo>
                <a:lnTo>
                  <a:pt x="50749" y="694700"/>
                </a:lnTo>
                <a:lnTo>
                  <a:pt x="49058" y="715000"/>
                </a:lnTo>
                <a:lnTo>
                  <a:pt x="53005" y="751652"/>
                </a:lnTo>
                <a:lnTo>
                  <a:pt x="49058" y="772516"/>
                </a:lnTo>
                <a:lnTo>
                  <a:pt x="36652" y="797327"/>
                </a:lnTo>
                <a:lnTo>
                  <a:pt x="33269" y="810296"/>
                </a:lnTo>
                <a:lnTo>
                  <a:pt x="24811" y="818754"/>
                </a:lnTo>
                <a:lnTo>
                  <a:pt x="8458" y="823265"/>
                </a:lnTo>
                <a:lnTo>
                  <a:pt x="0" y="844128"/>
                </a:lnTo>
                <a:lnTo>
                  <a:pt x="13533" y="850895"/>
                </a:lnTo>
                <a:lnTo>
                  <a:pt x="36088" y="874014"/>
                </a:lnTo>
                <a:lnTo>
                  <a:pt x="56388" y="874014"/>
                </a:lnTo>
                <a:lnTo>
                  <a:pt x="77816" y="875706"/>
                </a:lnTo>
                <a:lnTo>
                  <a:pt x="96423" y="863864"/>
                </a:lnTo>
                <a:lnTo>
                  <a:pt x="115595" y="853715"/>
                </a:lnTo>
                <a:lnTo>
                  <a:pt x="123490" y="855406"/>
                </a:lnTo>
                <a:lnTo>
                  <a:pt x="148864" y="836234"/>
                </a:lnTo>
                <a:lnTo>
                  <a:pt x="170292" y="834542"/>
                </a:lnTo>
                <a:lnTo>
                  <a:pt x="193411" y="830595"/>
                </a:lnTo>
                <a:lnTo>
                  <a:pt x="217094" y="837362"/>
                </a:lnTo>
                <a:lnTo>
                  <a:pt x="237393" y="833979"/>
                </a:lnTo>
                <a:lnTo>
                  <a:pt x="263332" y="832851"/>
                </a:lnTo>
                <a:lnTo>
                  <a:pt x="280249" y="818190"/>
                </a:lnTo>
                <a:lnTo>
                  <a:pt x="293218" y="799582"/>
                </a:lnTo>
                <a:lnTo>
                  <a:pt x="322540" y="791124"/>
                </a:lnTo>
                <a:lnTo>
                  <a:pt x="361447" y="773079"/>
                </a:lnTo>
                <a:lnTo>
                  <a:pt x="389641" y="775335"/>
                </a:lnTo>
                <a:lnTo>
                  <a:pt x="428549" y="763494"/>
                </a:lnTo>
                <a:lnTo>
                  <a:pt x="472532" y="750524"/>
                </a:lnTo>
                <a:lnTo>
                  <a:pt x="527792" y="747141"/>
                </a:lnTo>
                <a:lnTo>
                  <a:pt x="550347" y="764621"/>
                </a:lnTo>
                <a:lnTo>
                  <a:pt x="571211" y="765749"/>
                </a:lnTo>
                <a:lnTo>
                  <a:pt x="601096" y="787176"/>
                </a:lnTo>
                <a:lnTo>
                  <a:pt x="592074" y="795635"/>
                </a:lnTo>
                <a:lnTo>
                  <a:pt x="602224" y="809168"/>
                </a:lnTo>
                <a:lnTo>
                  <a:pt x="609554" y="835106"/>
                </a:lnTo>
                <a:lnTo>
                  <a:pt x="600532" y="854278"/>
                </a:lnTo>
                <a:lnTo>
                  <a:pt x="616885" y="868939"/>
                </a:lnTo>
                <a:lnTo>
                  <a:pt x="641132" y="840181"/>
                </a:lnTo>
                <a:lnTo>
                  <a:pt x="665378" y="828340"/>
                </a:lnTo>
                <a:lnTo>
                  <a:pt x="703159" y="797327"/>
                </a:lnTo>
                <a:lnTo>
                  <a:pt x="694136" y="823829"/>
                </a:lnTo>
                <a:lnTo>
                  <a:pt x="674965" y="841873"/>
                </a:lnTo>
                <a:lnTo>
                  <a:pt x="660868" y="862736"/>
                </a:lnTo>
                <a:lnTo>
                  <a:pt x="636057" y="882472"/>
                </a:lnTo>
                <a:lnTo>
                  <a:pt x="665378" y="875706"/>
                </a:lnTo>
                <a:lnTo>
                  <a:pt x="691881" y="850895"/>
                </a:lnTo>
                <a:lnTo>
                  <a:pt x="686806" y="877961"/>
                </a:lnTo>
                <a:lnTo>
                  <a:pt x="668762" y="895441"/>
                </a:lnTo>
                <a:lnTo>
                  <a:pt x="695264" y="899952"/>
                </a:lnTo>
                <a:lnTo>
                  <a:pt x="702594" y="914613"/>
                </a:lnTo>
                <a:lnTo>
                  <a:pt x="700339" y="933221"/>
                </a:lnTo>
                <a:lnTo>
                  <a:pt x="691881" y="960852"/>
                </a:lnTo>
                <a:lnTo>
                  <a:pt x="699775" y="983407"/>
                </a:lnTo>
                <a:lnTo>
                  <a:pt x="722330" y="994120"/>
                </a:lnTo>
                <a:lnTo>
                  <a:pt x="738119" y="996376"/>
                </a:lnTo>
                <a:lnTo>
                  <a:pt x="751652" y="1002015"/>
                </a:lnTo>
                <a:lnTo>
                  <a:pt x="771388" y="1012165"/>
                </a:lnTo>
                <a:lnTo>
                  <a:pt x="811987" y="985662"/>
                </a:lnTo>
                <a:lnTo>
                  <a:pt x="831723" y="978896"/>
                </a:lnTo>
                <a:lnTo>
                  <a:pt x="816499" y="998068"/>
                </a:lnTo>
                <a:lnTo>
                  <a:pt x="831159" y="1004270"/>
                </a:lnTo>
                <a:lnTo>
                  <a:pt x="846384" y="1020059"/>
                </a:lnTo>
                <a:lnTo>
                  <a:pt x="872887" y="1004834"/>
                </a:lnTo>
                <a:lnTo>
                  <a:pt x="894314" y="990737"/>
                </a:lnTo>
                <a:lnTo>
                  <a:pt x="929838" y="975512"/>
                </a:lnTo>
                <a:lnTo>
                  <a:pt x="963671" y="974385"/>
                </a:lnTo>
                <a:lnTo>
                  <a:pt x="987354" y="961415"/>
                </a:lnTo>
                <a:lnTo>
                  <a:pt x="992429" y="950138"/>
                </a:lnTo>
                <a:lnTo>
                  <a:pt x="1009345" y="924763"/>
                </a:lnTo>
                <a:lnTo>
                  <a:pt x="1031337" y="897697"/>
                </a:lnTo>
                <a:lnTo>
                  <a:pt x="1051636" y="879653"/>
                </a:lnTo>
                <a:lnTo>
                  <a:pt x="1076447" y="848076"/>
                </a:lnTo>
                <a:lnTo>
                  <a:pt x="1095055" y="830595"/>
                </a:lnTo>
                <a:lnTo>
                  <a:pt x="1119866" y="802401"/>
                </a:lnTo>
                <a:lnTo>
                  <a:pt x="1150315" y="784921"/>
                </a:lnTo>
                <a:lnTo>
                  <a:pt x="1178509" y="752216"/>
                </a:lnTo>
                <a:lnTo>
                  <a:pt x="1195989" y="726842"/>
                </a:lnTo>
                <a:lnTo>
                  <a:pt x="1203884" y="706542"/>
                </a:lnTo>
                <a:lnTo>
                  <a:pt x="1225312" y="674400"/>
                </a:lnTo>
                <a:lnTo>
                  <a:pt x="1237153" y="658048"/>
                </a:lnTo>
                <a:lnTo>
                  <a:pt x="1251250" y="625907"/>
                </a:lnTo>
                <a:lnTo>
                  <a:pt x="1247303" y="595457"/>
                </a:lnTo>
                <a:lnTo>
                  <a:pt x="1256889" y="573466"/>
                </a:lnTo>
                <a:lnTo>
                  <a:pt x="1263091" y="552602"/>
                </a:lnTo>
                <a:lnTo>
                  <a:pt x="1263091" y="523845"/>
                </a:lnTo>
                <a:lnTo>
                  <a:pt x="1247303" y="495087"/>
                </a:lnTo>
                <a:lnTo>
                  <a:pt x="1236589" y="480990"/>
                </a:lnTo>
                <a:lnTo>
                  <a:pt x="1220237" y="458998"/>
                </a:lnTo>
                <a:lnTo>
                  <a:pt x="1224183" y="421218"/>
                </a:lnTo>
                <a:lnTo>
                  <a:pt x="1215725" y="426857"/>
                </a:lnTo>
                <a:lnTo>
                  <a:pt x="1206703" y="411069"/>
                </a:lnTo>
                <a:lnTo>
                  <a:pt x="1192606" y="418963"/>
                </a:lnTo>
                <a:lnTo>
                  <a:pt x="1189223" y="380055"/>
                </a:lnTo>
                <a:lnTo>
                  <a:pt x="1176818" y="357500"/>
                </a:lnTo>
                <a:lnTo>
                  <a:pt x="1182457" y="349042"/>
                </a:lnTo>
                <a:lnTo>
                  <a:pt x="1164976" y="333253"/>
                </a:lnTo>
                <a:lnTo>
                  <a:pt x="1146932" y="316337"/>
                </a:lnTo>
                <a:lnTo>
                  <a:pt x="1117046" y="297729"/>
                </a:lnTo>
                <a:lnTo>
                  <a:pt x="1111972" y="273482"/>
                </a:lnTo>
                <a:lnTo>
                  <a:pt x="1119302" y="254874"/>
                </a:lnTo>
                <a:lnTo>
                  <a:pt x="1117046" y="223860"/>
                </a:lnTo>
                <a:lnTo>
                  <a:pt x="1109716" y="219913"/>
                </a:lnTo>
                <a:lnTo>
                  <a:pt x="1108588" y="201869"/>
                </a:lnTo>
                <a:lnTo>
                  <a:pt x="1107461" y="170856"/>
                </a:lnTo>
                <a:lnTo>
                  <a:pt x="1113663" y="155067"/>
                </a:lnTo>
                <a:lnTo>
                  <a:pt x="1100694" y="140970"/>
                </a:lnTo>
                <a:lnTo>
                  <a:pt x="1092800" y="125745"/>
                </a:lnTo>
                <a:lnTo>
                  <a:pt x="1070808" y="139278"/>
                </a:lnTo>
                <a:lnTo>
                  <a:pt x="1064042" y="111084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Freeform: Shape 251">
            <a:extLst>
              <a:ext uri="{FF2B5EF4-FFF2-40B4-BE49-F238E27FC236}">
                <a16:creationId xmlns:a16="http://schemas.microsoft.com/office/drawing/2014/main" id="{D40AAD21-7658-4D41-8E4D-F33B62B91FAC}"/>
              </a:ext>
            </a:extLst>
          </p:cNvPr>
          <p:cNvSpPr/>
          <p:nvPr/>
        </p:nvSpPr>
        <p:spPr>
          <a:xfrm>
            <a:off x="6041219" y="2812394"/>
            <a:ext cx="151696" cy="67421"/>
          </a:xfrm>
          <a:custGeom>
            <a:avLst/>
            <a:gdLst>
              <a:gd name="connsiteX0" fmla="*/ 205252 w 202996"/>
              <a:gd name="connsiteY0" fmla="*/ 15789 h 90220"/>
              <a:gd name="connsiteX1" fmla="*/ 192283 w 202996"/>
              <a:gd name="connsiteY1" fmla="*/ 9022 h 90220"/>
              <a:gd name="connsiteX2" fmla="*/ 179314 w 202996"/>
              <a:gd name="connsiteY2" fmla="*/ 10714 h 90220"/>
              <a:gd name="connsiteX3" fmla="*/ 156759 w 202996"/>
              <a:gd name="connsiteY3" fmla="*/ 0 h 90220"/>
              <a:gd name="connsiteX4" fmla="*/ 147173 w 202996"/>
              <a:gd name="connsiteY4" fmla="*/ 2819 h 90220"/>
              <a:gd name="connsiteX5" fmla="*/ 132512 w 202996"/>
              <a:gd name="connsiteY5" fmla="*/ 16916 h 90220"/>
              <a:gd name="connsiteX6" fmla="*/ 111084 w 202996"/>
              <a:gd name="connsiteY6" fmla="*/ 5639 h 90220"/>
              <a:gd name="connsiteX7" fmla="*/ 102626 w 202996"/>
              <a:gd name="connsiteY7" fmla="*/ 21991 h 90220"/>
              <a:gd name="connsiteX8" fmla="*/ 93041 w 202996"/>
              <a:gd name="connsiteY8" fmla="*/ 26502 h 90220"/>
              <a:gd name="connsiteX9" fmla="*/ 98679 w 202996"/>
              <a:gd name="connsiteY9" fmla="*/ 49057 h 90220"/>
              <a:gd name="connsiteX10" fmla="*/ 96424 w 202996"/>
              <a:gd name="connsiteY10" fmla="*/ 55260 h 90220"/>
              <a:gd name="connsiteX11" fmla="*/ 86837 w 202996"/>
              <a:gd name="connsiteY11" fmla="*/ 47930 h 90220"/>
              <a:gd name="connsiteX12" fmla="*/ 73305 w 202996"/>
              <a:gd name="connsiteY12" fmla="*/ 46802 h 90220"/>
              <a:gd name="connsiteX13" fmla="*/ 54133 w 202996"/>
              <a:gd name="connsiteY13" fmla="*/ 53569 h 90220"/>
              <a:gd name="connsiteX14" fmla="*/ 29322 w 202996"/>
              <a:gd name="connsiteY14" fmla="*/ 51877 h 90220"/>
              <a:gd name="connsiteX15" fmla="*/ 25939 w 202996"/>
              <a:gd name="connsiteY15" fmla="*/ 60899 h 90220"/>
              <a:gd name="connsiteX16" fmla="*/ 11278 w 202996"/>
              <a:gd name="connsiteY16" fmla="*/ 51313 h 90220"/>
              <a:gd name="connsiteX17" fmla="*/ 2820 w 202996"/>
              <a:gd name="connsiteY17" fmla="*/ 53005 h 90220"/>
              <a:gd name="connsiteX18" fmla="*/ 3947 w 202996"/>
              <a:gd name="connsiteY18" fmla="*/ 59207 h 90220"/>
              <a:gd name="connsiteX19" fmla="*/ 0 w 202996"/>
              <a:gd name="connsiteY19" fmla="*/ 68229 h 90220"/>
              <a:gd name="connsiteX20" fmla="*/ 12969 w 202996"/>
              <a:gd name="connsiteY20" fmla="*/ 74432 h 90220"/>
              <a:gd name="connsiteX21" fmla="*/ 27630 w 202996"/>
              <a:gd name="connsiteY21" fmla="*/ 75560 h 90220"/>
              <a:gd name="connsiteX22" fmla="*/ 45111 w 202996"/>
              <a:gd name="connsiteY22" fmla="*/ 80635 h 90220"/>
              <a:gd name="connsiteX23" fmla="*/ 47930 w 202996"/>
              <a:gd name="connsiteY23" fmla="*/ 73868 h 90220"/>
              <a:gd name="connsiteX24" fmla="*/ 74996 w 202996"/>
              <a:gd name="connsiteY24" fmla="*/ 67666 h 90220"/>
              <a:gd name="connsiteX25" fmla="*/ 82327 w 202996"/>
              <a:gd name="connsiteY25" fmla="*/ 80071 h 90220"/>
              <a:gd name="connsiteX26" fmla="*/ 122926 w 202996"/>
              <a:gd name="connsiteY26" fmla="*/ 89093 h 90220"/>
              <a:gd name="connsiteX27" fmla="*/ 146609 w 202996"/>
              <a:gd name="connsiteY27" fmla="*/ 91348 h 90220"/>
              <a:gd name="connsiteX28" fmla="*/ 160142 w 202996"/>
              <a:gd name="connsiteY28" fmla="*/ 83454 h 90220"/>
              <a:gd name="connsiteX29" fmla="*/ 184389 w 202996"/>
              <a:gd name="connsiteY29" fmla="*/ 82890 h 90220"/>
              <a:gd name="connsiteX30" fmla="*/ 189464 w 202996"/>
              <a:gd name="connsiteY30" fmla="*/ 76688 h 90220"/>
              <a:gd name="connsiteX31" fmla="*/ 196794 w 202996"/>
              <a:gd name="connsiteY31" fmla="*/ 54132 h 90220"/>
              <a:gd name="connsiteX32" fmla="*/ 190591 w 202996"/>
              <a:gd name="connsiteY32" fmla="*/ 46802 h 90220"/>
              <a:gd name="connsiteX33" fmla="*/ 206380 w 202996"/>
              <a:gd name="connsiteY33" fmla="*/ 46802 h 90220"/>
              <a:gd name="connsiteX34" fmla="*/ 207508 w 202996"/>
              <a:gd name="connsiteY34" fmla="*/ 32141 h 90220"/>
              <a:gd name="connsiteX35" fmla="*/ 203561 w 202996"/>
              <a:gd name="connsiteY35" fmla="*/ 20300 h 90220"/>
              <a:gd name="connsiteX36" fmla="*/ 205252 w 202996"/>
              <a:gd name="connsiteY36" fmla="*/ 15789 h 90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202996" h="90220">
                <a:moveTo>
                  <a:pt x="205252" y="15789"/>
                </a:moveTo>
                <a:lnTo>
                  <a:pt x="192283" y="9022"/>
                </a:lnTo>
                <a:lnTo>
                  <a:pt x="179314" y="10714"/>
                </a:lnTo>
                <a:lnTo>
                  <a:pt x="156759" y="0"/>
                </a:lnTo>
                <a:lnTo>
                  <a:pt x="147173" y="2819"/>
                </a:lnTo>
                <a:lnTo>
                  <a:pt x="132512" y="16916"/>
                </a:lnTo>
                <a:lnTo>
                  <a:pt x="111084" y="5639"/>
                </a:lnTo>
                <a:lnTo>
                  <a:pt x="102626" y="21991"/>
                </a:lnTo>
                <a:lnTo>
                  <a:pt x="93041" y="26502"/>
                </a:lnTo>
                <a:lnTo>
                  <a:pt x="98679" y="49057"/>
                </a:lnTo>
                <a:lnTo>
                  <a:pt x="96424" y="55260"/>
                </a:lnTo>
                <a:lnTo>
                  <a:pt x="86837" y="47930"/>
                </a:lnTo>
                <a:lnTo>
                  <a:pt x="73305" y="46802"/>
                </a:lnTo>
                <a:lnTo>
                  <a:pt x="54133" y="53569"/>
                </a:lnTo>
                <a:lnTo>
                  <a:pt x="29322" y="51877"/>
                </a:lnTo>
                <a:lnTo>
                  <a:pt x="25939" y="60899"/>
                </a:lnTo>
                <a:lnTo>
                  <a:pt x="11278" y="51313"/>
                </a:lnTo>
                <a:lnTo>
                  <a:pt x="2820" y="53005"/>
                </a:lnTo>
                <a:lnTo>
                  <a:pt x="3947" y="59207"/>
                </a:lnTo>
                <a:lnTo>
                  <a:pt x="0" y="68229"/>
                </a:lnTo>
                <a:lnTo>
                  <a:pt x="12969" y="74432"/>
                </a:lnTo>
                <a:lnTo>
                  <a:pt x="27630" y="75560"/>
                </a:lnTo>
                <a:lnTo>
                  <a:pt x="45111" y="80635"/>
                </a:lnTo>
                <a:lnTo>
                  <a:pt x="47930" y="73868"/>
                </a:lnTo>
                <a:lnTo>
                  <a:pt x="74996" y="67666"/>
                </a:lnTo>
                <a:lnTo>
                  <a:pt x="82327" y="80071"/>
                </a:lnTo>
                <a:lnTo>
                  <a:pt x="122926" y="89093"/>
                </a:lnTo>
                <a:lnTo>
                  <a:pt x="146609" y="91348"/>
                </a:lnTo>
                <a:lnTo>
                  <a:pt x="160142" y="83454"/>
                </a:lnTo>
                <a:lnTo>
                  <a:pt x="184389" y="82890"/>
                </a:lnTo>
                <a:lnTo>
                  <a:pt x="189464" y="76688"/>
                </a:lnTo>
                <a:lnTo>
                  <a:pt x="196794" y="54132"/>
                </a:lnTo>
                <a:lnTo>
                  <a:pt x="190591" y="46802"/>
                </a:lnTo>
                <a:lnTo>
                  <a:pt x="206380" y="46802"/>
                </a:lnTo>
                <a:lnTo>
                  <a:pt x="207508" y="32141"/>
                </a:lnTo>
                <a:lnTo>
                  <a:pt x="203561" y="20300"/>
                </a:lnTo>
                <a:lnTo>
                  <a:pt x="205252" y="15789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" name="Freeform: Shape 252">
            <a:extLst>
              <a:ext uri="{FF2B5EF4-FFF2-40B4-BE49-F238E27FC236}">
                <a16:creationId xmlns:a16="http://schemas.microsoft.com/office/drawing/2014/main" id="{EF838049-2BCD-41D5-92F0-872C67FF0881}"/>
              </a:ext>
            </a:extLst>
          </p:cNvPr>
          <p:cNvSpPr/>
          <p:nvPr/>
        </p:nvSpPr>
        <p:spPr>
          <a:xfrm>
            <a:off x="6817819" y="2999486"/>
            <a:ext cx="122200" cy="92704"/>
          </a:xfrm>
          <a:custGeom>
            <a:avLst/>
            <a:gdLst>
              <a:gd name="connsiteX0" fmla="*/ 11278 w 163525"/>
              <a:gd name="connsiteY0" fmla="*/ 74996 h 124053"/>
              <a:gd name="connsiteX1" fmla="*/ 5639 w 163525"/>
              <a:gd name="connsiteY1" fmla="*/ 76124 h 124053"/>
              <a:gd name="connsiteX2" fmla="*/ 12406 w 163525"/>
              <a:gd name="connsiteY2" fmla="*/ 89657 h 124053"/>
              <a:gd name="connsiteX3" fmla="*/ 30450 w 163525"/>
              <a:gd name="connsiteY3" fmla="*/ 106009 h 124053"/>
              <a:gd name="connsiteX4" fmla="*/ 51313 w 163525"/>
              <a:gd name="connsiteY4" fmla="*/ 111084 h 124053"/>
              <a:gd name="connsiteX5" fmla="*/ 35525 w 163525"/>
              <a:gd name="connsiteY5" fmla="*/ 90221 h 124053"/>
              <a:gd name="connsiteX6" fmla="*/ 34397 w 163525"/>
              <a:gd name="connsiteY6" fmla="*/ 84582 h 124053"/>
              <a:gd name="connsiteX7" fmla="*/ 21428 w 163525"/>
              <a:gd name="connsiteY7" fmla="*/ 84582 h 124053"/>
              <a:gd name="connsiteX8" fmla="*/ 11278 w 163525"/>
              <a:gd name="connsiteY8" fmla="*/ 74996 h 124053"/>
              <a:gd name="connsiteX9" fmla="*/ 69921 w 163525"/>
              <a:gd name="connsiteY9" fmla="*/ 22555 h 124053"/>
              <a:gd name="connsiteX10" fmla="*/ 45674 w 163525"/>
              <a:gd name="connsiteY10" fmla="*/ 1128 h 124053"/>
              <a:gd name="connsiteX11" fmla="*/ 37216 w 163525"/>
              <a:gd name="connsiteY11" fmla="*/ 0 h 124053"/>
              <a:gd name="connsiteX12" fmla="*/ 31013 w 163525"/>
              <a:gd name="connsiteY12" fmla="*/ 5075 h 124053"/>
              <a:gd name="connsiteX13" fmla="*/ 49058 w 163525"/>
              <a:gd name="connsiteY13" fmla="*/ 24247 h 124053"/>
              <a:gd name="connsiteX14" fmla="*/ 45674 w 163525"/>
              <a:gd name="connsiteY14" fmla="*/ 28194 h 124053"/>
              <a:gd name="connsiteX15" fmla="*/ 29886 w 163525"/>
              <a:gd name="connsiteY15" fmla="*/ 25939 h 124053"/>
              <a:gd name="connsiteX16" fmla="*/ 6203 w 163525"/>
              <a:gd name="connsiteY16" fmla="*/ 15789 h 124053"/>
              <a:gd name="connsiteX17" fmla="*/ 0 w 163525"/>
              <a:gd name="connsiteY17" fmla="*/ 21427 h 124053"/>
              <a:gd name="connsiteX18" fmla="*/ 7894 w 163525"/>
              <a:gd name="connsiteY18" fmla="*/ 31013 h 124053"/>
              <a:gd name="connsiteX19" fmla="*/ 20300 w 163525"/>
              <a:gd name="connsiteY19" fmla="*/ 37216 h 124053"/>
              <a:gd name="connsiteX20" fmla="*/ 16353 w 163525"/>
              <a:gd name="connsiteY20" fmla="*/ 45674 h 124053"/>
              <a:gd name="connsiteX21" fmla="*/ 33833 w 163525"/>
              <a:gd name="connsiteY21" fmla="*/ 58080 h 124053"/>
              <a:gd name="connsiteX22" fmla="*/ 28194 w 163525"/>
              <a:gd name="connsiteY22" fmla="*/ 69357 h 124053"/>
              <a:gd name="connsiteX23" fmla="*/ 42291 w 163525"/>
              <a:gd name="connsiteY23" fmla="*/ 78943 h 124053"/>
              <a:gd name="connsiteX24" fmla="*/ 56388 w 163525"/>
              <a:gd name="connsiteY24" fmla="*/ 85146 h 124053"/>
              <a:gd name="connsiteX25" fmla="*/ 61463 w 163525"/>
              <a:gd name="connsiteY25" fmla="*/ 109957 h 124053"/>
              <a:gd name="connsiteX26" fmla="*/ 91349 w 163525"/>
              <a:gd name="connsiteY26" fmla="*/ 83454 h 124053"/>
              <a:gd name="connsiteX27" fmla="*/ 102062 w 163525"/>
              <a:gd name="connsiteY27" fmla="*/ 80635 h 124053"/>
              <a:gd name="connsiteX28" fmla="*/ 112776 w 163525"/>
              <a:gd name="connsiteY28" fmla="*/ 91348 h 124053"/>
              <a:gd name="connsiteX29" fmla="*/ 106010 w 163525"/>
              <a:gd name="connsiteY29" fmla="*/ 108829 h 124053"/>
              <a:gd name="connsiteX30" fmla="*/ 127437 w 163525"/>
              <a:gd name="connsiteY30" fmla="*/ 128001 h 124053"/>
              <a:gd name="connsiteX31" fmla="*/ 134767 w 163525"/>
              <a:gd name="connsiteY31" fmla="*/ 126309 h 124053"/>
              <a:gd name="connsiteX32" fmla="*/ 130256 w 163525"/>
              <a:gd name="connsiteY32" fmla="*/ 108265 h 124053"/>
              <a:gd name="connsiteX33" fmla="*/ 139843 w 163525"/>
              <a:gd name="connsiteY33" fmla="*/ 99807 h 124053"/>
              <a:gd name="connsiteX34" fmla="*/ 142098 w 163525"/>
              <a:gd name="connsiteY34" fmla="*/ 87401 h 124053"/>
              <a:gd name="connsiteX35" fmla="*/ 141534 w 163525"/>
              <a:gd name="connsiteY35" fmla="*/ 59207 h 124053"/>
              <a:gd name="connsiteX36" fmla="*/ 165217 w 163525"/>
              <a:gd name="connsiteY36" fmla="*/ 56388 h 124053"/>
              <a:gd name="connsiteX37" fmla="*/ 153940 w 163525"/>
              <a:gd name="connsiteY37" fmla="*/ 46802 h 124053"/>
              <a:gd name="connsiteX38" fmla="*/ 139843 w 163525"/>
              <a:gd name="connsiteY38" fmla="*/ 45674 h 124053"/>
              <a:gd name="connsiteX39" fmla="*/ 120107 w 163525"/>
              <a:gd name="connsiteY39" fmla="*/ 20300 h 124053"/>
              <a:gd name="connsiteX40" fmla="*/ 100935 w 163525"/>
              <a:gd name="connsiteY40" fmla="*/ 2255 h 124053"/>
              <a:gd name="connsiteX41" fmla="*/ 100935 w 163525"/>
              <a:gd name="connsiteY41" fmla="*/ 2255 h 124053"/>
              <a:gd name="connsiteX42" fmla="*/ 86274 w 163525"/>
              <a:gd name="connsiteY42" fmla="*/ 16352 h 124053"/>
              <a:gd name="connsiteX43" fmla="*/ 83455 w 163525"/>
              <a:gd name="connsiteY43" fmla="*/ 24811 h 124053"/>
              <a:gd name="connsiteX44" fmla="*/ 69921 w 163525"/>
              <a:gd name="connsiteY44" fmla="*/ 22555 h 124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</a:cxnLst>
            <a:rect l="l" t="t" r="r" b="b"/>
            <a:pathLst>
              <a:path w="163525" h="124053">
                <a:moveTo>
                  <a:pt x="11278" y="74996"/>
                </a:moveTo>
                <a:lnTo>
                  <a:pt x="5639" y="76124"/>
                </a:lnTo>
                <a:lnTo>
                  <a:pt x="12406" y="89657"/>
                </a:lnTo>
                <a:lnTo>
                  <a:pt x="30450" y="106009"/>
                </a:lnTo>
                <a:lnTo>
                  <a:pt x="51313" y="111084"/>
                </a:lnTo>
                <a:lnTo>
                  <a:pt x="35525" y="90221"/>
                </a:lnTo>
                <a:lnTo>
                  <a:pt x="34397" y="84582"/>
                </a:lnTo>
                <a:lnTo>
                  <a:pt x="21428" y="84582"/>
                </a:lnTo>
                <a:lnTo>
                  <a:pt x="11278" y="74996"/>
                </a:lnTo>
                <a:close/>
                <a:moveTo>
                  <a:pt x="69921" y="22555"/>
                </a:moveTo>
                <a:lnTo>
                  <a:pt x="45674" y="1128"/>
                </a:lnTo>
                <a:lnTo>
                  <a:pt x="37216" y="0"/>
                </a:lnTo>
                <a:lnTo>
                  <a:pt x="31013" y="5075"/>
                </a:lnTo>
                <a:lnTo>
                  <a:pt x="49058" y="24247"/>
                </a:lnTo>
                <a:lnTo>
                  <a:pt x="45674" y="28194"/>
                </a:lnTo>
                <a:lnTo>
                  <a:pt x="29886" y="25939"/>
                </a:lnTo>
                <a:lnTo>
                  <a:pt x="6203" y="15789"/>
                </a:lnTo>
                <a:lnTo>
                  <a:pt x="0" y="21427"/>
                </a:lnTo>
                <a:lnTo>
                  <a:pt x="7894" y="31013"/>
                </a:lnTo>
                <a:lnTo>
                  <a:pt x="20300" y="37216"/>
                </a:lnTo>
                <a:lnTo>
                  <a:pt x="16353" y="45674"/>
                </a:lnTo>
                <a:lnTo>
                  <a:pt x="33833" y="58080"/>
                </a:lnTo>
                <a:lnTo>
                  <a:pt x="28194" y="69357"/>
                </a:lnTo>
                <a:lnTo>
                  <a:pt x="42291" y="78943"/>
                </a:lnTo>
                <a:lnTo>
                  <a:pt x="56388" y="85146"/>
                </a:lnTo>
                <a:lnTo>
                  <a:pt x="61463" y="109957"/>
                </a:lnTo>
                <a:lnTo>
                  <a:pt x="91349" y="83454"/>
                </a:lnTo>
                <a:lnTo>
                  <a:pt x="102062" y="80635"/>
                </a:lnTo>
                <a:lnTo>
                  <a:pt x="112776" y="91348"/>
                </a:lnTo>
                <a:lnTo>
                  <a:pt x="106010" y="108829"/>
                </a:lnTo>
                <a:lnTo>
                  <a:pt x="127437" y="128001"/>
                </a:lnTo>
                <a:lnTo>
                  <a:pt x="134767" y="126309"/>
                </a:lnTo>
                <a:lnTo>
                  <a:pt x="130256" y="108265"/>
                </a:lnTo>
                <a:lnTo>
                  <a:pt x="139843" y="99807"/>
                </a:lnTo>
                <a:lnTo>
                  <a:pt x="142098" y="87401"/>
                </a:lnTo>
                <a:lnTo>
                  <a:pt x="141534" y="59207"/>
                </a:lnTo>
                <a:lnTo>
                  <a:pt x="165217" y="56388"/>
                </a:lnTo>
                <a:lnTo>
                  <a:pt x="153940" y="46802"/>
                </a:lnTo>
                <a:lnTo>
                  <a:pt x="139843" y="45674"/>
                </a:lnTo>
                <a:lnTo>
                  <a:pt x="120107" y="20300"/>
                </a:lnTo>
                <a:lnTo>
                  <a:pt x="100935" y="2255"/>
                </a:lnTo>
                <a:lnTo>
                  <a:pt x="100935" y="2255"/>
                </a:lnTo>
                <a:lnTo>
                  <a:pt x="86274" y="16352"/>
                </a:lnTo>
                <a:lnTo>
                  <a:pt x="83455" y="24811"/>
                </a:lnTo>
                <a:lnTo>
                  <a:pt x="69921" y="22555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Freeform: Shape 253">
            <a:extLst>
              <a:ext uri="{FF2B5EF4-FFF2-40B4-BE49-F238E27FC236}">
                <a16:creationId xmlns:a16="http://schemas.microsoft.com/office/drawing/2014/main" id="{E418F277-D939-4292-8C08-FB2A9BF97D29}"/>
              </a:ext>
            </a:extLst>
          </p:cNvPr>
          <p:cNvSpPr/>
          <p:nvPr/>
        </p:nvSpPr>
        <p:spPr>
          <a:xfrm>
            <a:off x="6529596" y="4185667"/>
            <a:ext cx="37924" cy="54779"/>
          </a:xfrm>
          <a:custGeom>
            <a:avLst/>
            <a:gdLst>
              <a:gd name="connsiteX0" fmla="*/ 47930 w 50749"/>
              <a:gd name="connsiteY0" fmla="*/ 16353 h 73304"/>
              <a:gd name="connsiteX1" fmla="*/ 46239 w 50749"/>
              <a:gd name="connsiteY1" fmla="*/ 2256 h 73304"/>
              <a:gd name="connsiteX2" fmla="*/ 46239 w 50749"/>
              <a:gd name="connsiteY2" fmla="*/ 2256 h 73304"/>
              <a:gd name="connsiteX3" fmla="*/ 29322 w 50749"/>
              <a:gd name="connsiteY3" fmla="*/ 0 h 73304"/>
              <a:gd name="connsiteX4" fmla="*/ 19736 w 50749"/>
              <a:gd name="connsiteY4" fmla="*/ 20300 h 73304"/>
              <a:gd name="connsiteX5" fmla="*/ 0 w 50749"/>
              <a:gd name="connsiteY5" fmla="*/ 17480 h 73304"/>
              <a:gd name="connsiteX6" fmla="*/ 7894 w 50749"/>
              <a:gd name="connsiteY6" fmla="*/ 33833 h 73304"/>
              <a:gd name="connsiteX7" fmla="*/ 8458 w 50749"/>
              <a:gd name="connsiteY7" fmla="*/ 40036 h 73304"/>
              <a:gd name="connsiteX8" fmla="*/ 19736 w 50749"/>
              <a:gd name="connsiteY8" fmla="*/ 74432 h 73304"/>
              <a:gd name="connsiteX9" fmla="*/ 19172 w 50749"/>
              <a:gd name="connsiteY9" fmla="*/ 76124 h 73304"/>
              <a:gd name="connsiteX10" fmla="*/ 22555 w 50749"/>
              <a:gd name="connsiteY10" fmla="*/ 75560 h 73304"/>
              <a:gd name="connsiteX11" fmla="*/ 34397 w 50749"/>
              <a:gd name="connsiteY11" fmla="*/ 62591 h 73304"/>
              <a:gd name="connsiteX12" fmla="*/ 46802 w 50749"/>
              <a:gd name="connsiteY12" fmla="*/ 43983 h 73304"/>
              <a:gd name="connsiteX13" fmla="*/ 54697 w 50749"/>
              <a:gd name="connsiteY13" fmla="*/ 36088 h 73304"/>
              <a:gd name="connsiteX14" fmla="*/ 54697 w 50749"/>
              <a:gd name="connsiteY14" fmla="*/ 24811 h 73304"/>
              <a:gd name="connsiteX15" fmla="*/ 47930 w 50749"/>
              <a:gd name="connsiteY15" fmla="*/ 16353 h 733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50749" h="73304">
                <a:moveTo>
                  <a:pt x="47930" y="16353"/>
                </a:moveTo>
                <a:lnTo>
                  <a:pt x="46239" y="2256"/>
                </a:lnTo>
                <a:lnTo>
                  <a:pt x="46239" y="2256"/>
                </a:lnTo>
                <a:lnTo>
                  <a:pt x="29322" y="0"/>
                </a:lnTo>
                <a:lnTo>
                  <a:pt x="19736" y="20300"/>
                </a:lnTo>
                <a:lnTo>
                  <a:pt x="0" y="17480"/>
                </a:lnTo>
                <a:lnTo>
                  <a:pt x="7894" y="33833"/>
                </a:lnTo>
                <a:lnTo>
                  <a:pt x="8458" y="40036"/>
                </a:lnTo>
                <a:lnTo>
                  <a:pt x="19736" y="74432"/>
                </a:lnTo>
                <a:lnTo>
                  <a:pt x="19172" y="76124"/>
                </a:lnTo>
                <a:lnTo>
                  <a:pt x="22555" y="75560"/>
                </a:lnTo>
                <a:lnTo>
                  <a:pt x="34397" y="62591"/>
                </a:lnTo>
                <a:lnTo>
                  <a:pt x="46802" y="43983"/>
                </a:lnTo>
                <a:lnTo>
                  <a:pt x="54697" y="36088"/>
                </a:lnTo>
                <a:lnTo>
                  <a:pt x="54697" y="24811"/>
                </a:lnTo>
                <a:lnTo>
                  <a:pt x="47930" y="16353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" name="Freeform: Shape 254">
            <a:extLst>
              <a:ext uri="{FF2B5EF4-FFF2-40B4-BE49-F238E27FC236}">
                <a16:creationId xmlns:a16="http://schemas.microsoft.com/office/drawing/2014/main" id="{BBC1EA69-BDB6-400F-9A26-CCD246696986}"/>
              </a:ext>
            </a:extLst>
          </p:cNvPr>
          <p:cNvSpPr/>
          <p:nvPr/>
        </p:nvSpPr>
        <p:spPr>
          <a:xfrm>
            <a:off x="5894157" y="2749187"/>
            <a:ext cx="71634" cy="50566"/>
          </a:xfrm>
          <a:custGeom>
            <a:avLst/>
            <a:gdLst>
              <a:gd name="connsiteX0" fmla="*/ 66538 w 95859"/>
              <a:gd name="connsiteY0" fmla="*/ 0 h 67665"/>
              <a:gd name="connsiteX1" fmla="*/ 41727 w 95859"/>
              <a:gd name="connsiteY1" fmla="*/ 7330 h 67665"/>
              <a:gd name="connsiteX2" fmla="*/ 21427 w 95859"/>
              <a:gd name="connsiteY2" fmla="*/ 4511 h 67665"/>
              <a:gd name="connsiteX3" fmla="*/ 21427 w 95859"/>
              <a:gd name="connsiteY3" fmla="*/ 4511 h 67665"/>
              <a:gd name="connsiteX4" fmla="*/ 0 w 95859"/>
              <a:gd name="connsiteY4" fmla="*/ 11278 h 67665"/>
              <a:gd name="connsiteX5" fmla="*/ 3947 w 95859"/>
              <a:gd name="connsiteY5" fmla="*/ 23683 h 67665"/>
              <a:gd name="connsiteX6" fmla="*/ 16352 w 95859"/>
              <a:gd name="connsiteY6" fmla="*/ 24247 h 67665"/>
              <a:gd name="connsiteX7" fmla="*/ 29886 w 95859"/>
              <a:gd name="connsiteY7" fmla="*/ 37780 h 67665"/>
              <a:gd name="connsiteX8" fmla="*/ 49057 w 95859"/>
              <a:gd name="connsiteY8" fmla="*/ 54133 h 67665"/>
              <a:gd name="connsiteX9" fmla="*/ 63154 w 95859"/>
              <a:gd name="connsiteY9" fmla="*/ 51877 h 67665"/>
              <a:gd name="connsiteX10" fmla="*/ 87965 w 95859"/>
              <a:gd name="connsiteY10" fmla="*/ 67666 h 67665"/>
              <a:gd name="connsiteX11" fmla="*/ 90221 w 95859"/>
              <a:gd name="connsiteY11" fmla="*/ 47930 h 67665"/>
              <a:gd name="connsiteX12" fmla="*/ 97551 w 95859"/>
              <a:gd name="connsiteY12" fmla="*/ 46802 h 67665"/>
              <a:gd name="connsiteX13" fmla="*/ 99806 w 95859"/>
              <a:gd name="connsiteY13" fmla="*/ 23119 h 67665"/>
              <a:gd name="connsiteX14" fmla="*/ 84018 w 95859"/>
              <a:gd name="connsiteY14" fmla="*/ 15225 h 67665"/>
              <a:gd name="connsiteX15" fmla="*/ 66538 w 95859"/>
              <a:gd name="connsiteY15" fmla="*/ 0 h 676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95859" h="67665">
                <a:moveTo>
                  <a:pt x="66538" y="0"/>
                </a:moveTo>
                <a:lnTo>
                  <a:pt x="41727" y="7330"/>
                </a:lnTo>
                <a:lnTo>
                  <a:pt x="21427" y="4511"/>
                </a:lnTo>
                <a:lnTo>
                  <a:pt x="21427" y="4511"/>
                </a:lnTo>
                <a:lnTo>
                  <a:pt x="0" y="11278"/>
                </a:lnTo>
                <a:lnTo>
                  <a:pt x="3947" y="23683"/>
                </a:lnTo>
                <a:lnTo>
                  <a:pt x="16352" y="24247"/>
                </a:lnTo>
                <a:lnTo>
                  <a:pt x="29886" y="37780"/>
                </a:lnTo>
                <a:lnTo>
                  <a:pt x="49057" y="54133"/>
                </a:lnTo>
                <a:lnTo>
                  <a:pt x="63154" y="51877"/>
                </a:lnTo>
                <a:lnTo>
                  <a:pt x="87965" y="67666"/>
                </a:lnTo>
                <a:lnTo>
                  <a:pt x="90221" y="47930"/>
                </a:lnTo>
                <a:lnTo>
                  <a:pt x="97551" y="46802"/>
                </a:lnTo>
                <a:lnTo>
                  <a:pt x="99806" y="23119"/>
                </a:lnTo>
                <a:lnTo>
                  <a:pt x="84018" y="15225"/>
                </a:lnTo>
                <a:lnTo>
                  <a:pt x="66538" y="0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Freeform: Shape 255">
            <a:extLst>
              <a:ext uri="{FF2B5EF4-FFF2-40B4-BE49-F238E27FC236}">
                <a16:creationId xmlns:a16="http://schemas.microsoft.com/office/drawing/2014/main" id="{30B5982B-DCD7-4095-87B0-602392B003BA}"/>
              </a:ext>
            </a:extLst>
          </p:cNvPr>
          <p:cNvSpPr/>
          <p:nvPr/>
        </p:nvSpPr>
        <p:spPr>
          <a:xfrm>
            <a:off x="5860869" y="3794629"/>
            <a:ext cx="67421" cy="160124"/>
          </a:xfrm>
          <a:custGeom>
            <a:avLst/>
            <a:gdLst>
              <a:gd name="connsiteX0" fmla="*/ 89657 w 90220"/>
              <a:gd name="connsiteY0" fmla="*/ 20864 h 214274"/>
              <a:gd name="connsiteX1" fmla="*/ 65410 w 90220"/>
              <a:gd name="connsiteY1" fmla="*/ 0 h 214274"/>
              <a:gd name="connsiteX2" fmla="*/ 54132 w 90220"/>
              <a:gd name="connsiteY2" fmla="*/ 0 h 214274"/>
              <a:gd name="connsiteX3" fmla="*/ 43419 w 90220"/>
              <a:gd name="connsiteY3" fmla="*/ 10714 h 214274"/>
              <a:gd name="connsiteX4" fmla="*/ 36652 w 90220"/>
              <a:gd name="connsiteY4" fmla="*/ 21428 h 214274"/>
              <a:gd name="connsiteX5" fmla="*/ 21427 w 90220"/>
              <a:gd name="connsiteY5" fmla="*/ 24811 h 214274"/>
              <a:gd name="connsiteX6" fmla="*/ 14661 w 90220"/>
              <a:gd name="connsiteY6" fmla="*/ 40599 h 214274"/>
              <a:gd name="connsiteX7" fmla="*/ 3947 w 90220"/>
              <a:gd name="connsiteY7" fmla="*/ 44547 h 214274"/>
              <a:gd name="connsiteX8" fmla="*/ 0 w 90220"/>
              <a:gd name="connsiteY8" fmla="*/ 63155 h 214274"/>
              <a:gd name="connsiteX9" fmla="*/ 9586 w 90220"/>
              <a:gd name="connsiteY9" fmla="*/ 73868 h 214274"/>
              <a:gd name="connsiteX10" fmla="*/ 20864 w 90220"/>
              <a:gd name="connsiteY10" fmla="*/ 86838 h 214274"/>
              <a:gd name="connsiteX11" fmla="*/ 21991 w 90220"/>
              <a:gd name="connsiteY11" fmla="*/ 104318 h 214274"/>
              <a:gd name="connsiteX12" fmla="*/ 28194 w 90220"/>
              <a:gd name="connsiteY12" fmla="*/ 111648 h 214274"/>
              <a:gd name="connsiteX13" fmla="*/ 27066 w 90220"/>
              <a:gd name="connsiteY13" fmla="*/ 193975 h 214274"/>
              <a:gd name="connsiteX14" fmla="*/ 34961 w 90220"/>
              <a:gd name="connsiteY14" fmla="*/ 218785 h 214274"/>
              <a:gd name="connsiteX15" fmla="*/ 60899 w 90220"/>
              <a:gd name="connsiteY15" fmla="*/ 214274 h 214274"/>
              <a:gd name="connsiteX16" fmla="*/ 62591 w 90220"/>
              <a:gd name="connsiteY16" fmla="*/ 156759 h 214274"/>
              <a:gd name="connsiteX17" fmla="*/ 62027 w 90220"/>
              <a:gd name="connsiteY17" fmla="*/ 133640 h 214274"/>
              <a:gd name="connsiteX18" fmla="*/ 67666 w 90220"/>
              <a:gd name="connsiteY18" fmla="*/ 111084 h 214274"/>
              <a:gd name="connsiteX19" fmla="*/ 77252 w 90220"/>
              <a:gd name="connsiteY19" fmla="*/ 100371 h 214274"/>
              <a:gd name="connsiteX20" fmla="*/ 92476 w 90220"/>
              <a:gd name="connsiteY20" fmla="*/ 77816 h 214274"/>
              <a:gd name="connsiteX21" fmla="*/ 89093 w 90220"/>
              <a:gd name="connsiteY21" fmla="*/ 68230 h 214274"/>
              <a:gd name="connsiteX22" fmla="*/ 95296 w 90220"/>
              <a:gd name="connsiteY22" fmla="*/ 54133 h 214274"/>
              <a:gd name="connsiteX23" fmla="*/ 88529 w 90220"/>
              <a:gd name="connsiteY23" fmla="*/ 32705 h 214274"/>
              <a:gd name="connsiteX24" fmla="*/ 89657 w 90220"/>
              <a:gd name="connsiteY24" fmla="*/ 20864 h 214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90220" h="214274">
                <a:moveTo>
                  <a:pt x="89657" y="20864"/>
                </a:moveTo>
                <a:lnTo>
                  <a:pt x="65410" y="0"/>
                </a:lnTo>
                <a:lnTo>
                  <a:pt x="54132" y="0"/>
                </a:lnTo>
                <a:lnTo>
                  <a:pt x="43419" y="10714"/>
                </a:lnTo>
                <a:lnTo>
                  <a:pt x="36652" y="21428"/>
                </a:lnTo>
                <a:lnTo>
                  <a:pt x="21427" y="24811"/>
                </a:lnTo>
                <a:lnTo>
                  <a:pt x="14661" y="40599"/>
                </a:lnTo>
                <a:lnTo>
                  <a:pt x="3947" y="44547"/>
                </a:lnTo>
                <a:lnTo>
                  <a:pt x="0" y="63155"/>
                </a:lnTo>
                <a:lnTo>
                  <a:pt x="9586" y="73868"/>
                </a:lnTo>
                <a:lnTo>
                  <a:pt x="20864" y="86838"/>
                </a:lnTo>
                <a:lnTo>
                  <a:pt x="21991" y="104318"/>
                </a:lnTo>
                <a:lnTo>
                  <a:pt x="28194" y="111648"/>
                </a:lnTo>
                <a:lnTo>
                  <a:pt x="27066" y="193975"/>
                </a:lnTo>
                <a:lnTo>
                  <a:pt x="34961" y="218785"/>
                </a:lnTo>
                <a:lnTo>
                  <a:pt x="60899" y="214274"/>
                </a:lnTo>
                <a:lnTo>
                  <a:pt x="62591" y="156759"/>
                </a:lnTo>
                <a:lnTo>
                  <a:pt x="62027" y="133640"/>
                </a:lnTo>
                <a:lnTo>
                  <a:pt x="67666" y="111084"/>
                </a:lnTo>
                <a:lnTo>
                  <a:pt x="77252" y="100371"/>
                </a:lnTo>
                <a:lnTo>
                  <a:pt x="92476" y="77816"/>
                </a:lnTo>
                <a:lnTo>
                  <a:pt x="89093" y="68230"/>
                </a:lnTo>
                <a:lnTo>
                  <a:pt x="95296" y="54133"/>
                </a:lnTo>
                <a:lnTo>
                  <a:pt x="88529" y="32705"/>
                </a:lnTo>
                <a:lnTo>
                  <a:pt x="89657" y="20864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3" name="Freeform: Shape 256">
            <a:extLst>
              <a:ext uri="{FF2B5EF4-FFF2-40B4-BE49-F238E27FC236}">
                <a16:creationId xmlns:a16="http://schemas.microsoft.com/office/drawing/2014/main" id="{E24C5E29-85AD-42F1-B4C4-5EF1C8296BDB}"/>
              </a:ext>
            </a:extLst>
          </p:cNvPr>
          <p:cNvSpPr/>
          <p:nvPr/>
        </p:nvSpPr>
        <p:spPr>
          <a:xfrm>
            <a:off x="5713807" y="3717516"/>
            <a:ext cx="176979" cy="147483"/>
          </a:xfrm>
          <a:custGeom>
            <a:avLst/>
            <a:gdLst>
              <a:gd name="connsiteX0" fmla="*/ 184389 w 236829"/>
              <a:gd name="connsiteY0" fmla="*/ 6767 h 197358"/>
              <a:gd name="connsiteX1" fmla="*/ 164089 w 236829"/>
              <a:gd name="connsiteY1" fmla="*/ 6767 h 197358"/>
              <a:gd name="connsiteX2" fmla="*/ 156195 w 236829"/>
              <a:gd name="connsiteY2" fmla="*/ 0 h 197358"/>
              <a:gd name="connsiteX3" fmla="*/ 139278 w 236829"/>
              <a:gd name="connsiteY3" fmla="*/ 5075 h 197358"/>
              <a:gd name="connsiteX4" fmla="*/ 109957 w 236829"/>
              <a:gd name="connsiteY4" fmla="*/ 19736 h 197358"/>
              <a:gd name="connsiteX5" fmla="*/ 103754 w 236829"/>
              <a:gd name="connsiteY5" fmla="*/ 31013 h 197358"/>
              <a:gd name="connsiteX6" fmla="*/ 79507 w 236829"/>
              <a:gd name="connsiteY6" fmla="*/ 47366 h 197358"/>
              <a:gd name="connsiteX7" fmla="*/ 74996 w 236829"/>
              <a:gd name="connsiteY7" fmla="*/ 56388 h 197358"/>
              <a:gd name="connsiteX8" fmla="*/ 62027 w 236829"/>
              <a:gd name="connsiteY8" fmla="*/ 63718 h 197358"/>
              <a:gd name="connsiteX9" fmla="*/ 46802 w 236829"/>
              <a:gd name="connsiteY9" fmla="*/ 58643 h 197358"/>
              <a:gd name="connsiteX10" fmla="*/ 37780 w 236829"/>
              <a:gd name="connsiteY10" fmla="*/ 67666 h 197358"/>
              <a:gd name="connsiteX11" fmla="*/ 33269 w 236829"/>
              <a:gd name="connsiteY11" fmla="*/ 92476 h 197358"/>
              <a:gd name="connsiteX12" fmla="*/ 7894 w 236829"/>
              <a:gd name="connsiteY12" fmla="*/ 121798 h 197358"/>
              <a:gd name="connsiteX13" fmla="*/ 9022 w 236829"/>
              <a:gd name="connsiteY13" fmla="*/ 134203 h 197358"/>
              <a:gd name="connsiteX14" fmla="*/ 0 w 236829"/>
              <a:gd name="connsiteY14" fmla="*/ 149428 h 197358"/>
              <a:gd name="connsiteX15" fmla="*/ 2256 w 236829"/>
              <a:gd name="connsiteY15" fmla="*/ 170292 h 197358"/>
              <a:gd name="connsiteX16" fmla="*/ 16353 w 236829"/>
              <a:gd name="connsiteY16" fmla="*/ 178186 h 197358"/>
              <a:gd name="connsiteX17" fmla="*/ 21991 w 236829"/>
              <a:gd name="connsiteY17" fmla="*/ 190028 h 197358"/>
              <a:gd name="connsiteX18" fmla="*/ 36088 w 236829"/>
              <a:gd name="connsiteY18" fmla="*/ 197358 h 197358"/>
              <a:gd name="connsiteX19" fmla="*/ 46802 w 236829"/>
              <a:gd name="connsiteY19" fmla="*/ 188336 h 197358"/>
              <a:gd name="connsiteX20" fmla="*/ 62027 w 236829"/>
              <a:gd name="connsiteY20" fmla="*/ 187208 h 197358"/>
              <a:gd name="connsiteX21" fmla="*/ 83455 w 236829"/>
              <a:gd name="connsiteY21" fmla="*/ 196230 h 197358"/>
              <a:gd name="connsiteX22" fmla="*/ 78943 w 236829"/>
              <a:gd name="connsiteY22" fmla="*/ 169164 h 197358"/>
              <a:gd name="connsiteX23" fmla="*/ 80071 w 236829"/>
              <a:gd name="connsiteY23" fmla="*/ 148864 h 197358"/>
              <a:gd name="connsiteX24" fmla="*/ 134767 w 236829"/>
              <a:gd name="connsiteY24" fmla="*/ 147173 h 197358"/>
              <a:gd name="connsiteX25" fmla="*/ 148301 w 236829"/>
              <a:gd name="connsiteY25" fmla="*/ 149992 h 197358"/>
              <a:gd name="connsiteX26" fmla="*/ 158450 w 236829"/>
              <a:gd name="connsiteY26" fmla="*/ 144353 h 197358"/>
              <a:gd name="connsiteX27" fmla="*/ 173111 w 236829"/>
              <a:gd name="connsiteY27" fmla="*/ 147173 h 197358"/>
              <a:gd name="connsiteX28" fmla="*/ 200741 w 236829"/>
              <a:gd name="connsiteY28" fmla="*/ 147737 h 197358"/>
              <a:gd name="connsiteX29" fmla="*/ 211455 w 236829"/>
              <a:gd name="connsiteY29" fmla="*/ 143789 h 197358"/>
              <a:gd name="connsiteX30" fmla="*/ 218222 w 236829"/>
              <a:gd name="connsiteY30" fmla="*/ 128001 h 197358"/>
              <a:gd name="connsiteX31" fmla="*/ 233446 w 236829"/>
              <a:gd name="connsiteY31" fmla="*/ 124618 h 197358"/>
              <a:gd name="connsiteX32" fmla="*/ 240213 w 236829"/>
              <a:gd name="connsiteY32" fmla="*/ 113904 h 197358"/>
              <a:gd name="connsiteX33" fmla="*/ 240777 w 236829"/>
              <a:gd name="connsiteY33" fmla="*/ 89093 h 197358"/>
              <a:gd name="connsiteX34" fmla="*/ 204689 w 236829"/>
              <a:gd name="connsiteY34" fmla="*/ 81199 h 197358"/>
              <a:gd name="connsiteX35" fmla="*/ 203561 w 236829"/>
              <a:gd name="connsiteY35" fmla="*/ 63718 h 197358"/>
              <a:gd name="connsiteX36" fmla="*/ 186080 w 236829"/>
              <a:gd name="connsiteY36" fmla="*/ 40599 h 197358"/>
              <a:gd name="connsiteX37" fmla="*/ 181569 w 236829"/>
              <a:gd name="connsiteY37" fmla="*/ 24247 h 197358"/>
              <a:gd name="connsiteX38" fmla="*/ 184389 w 236829"/>
              <a:gd name="connsiteY38" fmla="*/ 6767 h 1973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</a:cxnLst>
            <a:rect l="l" t="t" r="r" b="b"/>
            <a:pathLst>
              <a:path w="236829" h="197358">
                <a:moveTo>
                  <a:pt x="184389" y="6767"/>
                </a:moveTo>
                <a:lnTo>
                  <a:pt x="164089" y="6767"/>
                </a:lnTo>
                <a:lnTo>
                  <a:pt x="156195" y="0"/>
                </a:lnTo>
                <a:lnTo>
                  <a:pt x="139278" y="5075"/>
                </a:lnTo>
                <a:lnTo>
                  <a:pt x="109957" y="19736"/>
                </a:lnTo>
                <a:lnTo>
                  <a:pt x="103754" y="31013"/>
                </a:lnTo>
                <a:lnTo>
                  <a:pt x="79507" y="47366"/>
                </a:lnTo>
                <a:lnTo>
                  <a:pt x="74996" y="56388"/>
                </a:lnTo>
                <a:lnTo>
                  <a:pt x="62027" y="63718"/>
                </a:lnTo>
                <a:lnTo>
                  <a:pt x="46802" y="58643"/>
                </a:lnTo>
                <a:lnTo>
                  <a:pt x="37780" y="67666"/>
                </a:lnTo>
                <a:lnTo>
                  <a:pt x="33269" y="92476"/>
                </a:lnTo>
                <a:lnTo>
                  <a:pt x="7894" y="121798"/>
                </a:lnTo>
                <a:lnTo>
                  <a:pt x="9022" y="134203"/>
                </a:lnTo>
                <a:lnTo>
                  <a:pt x="0" y="149428"/>
                </a:lnTo>
                <a:lnTo>
                  <a:pt x="2256" y="170292"/>
                </a:lnTo>
                <a:lnTo>
                  <a:pt x="16353" y="178186"/>
                </a:lnTo>
                <a:lnTo>
                  <a:pt x="21991" y="190028"/>
                </a:lnTo>
                <a:lnTo>
                  <a:pt x="36088" y="197358"/>
                </a:lnTo>
                <a:lnTo>
                  <a:pt x="46802" y="188336"/>
                </a:lnTo>
                <a:lnTo>
                  <a:pt x="62027" y="187208"/>
                </a:lnTo>
                <a:lnTo>
                  <a:pt x="83455" y="196230"/>
                </a:lnTo>
                <a:lnTo>
                  <a:pt x="78943" y="169164"/>
                </a:lnTo>
                <a:lnTo>
                  <a:pt x="80071" y="148864"/>
                </a:lnTo>
                <a:lnTo>
                  <a:pt x="134767" y="147173"/>
                </a:lnTo>
                <a:lnTo>
                  <a:pt x="148301" y="149992"/>
                </a:lnTo>
                <a:lnTo>
                  <a:pt x="158450" y="144353"/>
                </a:lnTo>
                <a:lnTo>
                  <a:pt x="173111" y="147173"/>
                </a:lnTo>
                <a:lnTo>
                  <a:pt x="200741" y="147737"/>
                </a:lnTo>
                <a:lnTo>
                  <a:pt x="211455" y="143789"/>
                </a:lnTo>
                <a:lnTo>
                  <a:pt x="218222" y="128001"/>
                </a:lnTo>
                <a:lnTo>
                  <a:pt x="233446" y="124618"/>
                </a:lnTo>
                <a:lnTo>
                  <a:pt x="240213" y="113904"/>
                </a:lnTo>
                <a:lnTo>
                  <a:pt x="240777" y="89093"/>
                </a:lnTo>
                <a:lnTo>
                  <a:pt x="204689" y="81199"/>
                </a:lnTo>
                <a:lnTo>
                  <a:pt x="203561" y="63718"/>
                </a:lnTo>
                <a:lnTo>
                  <a:pt x="186080" y="40599"/>
                </a:lnTo>
                <a:lnTo>
                  <a:pt x="181569" y="24247"/>
                </a:lnTo>
                <a:lnTo>
                  <a:pt x="184389" y="6767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4" name="Freeform: Shape 257">
            <a:extLst>
              <a:ext uri="{FF2B5EF4-FFF2-40B4-BE49-F238E27FC236}">
                <a16:creationId xmlns:a16="http://schemas.microsoft.com/office/drawing/2014/main" id="{E91802F8-34EB-41AE-ACCF-F7FC5E474BCC}"/>
              </a:ext>
            </a:extLst>
          </p:cNvPr>
          <p:cNvSpPr/>
          <p:nvPr/>
        </p:nvSpPr>
        <p:spPr>
          <a:xfrm>
            <a:off x="7871688" y="3413701"/>
            <a:ext cx="117986" cy="151696"/>
          </a:xfrm>
          <a:custGeom>
            <a:avLst/>
            <a:gdLst>
              <a:gd name="connsiteX0" fmla="*/ 159578 w 157886"/>
              <a:gd name="connsiteY0" fmla="*/ 157886 h 202996"/>
              <a:gd name="connsiteX1" fmla="*/ 134204 w 157886"/>
              <a:gd name="connsiteY1" fmla="*/ 100934 h 202996"/>
              <a:gd name="connsiteX2" fmla="*/ 125746 w 157886"/>
              <a:gd name="connsiteY2" fmla="*/ 101498 h 202996"/>
              <a:gd name="connsiteX3" fmla="*/ 124618 w 157886"/>
              <a:gd name="connsiteY3" fmla="*/ 124054 h 202996"/>
              <a:gd name="connsiteX4" fmla="*/ 104882 w 157886"/>
              <a:gd name="connsiteY4" fmla="*/ 105446 h 202996"/>
              <a:gd name="connsiteX5" fmla="*/ 111085 w 157886"/>
              <a:gd name="connsiteY5" fmla="*/ 85146 h 202996"/>
              <a:gd name="connsiteX6" fmla="*/ 124618 w 157886"/>
              <a:gd name="connsiteY6" fmla="*/ 82890 h 202996"/>
              <a:gd name="connsiteX7" fmla="*/ 133640 w 157886"/>
              <a:gd name="connsiteY7" fmla="*/ 53005 h 202996"/>
              <a:gd name="connsiteX8" fmla="*/ 114468 w 157886"/>
              <a:gd name="connsiteY8" fmla="*/ 46802 h 202996"/>
              <a:gd name="connsiteX9" fmla="*/ 86274 w 157886"/>
              <a:gd name="connsiteY9" fmla="*/ 47366 h 202996"/>
              <a:gd name="connsiteX10" fmla="*/ 55824 w 157886"/>
              <a:gd name="connsiteY10" fmla="*/ 42291 h 202996"/>
              <a:gd name="connsiteX11" fmla="*/ 49058 w 157886"/>
              <a:gd name="connsiteY11" fmla="*/ 17480 h 202996"/>
              <a:gd name="connsiteX12" fmla="*/ 33833 w 157886"/>
              <a:gd name="connsiteY12" fmla="*/ 15225 h 202996"/>
              <a:gd name="connsiteX13" fmla="*/ 6767 w 157886"/>
              <a:gd name="connsiteY13" fmla="*/ 0 h 202996"/>
              <a:gd name="connsiteX14" fmla="*/ 0 w 157886"/>
              <a:gd name="connsiteY14" fmla="*/ 24247 h 202996"/>
              <a:gd name="connsiteX15" fmla="*/ 25939 w 157886"/>
              <a:gd name="connsiteY15" fmla="*/ 43419 h 202996"/>
              <a:gd name="connsiteX16" fmla="*/ 8458 w 157886"/>
              <a:gd name="connsiteY16" fmla="*/ 56952 h 202996"/>
              <a:gd name="connsiteX17" fmla="*/ 3948 w 157886"/>
              <a:gd name="connsiteY17" fmla="*/ 69921 h 202996"/>
              <a:gd name="connsiteX18" fmla="*/ 24811 w 157886"/>
              <a:gd name="connsiteY18" fmla="*/ 79507 h 202996"/>
              <a:gd name="connsiteX19" fmla="*/ 22555 w 157886"/>
              <a:gd name="connsiteY19" fmla="*/ 100934 h 202996"/>
              <a:gd name="connsiteX20" fmla="*/ 37217 w 157886"/>
              <a:gd name="connsiteY20" fmla="*/ 128001 h 202996"/>
              <a:gd name="connsiteX21" fmla="*/ 46239 w 157886"/>
              <a:gd name="connsiteY21" fmla="*/ 157322 h 202996"/>
              <a:gd name="connsiteX22" fmla="*/ 58644 w 157886"/>
              <a:gd name="connsiteY22" fmla="*/ 160706 h 202996"/>
              <a:gd name="connsiteX23" fmla="*/ 68230 w 157886"/>
              <a:gd name="connsiteY23" fmla="*/ 164653 h 202996"/>
              <a:gd name="connsiteX24" fmla="*/ 71613 w 157886"/>
              <a:gd name="connsiteY24" fmla="*/ 157886 h 202996"/>
              <a:gd name="connsiteX25" fmla="*/ 85710 w 157886"/>
              <a:gd name="connsiteY25" fmla="*/ 165217 h 202996"/>
              <a:gd name="connsiteX26" fmla="*/ 93040 w 157886"/>
              <a:gd name="connsiteY26" fmla="*/ 145481 h 202996"/>
              <a:gd name="connsiteX27" fmla="*/ 87966 w 157886"/>
              <a:gd name="connsiteY27" fmla="*/ 130820 h 202996"/>
              <a:gd name="connsiteX28" fmla="*/ 116724 w 157886"/>
              <a:gd name="connsiteY28" fmla="*/ 131948 h 202996"/>
              <a:gd name="connsiteX29" fmla="*/ 132512 w 157886"/>
              <a:gd name="connsiteY29" fmla="*/ 152812 h 202996"/>
              <a:gd name="connsiteX30" fmla="*/ 140970 w 157886"/>
              <a:gd name="connsiteY30" fmla="*/ 170292 h 202996"/>
              <a:gd name="connsiteX31" fmla="*/ 145481 w 157886"/>
              <a:gd name="connsiteY31" fmla="*/ 188336 h 202996"/>
              <a:gd name="connsiteX32" fmla="*/ 156759 w 157886"/>
              <a:gd name="connsiteY32" fmla="*/ 206944 h 202996"/>
              <a:gd name="connsiteX33" fmla="*/ 150556 w 157886"/>
              <a:gd name="connsiteY33" fmla="*/ 178186 h 202996"/>
              <a:gd name="connsiteX34" fmla="*/ 162398 w 157886"/>
              <a:gd name="connsiteY34" fmla="*/ 183825 h 202996"/>
              <a:gd name="connsiteX35" fmla="*/ 159578 w 157886"/>
              <a:gd name="connsiteY35" fmla="*/ 157886 h 202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157886" h="202996">
                <a:moveTo>
                  <a:pt x="159578" y="157886"/>
                </a:moveTo>
                <a:lnTo>
                  <a:pt x="134204" y="100934"/>
                </a:lnTo>
                <a:lnTo>
                  <a:pt x="125746" y="101498"/>
                </a:lnTo>
                <a:lnTo>
                  <a:pt x="124618" y="124054"/>
                </a:lnTo>
                <a:lnTo>
                  <a:pt x="104882" y="105446"/>
                </a:lnTo>
                <a:lnTo>
                  <a:pt x="111085" y="85146"/>
                </a:lnTo>
                <a:lnTo>
                  <a:pt x="124618" y="82890"/>
                </a:lnTo>
                <a:lnTo>
                  <a:pt x="133640" y="53005"/>
                </a:lnTo>
                <a:lnTo>
                  <a:pt x="114468" y="46802"/>
                </a:lnTo>
                <a:lnTo>
                  <a:pt x="86274" y="47366"/>
                </a:lnTo>
                <a:lnTo>
                  <a:pt x="55824" y="42291"/>
                </a:lnTo>
                <a:lnTo>
                  <a:pt x="49058" y="17480"/>
                </a:lnTo>
                <a:lnTo>
                  <a:pt x="33833" y="15225"/>
                </a:lnTo>
                <a:lnTo>
                  <a:pt x="6767" y="0"/>
                </a:lnTo>
                <a:lnTo>
                  <a:pt x="0" y="24247"/>
                </a:lnTo>
                <a:lnTo>
                  <a:pt x="25939" y="43419"/>
                </a:lnTo>
                <a:lnTo>
                  <a:pt x="8458" y="56952"/>
                </a:lnTo>
                <a:lnTo>
                  <a:pt x="3948" y="69921"/>
                </a:lnTo>
                <a:lnTo>
                  <a:pt x="24811" y="79507"/>
                </a:lnTo>
                <a:lnTo>
                  <a:pt x="22555" y="100934"/>
                </a:lnTo>
                <a:lnTo>
                  <a:pt x="37217" y="128001"/>
                </a:lnTo>
                <a:lnTo>
                  <a:pt x="46239" y="157322"/>
                </a:lnTo>
                <a:lnTo>
                  <a:pt x="58644" y="160706"/>
                </a:lnTo>
                <a:lnTo>
                  <a:pt x="68230" y="164653"/>
                </a:lnTo>
                <a:lnTo>
                  <a:pt x="71613" y="157886"/>
                </a:lnTo>
                <a:lnTo>
                  <a:pt x="85710" y="165217"/>
                </a:lnTo>
                <a:lnTo>
                  <a:pt x="93040" y="145481"/>
                </a:lnTo>
                <a:lnTo>
                  <a:pt x="87966" y="130820"/>
                </a:lnTo>
                <a:lnTo>
                  <a:pt x="116724" y="131948"/>
                </a:lnTo>
                <a:lnTo>
                  <a:pt x="132512" y="152812"/>
                </a:lnTo>
                <a:lnTo>
                  <a:pt x="140970" y="170292"/>
                </a:lnTo>
                <a:lnTo>
                  <a:pt x="145481" y="188336"/>
                </a:lnTo>
                <a:lnTo>
                  <a:pt x="156759" y="206944"/>
                </a:lnTo>
                <a:lnTo>
                  <a:pt x="150556" y="178186"/>
                </a:lnTo>
                <a:lnTo>
                  <a:pt x="162398" y="183825"/>
                </a:lnTo>
                <a:lnTo>
                  <a:pt x="159578" y="157886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5" name="Freeform: Shape 258">
            <a:extLst>
              <a:ext uri="{FF2B5EF4-FFF2-40B4-BE49-F238E27FC236}">
                <a16:creationId xmlns:a16="http://schemas.microsoft.com/office/drawing/2014/main" id="{571CA67E-F6D1-4276-82C5-B01F2CC82B30}"/>
              </a:ext>
            </a:extLst>
          </p:cNvPr>
          <p:cNvSpPr/>
          <p:nvPr/>
        </p:nvSpPr>
        <p:spPr>
          <a:xfrm>
            <a:off x="6321013" y="2937965"/>
            <a:ext cx="130628" cy="75848"/>
          </a:xfrm>
          <a:custGeom>
            <a:avLst/>
            <a:gdLst>
              <a:gd name="connsiteX0" fmla="*/ 177058 w 174802"/>
              <a:gd name="connsiteY0" fmla="*/ 18608 h 101498"/>
              <a:gd name="connsiteX1" fmla="*/ 160142 w 174802"/>
              <a:gd name="connsiteY1" fmla="*/ 14661 h 101498"/>
              <a:gd name="connsiteX2" fmla="*/ 137587 w 174802"/>
              <a:gd name="connsiteY2" fmla="*/ 2255 h 101498"/>
              <a:gd name="connsiteX3" fmla="*/ 104882 w 174802"/>
              <a:gd name="connsiteY3" fmla="*/ 10150 h 101498"/>
              <a:gd name="connsiteX4" fmla="*/ 91913 w 174802"/>
              <a:gd name="connsiteY4" fmla="*/ 19172 h 101498"/>
              <a:gd name="connsiteX5" fmla="*/ 49622 w 174802"/>
              <a:gd name="connsiteY5" fmla="*/ 17480 h 101498"/>
              <a:gd name="connsiteX6" fmla="*/ 27067 w 174802"/>
              <a:gd name="connsiteY6" fmla="*/ 11842 h 101498"/>
              <a:gd name="connsiteX7" fmla="*/ 16353 w 174802"/>
              <a:gd name="connsiteY7" fmla="*/ 14661 h 101498"/>
              <a:gd name="connsiteX8" fmla="*/ 6203 w 174802"/>
              <a:gd name="connsiteY8" fmla="*/ 0 h 101498"/>
              <a:gd name="connsiteX9" fmla="*/ 0 w 174802"/>
              <a:gd name="connsiteY9" fmla="*/ 7894 h 101498"/>
              <a:gd name="connsiteX10" fmla="*/ 3948 w 174802"/>
              <a:gd name="connsiteY10" fmla="*/ 20864 h 101498"/>
              <a:gd name="connsiteX11" fmla="*/ 19736 w 174802"/>
              <a:gd name="connsiteY11" fmla="*/ 35524 h 101498"/>
              <a:gd name="connsiteX12" fmla="*/ 10150 w 174802"/>
              <a:gd name="connsiteY12" fmla="*/ 46238 h 101498"/>
              <a:gd name="connsiteX13" fmla="*/ 6203 w 174802"/>
              <a:gd name="connsiteY13" fmla="*/ 57516 h 101498"/>
              <a:gd name="connsiteX14" fmla="*/ 9586 w 174802"/>
              <a:gd name="connsiteY14" fmla="*/ 61463 h 101498"/>
              <a:gd name="connsiteX15" fmla="*/ 5639 w 174802"/>
              <a:gd name="connsiteY15" fmla="*/ 66538 h 101498"/>
              <a:gd name="connsiteX16" fmla="*/ 21428 w 174802"/>
              <a:gd name="connsiteY16" fmla="*/ 77815 h 101498"/>
              <a:gd name="connsiteX17" fmla="*/ 25939 w 174802"/>
              <a:gd name="connsiteY17" fmla="*/ 100934 h 101498"/>
              <a:gd name="connsiteX18" fmla="*/ 47366 w 174802"/>
              <a:gd name="connsiteY18" fmla="*/ 102062 h 101498"/>
              <a:gd name="connsiteX19" fmla="*/ 69358 w 174802"/>
              <a:gd name="connsiteY19" fmla="*/ 92476 h 101498"/>
              <a:gd name="connsiteX20" fmla="*/ 91349 w 174802"/>
              <a:gd name="connsiteY20" fmla="*/ 104318 h 101498"/>
              <a:gd name="connsiteX21" fmla="*/ 117287 w 174802"/>
              <a:gd name="connsiteY21" fmla="*/ 100934 h 101498"/>
              <a:gd name="connsiteX22" fmla="*/ 115595 w 174802"/>
              <a:gd name="connsiteY22" fmla="*/ 84018 h 101498"/>
              <a:gd name="connsiteX23" fmla="*/ 143789 w 174802"/>
              <a:gd name="connsiteY23" fmla="*/ 72740 h 101498"/>
              <a:gd name="connsiteX24" fmla="*/ 169164 w 174802"/>
              <a:gd name="connsiteY24" fmla="*/ 77252 h 101498"/>
              <a:gd name="connsiteX25" fmla="*/ 157323 w 174802"/>
              <a:gd name="connsiteY25" fmla="*/ 57516 h 101498"/>
              <a:gd name="connsiteX26" fmla="*/ 164653 w 174802"/>
              <a:gd name="connsiteY26" fmla="*/ 32705 h 101498"/>
              <a:gd name="connsiteX27" fmla="*/ 177058 w 174802"/>
              <a:gd name="connsiteY27" fmla="*/ 18608 h 101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174802" h="101498">
                <a:moveTo>
                  <a:pt x="177058" y="18608"/>
                </a:moveTo>
                <a:lnTo>
                  <a:pt x="160142" y="14661"/>
                </a:lnTo>
                <a:lnTo>
                  <a:pt x="137587" y="2255"/>
                </a:lnTo>
                <a:lnTo>
                  <a:pt x="104882" y="10150"/>
                </a:lnTo>
                <a:lnTo>
                  <a:pt x="91913" y="19172"/>
                </a:lnTo>
                <a:lnTo>
                  <a:pt x="49622" y="17480"/>
                </a:lnTo>
                <a:lnTo>
                  <a:pt x="27067" y="11842"/>
                </a:lnTo>
                <a:lnTo>
                  <a:pt x="16353" y="14661"/>
                </a:lnTo>
                <a:lnTo>
                  <a:pt x="6203" y="0"/>
                </a:lnTo>
                <a:lnTo>
                  <a:pt x="0" y="7894"/>
                </a:lnTo>
                <a:lnTo>
                  <a:pt x="3948" y="20864"/>
                </a:lnTo>
                <a:lnTo>
                  <a:pt x="19736" y="35524"/>
                </a:lnTo>
                <a:lnTo>
                  <a:pt x="10150" y="46238"/>
                </a:lnTo>
                <a:lnTo>
                  <a:pt x="6203" y="57516"/>
                </a:lnTo>
                <a:lnTo>
                  <a:pt x="9586" y="61463"/>
                </a:lnTo>
                <a:lnTo>
                  <a:pt x="5639" y="66538"/>
                </a:lnTo>
                <a:lnTo>
                  <a:pt x="21428" y="77815"/>
                </a:lnTo>
                <a:lnTo>
                  <a:pt x="25939" y="100934"/>
                </a:lnTo>
                <a:lnTo>
                  <a:pt x="47366" y="102062"/>
                </a:lnTo>
                <a:lnTo>
                  <a:pt x="69358" y="92476"/>
                </a:lnTo>
                <a:lnTo>
                  <a:pt x="91349" y="104318"/>
                </a:lnTo>
                <a:lnTo>
                  <a:pt x="117287" y="100934"/>
                </a:lnTo>
                <a:lnTo>
                  <a:pt x="115595" y="84018"/>
                </a:lnTo>
                <a:lnTo>
                  <a:pt x="143789" y="72740"/>
                </a:lnTo>
                <a:lnTo>
                  <a:pt x="169164" y="77252"/>
                </a:lnTo>
                <a:lnTo>
                  <a:pt x="157323" y="57516"/>
                </a:lnTo>
                <a:lnTo>
                  <a:pt x="164653" y="32705"/>
                </a:lnTo>
                <a:lnTo>
                  <a:pt x="177058" y="18608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Freeform: Shape 259">
            <a:extLst>
              <a:ext uri="{FF2B5EF4-FFF2-40B4-BE49-F238E27FC236}">
                <a16:creationId xmlns:a16="http://schemas.microsoft.com/office/drawing/2014/main" id="{BAB54CD3-6727-4F9A-8B45-72699CF63475}"/>
              </a:ext>
            </a:extLst>
          </p:cNvPr>
          <p:cNvSpPr/>
          <p:nvPr/>
        </p:nvSpPr>
        <p:spPr>
          <a:xfrm>
            <a:off x="6177324" y="2912261"/>
            <a:ext cx="80062" cy="63207"/>
          </a:xfrm>
          <a:custGeom>
            <a:avLst/>
            <a:gdLst>
              <a:gd name="connsiteX0" fmla="*/ 34397 w 107137"/>
              <a:gd name="connsiteY0" fmla="*/ 0 h 84582"/>
              <a:gd name="connsiteX1" fmla="*/ 21428 w 107137"/>
              <a:gd name="connsiteY1" fmla="*/ 564 h 84582"/>
              <a:gd name="connsiteX2" fmla="*/ 15789 w 107137"/>
              <a:gd name="connsiteY2" fmla="*/ 7894 h 84582"/>
              <a:gd name="connsiteX3" fmla="*/ 5075 w 107137"/>
              <a:gd name="connsiteY3" fmla="*/ 0 h 84582"/>
              <a:gd name="connsiteX4" fmla="*/ 0 w 107137"/>
              <a:gd name="connsiteY4" fmla="*/ 14097 h 84582"/>
              <a:gd name="connsiteX5" fmla="*/ 15225 w 107137"/>
              <a:gd name="connsiteY5" fmla="*/ 30449 h 84582"/>
              <a:gd name="connsiteX6" fmla="*/ 22555 w 107137"/>
              <a:gd name="connsiteY6" fmla="*/ 41163 h 84582"/>
              <a:gd name="connsiteX7" fmla="*/ 36652 w 107137"/>
              <a:gd name="connsiteY7" fmla="*/ 54133 h 84582"/>
              <a:gd name="connsiteX8" fmla="*/ 47930 w 107137"/>
              <a:gd name="connsiteY8" fmla="*/ 62027 h 84582"/>
              <a:gd name="connsiteX9" fmla="*/ 60336 w 107137"/>
              <a:gd name="connsiteY9" fmla="*/ 76124 h 84582"/>
              <a:gd name="connsiteX10" fmla="*/ 86838 w 107137"/>
              <a:gd name="connsiteY10" fmla="*/ 89657 h 84582"/>
              <a:gd name="connsiteX11" fmla="*/ 89093 w 107137"/>
              <a:gd name="connsiteY11" fmla="*/ 70485 h 84582"/>
              <a:gd name="connsiteX12" fmla="*/ 97552 w 107137"/>
              <a:gd name="connsiteY12" fmla="*/ 62591 h 84582"/>
              <a:gd name="connsiteX13" fmla="*/ 102627 w 107137"/>
              <a:gd name="connsiteY13" fmla="*/ 59207 h 84582"/>
              <a:gd name="connsiteX14" fmla="*/ 109393 w 107137"/>
              <a:gd name="connsiteY14" fmla="*/ 57516 h 84582"/>
              <a:gd name="connsiteX15" fmla="*/ 112212 w 107137"/>
              <a:gd name="connsiteY15" fmla="*/ 41163 h 84582"/>
              <a:gd name="connsiteX16" fmla="*/ 96988 w 107137"/>
              <a:gd name="connsiteY16" fmla="*/ 28194 h 84582"/>
              <a:gd name="connsiteX17" fmla="*/ 102627 w 107137"/>
              <a:gd name="connsiteY17" fmla="*/ 12969 h 84582"/>
              <a:gd name="connsiteX18" fmla="*/ 92476 w 107137"/>
              <a:gd name="connsiteY18" fmla="*/ 12969 h 84582"/>
              <a:gd name="connsiteX19" fmla="*/ 92476 w 107137"/>
              <a:gd name="connsiteY19" fmla="*/ 12969 h 84582"/>
              <a:gd name="connsiteX20" fmla="*/ 78943 w 107137"/>
              <a:gd name="connsiteY20" fmla="*/ 5075 h 84582"/>
              <a:gd name="connsiteX21" fmla="*/ 59207 w 107137"/>
              <a:gd name="connsiteY21" fmla="*/ 5639 h 84582"/>
              <a:gd name="connsiteX22" fmla="*/ 34397 w 107137"/>
              <a:gd name="connsiteY22" fmla="*/ 0 h 84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07137" h="84582">
                <a:moveTo>
                  <a:pt x="34397" y="0"/>
                </a:moveTo>
                <a:lnTo>
                  <a:pt x="21428" y="564"/>
                </a:lnTo>
                <a:lnTo>
                  <a:pt x="15789" y="7894"/>
                </a:lnTo>
                <a:lnTo>
                  <a:pt x="5075" y="0"/>
                </a:lnTo>
                <a:lnTo>
                  <a:pt x="0" y="14097"/>
                </a:lnTo>
                <a:lnTo>
                  <a:pt x="15225" y="30449"/>
                </a:lnTo>
                <a:lnTo>
                  <a:pt x="22555" y="41163"/>
                </a:lnTo>
                <a:lnTo>
                  <a:pt x="36652" y="54133"/>
                </a:lnTo>
                <a:lnTo>
                  <a:pt x="47930" y="62027"/>
                </a:lnTo>
                <a:lnTo>
                  <a:pt x="60336" y="76124"/>
                </a:lnTo>
                <a:lnTo>
                  <a:pt x="86838" y="89657"/>
                </a:lnTo>
                <a:lnTo>
                  <a:pt x="89093" y="70485"/>
                </a:lnTo>
                <a:lnTo>
                  <a:pt x="97552" y="62591"/>
                </a:lnTo>
                <a:lnTo>
                  <a:pt x="102627" y="59207"/>
                </a:lnTo>
                <a:lnTo>
                  <a:pt x="109393" y="57516"/>
                </a:lnTo>
                <a:lnTo>
                  <a:pt x="112212" y="41163"/>
                </a:lnTo>
                <a:lnTo>
                  <a:pt x="96988" y="28194"/>
                </a:lnTo>
                <a:lnTo>
                  <a:pt x="102627" y="12969"/>
                </a:lnTo>
                <a:lnTo>
                  <a:pt x="92476" y="12969"/>
                </a:lnTo>
                <a:lnTo>
                  <a:pt x="92476" y="12969"/>
                </a:lnTo>
                <a:lnTo>
                  <a:pt x="78943" y="5075"/>
                </a:lnTo>
                <a:lnTo>
                  <a:pt x="59207" y="5639"/>
                </a:lnTo>
                <a:lnTo>
                  <a:pt x="34397" y="0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7" name="Freeform: Shape 260">
            <a:extLst>
              <a:ext uri="{FF2B5EF4-FFF2-40B4-BE49-F238E27FC236}">
                <a16:creationId xmlns:a16="http://schemas.microsoft.com/office/drawing/2014/main" id="{60C86DB4-A165-4E6D-B4E8-D16123BC185B}"/>
              </a:ext>
            </a:extLst>
          </p:cNvPr>
          <p:cNvSpPr/>
          <p:nvPr/>
        </p:nvSpPr>
        <p:spPr>
          <a:xfrm>
            <a:off x="6310901" y="2629937"/>
            <a:ext cx="185407" cy="122200"/>
          </a:xfrm>
          <a:custGeom>
            <a:avLst/>
            <a:gdLst>
              <a:gd name="connsiteX0" fmla="*/ 140970 w 248107"/>
              <a:gd name="connsiteY0" fmla="*/ 8458 h 163525"/>
              <a:gd name="connsiteX1" fmla="*/ 111648 w 248107"/>
              <a:gd name="connsiteY1" fmla="*/ 0 h 163525"/>
              <a:gd name="connsiteX2" fmla="*/ 85709 w 248107"/>
              <a:gd name="connsiteY2" fmla="*/ 12969 h 163525"/>
              <a:gd name="connsiteX3" fmla="*/ 71049 w 248107"/>
              <a:gd name="connsiteY3" fmla="*/ 18608 h 163525"/>
              <a:gd name="connsiteX4" fmla="*/ 76124 w 248107"/>
              <a:gd name="connsiteY4" fmla="*/ 33269 h 163525"/>
              <a:gd name="connsiteX5" fmla="*/ 56388 w 248107"/>
              <a:gd name="connsiteY5" fmla="*/ 44547 h 163525"/>
              <a:gd name="connsiteX6" fmla="*/ 53569 w 248107"/>
              <a:gd name="connsiteY6" fmla="*/ 63718 h 163525"/>
              <a:gd name="connsiteX7" fmla="*/ 26502 w 248107"/>
              <a:gd name="connsiteY7" fmla="*/ 76124 h 163525"/>
              <a:gd name="connsiteX8" fmla="*/ 564 w 248107"/>
              <a:gd name="connsiteY8" fmla="*/ 76124 h 163525"/>
              <a:gd name="connsiteX9" fmla="*/ 3947 w 248107"/>
              <a:gd name="connsiteY9" fmla="*/ 91349 h 163525"/>
              <a:gd name="connsiteX10" fmla="*/ 13533 w 248107"/>
              <a:gd name="connsiteY10" fmla="*/ 104318 h 163525"/>
              <a:gd name="connsiteX11" fmla="*/ 15224 w 248107"/>
              <a:gd name="connsiteY11" fmla="*/ 117851 h 163525"/>
              <a:gd name="connsiteX12" fmla="*/ 0 w 248107"/>
              <a:gd name="connsiteY12" fmla="*/ 124618 h 163525"/>
              <a:gd name="connsiteX13" fmla="*/ 10713 w 248107"/>
              <a:gd name="connsiteY13" fmla="*/ 140970 h 163525"/>
              <a:gd name="connsiteX14" fmla="*/ 13533 w 248107"/>
              <a:gd name="connsiteY14" fmla="*/ 156195 h 163525"/>
              <a:gd name="connsiteX15" fmla="*/ 25938 w 248107"/>
              <a:gd name="connsiteY15" fmla="*/ 154503 h 163525"/>
              <a:gd name="connsiteX16" fmla="*/ 39472 w 248107"/>
              <a:gd name="connsiteY16" fmla="*/ 145481 h 163525"/>
              <a:gd name="connsiteX17" fmla="*/ 60335 w 248107"/>
              <a:gd name="connsiteY17" fmla="*/ 144353 h 163525"/>
              <a:gd name="connsiteX18" fmla="*/ 88529 w 248107"/>
              <a:gd name="connsiteY18" fmla="*/ 147173 h 163525"/>
              <a:gd name="connsiteX19" fmla="*/ 120106 w 248107"/>
              <a:gd name="connsiteY19" fmla="*/ 155631 h 163525"/>
              <a:gd name="connsiteX20" fmla="*/ 141534 w 248107"/>
              <a:gd name="connsiteY20" fmla="*/ 156195 h 163525"/>
              <a:gd name="connsiteX21" fmla="*/ 152811 w 248107"/>
              <a:gd name="connsiteY21" fmla="*/ 161270 h 163525"/>
              <a:gd name="connsiteX22" fmla="*/ 161833 w 248107"/>
              <a:gd name="connsiteY22" fmla="*/ 155067 h 163525"/>
              <a:gd name="connsiteX23" fmla="*/ 170291 w 248107"/>
              <a:gd name="connsiteY23" fmla="*/ 163525 h 163525"/>
              <a:gd name="connsiteX24" fmla="*/ 194539 w 248107"/>
              <a:gd name="connsiteY24" fmla="*/ 161834 h 163525"/>
              <a:gd name="connsiteX25" fmla="*/ 205816 w 248107"/>
              <a:gd name="connsiteY25" fmla="*/ 165217 h 163525"/>
              <a:gd name="connsiteX26" fmla="*/ 204688 w 248107"/>
              <a:gd name="connsiteY26" fmla="*/ 147737 h 163525"/>
              <a:gd name="connsiteX27" fmla="*/ 211455 w 248107"/>
              <a:gd name="connsiteY27" fmla="*/ 139842 h 163525"/>
              <a:gd name="connsiteX28" fmla="*/ 234574 w 248107"/>
              <a:gd name="connsiteY28" fmla="*/ 138151 h 163525"/>
              <a:gd name="connsiteX29" fmla="*/ 234574 w 248107"/>
              <a:gd name="connsiteY29" fmla="*/ 138151 h 163525"/>
              <a:gd name="connsiteX30" fmla="*/ 223296 w 248107"/>
              <a:gd name="connsiteY30" fmla="*/ 116159 h 163525"/>
              <a:gd name="connsiteX31" fmla="*/ 214838 w 248107"/>
              <a:gd name="connsiteY31" fmla="*/ 104882 h 163525"/>
              <a:gd name="connsiteX32" fmla="*/ 219349 w 248107"/>
              <a:gd name="connsiteY32" fmla="*/ 101498 h 163525"/>
              <a:gd name="connsiteX33" fmla="*/ 241340 w 248107"/>
              <a:gd name="connsiteY33" fmla="*/ 102626 h 163525"/>
              <a:gd name="connsiteX34" fmla="*/ 250362 w 248107"/>
              <a:gd name="connsiteY34" fmla="*/ 95296 h 163525"/>
              <a:gd name="connsiteX35" fmla="*/ 240776 w 248107"/>
              <a:gd name="connsiteY35" fmla="*/ 86274 h 163525"/>
              <a:gd name="connsiteX36" fmla="*/ 221604 w 248107"/>
              <a:gd name="connsiteY36" fmla="*/ 80071 h 163525"/>
              <a:gd name="connsiteX37" fmla="*/ 222168 w 248107"/>
              <a:gd name="connsiteY37" fmla="*/ 73868 h 163525"/>
              <a:gd name="connsiteX38" fmla="*/ 209763 w 248107"/>
              <a:gd name="connsiteY38" fmla="*/ 67666 h 163525"/>
              <a:gd name="connsiteX39" fmla="*/ 188900 w 248107"/>
              <a:gd name="connsiteY39" fmla="*/ 45674 h 163525"/>
              <a:gd name="connsiteX40" fmla="*/ 192283 w 248107"/>
              <a:gd name="connsiteY40" fmla="*/ 36652 h 163525"/>
              <a:gd name="connsiteX41" fmla="*/ 186644 w 248107"/>
              <a:gd name="connsiteY41" fmla="*/ 20300 h 163525"/>
              <a:gd name="connsiteX42" fmla="*/ 159578 w 248107"/>
              <a:gd name="connsiteY42" fmla="*/ 12405 h 163525"/>
              <a:gd name="connsiteX43" fmla="*/ 146609 w 248107"/>
              <a:gd name="connsiteY43" fmla="*/ 16353 h 163525"/>
              <a:gd name="connsiteX44" fmla="*/ 140970 w 248107"/>
              <a:gd name="connsiteY44" fmla="*/ 8458 h 163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</a:cxnLst>
            <a:rect l="l" t="t" r="r" b="b"/>
            <a:pathLst>
              <a:path w="248107" h="163525">
                <a:moveTo>
                  <a:pt x="140970" y="8458"/>
                </a:moveTo>
                <a:lnTo>
                  <a:pt x="111648" y="0"/>
                </a:lnTo>
                <a:lnTo>
                  <a:pt x="85709" y="12969"/>
                </a:lnTo>
                <a:lnTo>
                  <a:pt x="71049" y="18608"/>
                </a:lnTo>
                <a:lnTo>
                  <a:pt x="76124" y="33269"/>
                </a:lnTo>
                <a:lnTo>
                  <a:pt x="56388" y="44547"/>
                </a:lnTo>
                <a:lnTo>
                  <a:pt x="53569" y="63718"/>
                </a:lnTo>
                <a:lnTo>
                  <a:pt x="26502" y="76124"/>
                </a:lnTo>
                <a:lnTo>
                  <a:pt x="564" y="76124"/>
                </a:lnTo>
                <a:lnTo>
                  <a:pt x="3947" y="91349"/>
                </a:lnTo>
                <a:lnTo>
                  <a:pt x="13533" y="104318"/>
                </a:lnTo>
                <a:lnTo>
                  <a:pt x="15224" y="117851"/>
                </a:lnTo>
                <a:lnTo>
                  <a:pt x="0" y="124618"/>
                </a:lnTo>
                <a:lnTo>
                  <a:pt x="10713" y="140970"/>
                </a:lnTo>
                <a:lnTo>
                  <a:pt x="13533" y="156195"/>
                </a:lnTo>
                <a:lnTo>
                  <a:pt x="25938" y="154503"/>
                </a:lnTo>
                <a:lnTo>
                  <a:pt x="39472" y="145481"/>
                </a:lnTo>
                <a:lnTo>
                  <a:pt x="60335" y="144353"/>
                </a:lnTo>
                <a:lnTo>
                  <a:pt x="88529" y="147173"/>
                </a:lnTo>
                <a:lnTo>
                  <a:pt x="120106" y="155631"/>
                </a:lnTo>
                <a:lnTo>
                  <a:pt x="141534" y="156195"/>
                </a:lnTo>
                <a:lnTo>
                  <a:pt x="152811" y="161270"/>
                </a:lnTo>
                <a:lnTo>
                  <a:pt x="161833" y="155067"/>
                </a:lnTo>
                <a:lnTo>
                  <a:pt x="170291" y="163525"/>
                </a:lnTo>
                <a:lnTo>
                  <a:pt x="194539" y="161834"/>
                </a:lnTo>
                <a:lnTo>
                  <a:pt x="205816" y="165217"/>
                </a:lnTo>
                <a:lnTo>
                  <a:pt x="204688" y="147737"/>
                </a:lnTo>
                <a:lnTo>
                  <a:pt x="211455" y="139842"/>
                </a:lnTo>
                <a:lnTo>
                  <a:pt x="234574" y="138151"/>
                </a:lnTo>
                <a:lnTo>
                  <a:pt x="234574" y="138151"/>
                </a:lnTo>
                <a:lnTo>
                  <a:pt x="223296" y="116159"/>
                </a:lnTo>
                <a:lnTo>
                  <a:pt x="214838" y="104882"/>
                </a:lnTo>
                <a:lnTo>
                  <a:pt x="219349" y="101498"/>
                </a:lnTo>
                <a:lnTo>
                  <a:pt x="241340" y="102626"/>
                </a:lnTo>
                <a:lnTo>
                  <a:pt x="250362" y="95296"/>
                </a:lnTo>
                <a:lnTo>
                  <a:pt x="240776" y="86274"/>
                </a:lnTo>
                <a:lnTo>
                  <a:pt x="221604" y="80071"/>
                </a:lnTo>
                <a:lnTo>
                  <a:pt x="222168" y="73868"/>
                </a:lnTo>
                <a:lnTo>
                  <a:pt x="209763" y="67666"/>
                </a:lnTo>
                <a:lnTo>
                  <a:pt x="188900" y="45674"/>
                </a:lnTo>
                <a:lnTo>
                  <a:pt x="192283" y="36652"/>
                </a:lnTo>
                <a:lnTo>
                  <a:pt x="186644" y="20300"/>
                </a:lnTo>
                <a:lnTo>
                  <a:pt x="159578" y="12405"/>
                </a:lnTo>
                <a:lnTo>
                  <a:pt x="146609" y="16353"/>
                </a:lnTo>
                <a:lnTo>
                  <a:pt x="140970" y="8458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" name="Freeform: Shape 261">
            <a:extLst>
              <a:ext uri="{FF2B5EF4-FFF2-40B4-BE49-F238E27FC236}">
                <a16:creationId xmlns:a16="http://schemas.microsoft.com/office/drawing/2014/main" id="{F1F3729B-063A-48A3-B341-5E6FE8592F93}"/>
              </a:ext>
            </a:extLst>
          </p:cNvPr>
          <p:cNvSpPr/>
          <p:nvPr/>
        </p:nvSpPr>
        <p:spPr>
          <a:xfrm>
            <a:off x="3753553" y="3626920"/>
            <a:ext cx="33710" cy="67421"/>
          </a:xfrm>
          <a:custGeom>
            <a:avLst/>
            <a:gdLst>
              <a:gd name="connsiteX0" fmla="*/ 9022 w 45110"/>
              <a:gd name="connsiteY0" fmla="*/ 93604 h 90220"/>
              <a:gd name="connsiteX1" fmla="*/ 16916 w 45110"/>
              <a:gd name="connsiteY1" fmla="*/ 81199 h 90220"/>
              <a:gd name="connsiteX2" fmla="*/ 22555 w 45110"/>
              <a:gd name="connsiteY2" fmla="*/ 80071 h 90220"/>
              <a:gd name="connsiteX3" fmla="*/ 29886 w 45110"/>
              <a:gd name="connsiteY3" fmla="*/ 70485 h 90220"/>
              <a:gd name="connsiteX4" fmla="*/ 35525 w 45110"/>
              <a:gd name="connsiteY4" fmla="*/ 52441 h 90220"/>
              <a:gd name="connsiteX5" fmla="*/ 33833 w 45110"/>
              <a:gd name="connsiteY5" fmla="*/ 49058 h 90220"/>
              <a:gd name="connsiteX6" fmla="*/ 38908 w 45110"/>
              <a:gd name="connsiteY6" fmla="*/ 36088 h 90220"/>
              <a:gd name="connsiteX7" fmla="*/ 36652 w 45110"/>
              <a:gd name="connsiteY7" fmla="*/ 30449 h 90220"/>
              <a:gd name="connsiteX8" fmla="*/ 43983 w 45110"/>
              <a:gd name="connsiteY8" fmla="*/ 15225 h 90220"/>
              <a:gd name="connsiteX9" fmla="*/ 45674 w 45110"/>
              <a:gd name="connsiteY9" fmla="*/ 5075 h 90220"/>
              <a:gd name="connsiteX10" fmla="*/ 39472 w 45110"/>
              <a:gd name="connsiteY10" fmla="*/ 5075 h 90220"/>
              <a:gd name="connsiteX11" fmla="*/ 40036 w 45110"/>
              <a:gd name="connsiteY11" fmla="*/ 0 h 90220"/>
              <a:gd name="connsiteX12" fmla="*/ 34397 w 45110"/>
              <a:gd name="connsiteY12" fmla="*/ 0 h 90220"/>
              <a:gd name="connsiteX13" fmla="*/ 20300 w 45110"/>
              <a:gd name="connsiteY13" fmla="*/ 21991 h 90220"/>
              <a:gd name="connsiteX14" fmla="*/ 15225 w 45110"/>
              <a:gd name="connsiteY14" fmla="*/ 17480 h 90220"/>
              <a:gd name="connsiteX15" fmla="*/ 11278 w 45110"/>
              <a:gd name="connsiteY15" fmla="*/ 19172 h 90220"/>
              <a:gd name="connsiteX16" fmla="*/ 10714 w 45110"/>
              <a:gd name="connsiteY16" fmla="*/ 24811 h 90220"/>
              <a:gd name="connsiteX17" fmla="*/ 6767 w 45110"/>
              <a:gd name="connsiteY17" fmla="*/ 53005 h 90220"/>
              <a:gd name="connsiteX18" fmla="*/ 0 w 45110"/>
              <a:gd name="connsiteY18" fmla="*/ 93604 h 90220"/>
              <a:gd name="connsiteX19" fmla="*/ 9022 w 45110"/>
              <a:gd name="connsiteY19" fmla="*/ 93604 h 90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5110" h="90220">
                <a:moveTo>
                  <a:pt x="9022" y="93604"/>
                </a:moveTo>
                <a:lnTo>
                  <a:pt x="16916" y="81199"/>
                </a:lnTo>
                <a:lnTo>
                  <a:pt x="22555" y="80071"/>
                </a:lnTo>
                <a:lnTo>
                  <a:pt x="29886" y="70485"/>
                </a:lnTo>
                <a:lnTo>
                  <a:pt x="35525" y="52441"/>
                </a:lnTo>
                <a:lnTo>
                  <a:pt x="33833" y="49058"/>
                </a:lnTo>
                <a:lnTo>
                  <a:pt x="38908" y="36088"/>
                </a:lnTo>
                <a:lnTo>
                  <a:pt x="36652" y="30449"/>
                </a:lnTo>
                <a:lnTo>
                  <a:pt x="43983" y="15225"/>
                </a:lnTo>
                <a:lnTo>
                  <a:pt x="45674" y="5075"/>
                </a:lnTo>
                <a:lnTo>
                  <a:pt x="39472" y="5075"/>
                </a:lnTo>
                <a:lnTo>
                  <a:pt x="40036" y="0"/>
                </a:lnTo>
                <a:lnTo>
                  <a:pt x="34397" y="0"/>
                </a:lnTo>
                <a:lnTo>
                  <a:pt x="20300" y="21991"/>
                </a:lnTo>
                <a:lnTo>
                  <a:pt x="15225" y="17480"/>
                </a:lnTo>
                <a:lnTo>
                  <a:pt x="11278" y="19172"/>
                </a:lnTo>
                <a:lnTo>
                  <a:pt x="10714" y="24811"/>
                </a:lnTo>
                <a:lnTo>
                  <a:pt x="6767" y="53005"/>
                </a:lnTo>
                <a:lnTo>
                  <a:pt x="0" y="93604"/>
                </a:lnTo>
                <a:lnTo>
                  <a:pt x="9022" y="93604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9" name="Freeform: Shape 262">
            <a:extLst>
              <a:ext uri="{FF2B5EF4-FFF2-40B4-BE49-F238E27FC236}">
                <a16:creationId xmlns:a16="http://schemas.microsoft.com/office/drawing/2014/main" id="{6B42C5DD-5522-462C-9A5D-07961640F53C}"/>
              </a:ext>
            </a:extLst>
          </p:cNvPr>
          <p:cNvSpPr/>
          <p:nvPr/>
        </p:nvSpPr>
        <p:spPr>
          <a:xfrm>
            <a:off x="4204850" y="4384559"/>
            <a:ext cx="294965" cy="349744"/>
          </a:xfrm>
          <a:custGeom>
            <a:avLst/>
            <a:gdLst>
              <a:gd name="connsiteX0" fmla="*/ 381747 w 394716"/>
              <a:gd name="connsiteY0" fmla="*/ 373289 h 468020"/>
              <a:gd name="connsiteX1" fmla="*/ 390769 w 394716"/>
              <a:gd name="connsiteY1" fmla="*/ 365958 h 468020"/>
              <a:gd name="connsiteX2" fmla="*/ 386258 w 394716"/>
              <a:gd name="connsiteY2" fmla="*/ 345658 h 468020"/>
              <a:gd name="connsiteX3" fmla="*/ 393588 w 394716"/>
              <a:gd name="connsiteY3" fmla="*/ 329870 h 468020"/>
              <a:gd name="connsiteX4" fmla="*/ 396408 w 394716"/>
              <a:gd name="connsiteY4" fmla="*/ 301676 h 468020"/>
              <a:gd name="connsiteX5" fmla="*/ 387386 w 394716"/>
              <a:gd name="connsiteY5" fmla="*/ 279121 h 468020"/>
              <a:gd name="connsiteX6" fmla="*/ 369341 w 394716"/>
              <a:gd name="connsiteY6" fmla="*/ 269535 h 468020"/>
              <a:gd name="connsiteX7" fmla="*/ 364830 w 394716"/>
              <a:gd name="connsiteY7" fmla="*/ 254874 h 468020"/>
              <a:gd name="connsiteX8" fmla="*/ 368214 w 394716"/>
              <a:gd name="connsiteY8" fmla="*/ 234574 h 468020"/>
              <a:gd name="connsiteX9" fmla="*/ 307878 w 394716"/>
              <a:gd name="connsiteY9" fmla="*/ 232882 h 468020"/>
              <a:gd name="connsiteX10" fmla="*/ 292654 w 394716"/>
              <a:gd name="connsiteY10" fmla="*/ 191155 h 468020"/>
              <a:gd name="connsiteX11" fmla="*/ 301676 w 394716"/>
              <a:gd name="connsiteY11" fmla="*/ 190591 h 468020"/>
              <a:gd name="connsiteX12" fmla="*/ 299984 w 394716"/>
              <a:gd name="connsiteY12" fmla="*/ 174803 h 468020"/>
              <a:gd name="connsiteX13" fmla="*/ 293218 w 394716"/>
              <a:gd name="connsiteY13" fmla="*/ 164653 h 468020"/>
              <a:gd name="connsiteX14" fmla="*/ 290398 w 394716"/>
              <a:gd name="connsiteY14" fmla="*/ 143789 h 468020"/>
              <a:gd name="connsiteX15" fmla="*/ 271790 w 394716"/>
              <a:gd name="connsiteY15" fmla="*/ 133076 h 468020"/>
              <a:gd name="connsiteX16" fmla="*/ 252054 w 394716"/>
              <a:gd name="connsiteY16" fmla="*/ 133640 h 468020"/>
              <a:gd name="connsiteX17" fmla="*/ 237957 w 394716"/>
              <a:gd name="connsiteY17" fmla="*/ 122926 h 468020"/>
              <a:gd name="connsiteX18" fmla="*/ 216530 w 394716"/>
              <a:gd name="connsiteY18" fmla="*/ 116159 h 468020"/>
              <a:gd name="connsiteX19" fmla="*/ 202997 w 394716"/>
              <a:gd name="connsiteY19" fmla="*/ 102626 h 468020"/>
              <a:gd name="connsiteX20" fmla="*/ 167472 w 394716"/>
              <a:gd name="connsiteY20" fmla="*/ 96987 h 468020"/>
              <a:gd name="connsiteX21" fmla="*/ 131384 w 394716"/>
              <a:gd name="connsiteY21" fmla="*/ 64846 h 468020"/>
              <a:gd name="connsiteX22" fmla="*/ 133076 w 394716"/>
              <a:gd name="connsiteY22" fmla="*/ 40599 h 468020"/>
              <a:gd name="connsiteX23" fmla="*/ 128001 w 394716"/>
              <a:gd name="connsiteY23" fmla="*/ 26502 h 468020"/>
              <a:gd name="connsiteX24" fmla="*/ 130256 w 394716"/>
              <a:gd name="connsiteY24" fmla="*/ 0 h 468020"/>
              <a:gd name="connsiteX25" fmla="*/ 89093 w 394716"/>
              <a:gd name="connsiteY25" fmla="*/ 6203 h 468020"/>
              <a:gd name="connsiteX26" fmla="*/ 73304 w 394716"/>
              <a:gd name="connsiteY26" fmla="*/ 19172 h 468020"/>
              <a:gd name="connsiteX27" fmla="*/ 46238 w 394716"/>
              <a:gd name="connsiteY27" fmla="*/ 33833 h 468020"/>
              <a:gd name="connsiteX28" fmla="*/ 40035 w 394716"/>
              <a:gd name="connsiteY28" fmla="*/ 44547 h 468020"/>
              <a:gd name="connsiteX29" fmla="*/ 23683 w 394716"/>
              <a:gd name="connsiteY29" fmla="*/ 45674 h 468020"/>
              <a:gd name="connsiteX30" fmla="*/ 0 w 394716"/>
              <a:gd name="connsiteY30" fmla="*/ 42291 h 468020"/>
              <a:gd name="connsiteX31" fmla="*/ 31013 w 394716"/>
              <a:gd name="connsiteY31" fmla="*/ 100371 h 468020"/>
              <a:gd name="connsiteX32" fmla="*/ 24811 w 394716"/>
              <a:gd name="connsiteY32" fmla="*/ 112212 h 468020"/>
              <a:gd name="connsiteX33" fmla="*/ 25375 w 394716"/>
              <a:gd name="connsiteY33" fmla="*/ 137587 h 468020"/>
              <a:gd name="connsiteX34" fmla="*/ 27066 w 394716"/>
              <a:gd name="connsiteY34" fmla="*/ 168036 h 468020"/>
              <a:gd name="connsiteX35" fmla="*/ 16353 w 394716"/>
              <a:gd name="connsiteY35" fmla="*/ 186080 h 468020"/>
              <a:gd name="connsiteX36" fmla="*/ 23119 w 394716"/>
              <a:gd name="connsiteY36" fmla="*/ 199614 h 468020"/>
              <a:gd name="connsiteX37" fmla="*/ 16916 w 394716"/>
              <a:gd name="connsiteY37" fmla="*/ 211455 h 468020"/>
              <a:gd name="connsiteX38" fmla="*/ 32705 w 394716"/>
              <a:gd name="connsiteY38" fmla="*/ 241341 h 468020"/>
              <a:gd name="connsiteX39" fmla="*/ 16916 w 394716"/>
              <a:gd name="connsiteY39" fmla="*/ 280248 h 468020"/>
              <a:gd name="connsiteX40" fmla="*/ 34397 w 394716"/>
              <a:gd name="connsiteY40" fmla="*/ 304495 h 468020"/>
              <a:gd name="connsiteX41" fmla="*/ 41163 w 394716"/>
              <a:gd name="connsiteY41" fmla="*/ 330434 h 468020"/>
              <a:gd name="connsiteX42" fmla="*/ 59207 w 394716"/>
              <a:gd name="connsiteY42" fmla="*/ 345658 h 468020"/>
              <a:gd name="connsiteX43" fmla="*/ 53005 w 394716"/>
              <a:gd name="connsiteY43" fmla="*/ 380619 h 468020"/>
              <a:gd name="connsiteX44" fmla="*/ 73868 w 394716"/>
              <a:gd name="connsiteY44" fmla="*/ 420655 h 468020"/>
              <a:gd name="connsiteX45" fmla="*/ 91349 w 394716"/>
              <a:gd name="connsiteY45" fmla="*/ 470276 h 468020"/>
              <a:gd name="connsiteX46" fmla="*/ 112776 w 394716"/>
              <a:gd name="connsiteY46" fmla="*/ 465201 h 468020"/>
              <a:gd name="connsiteX47" fmla="*/ 135331 w 394716"/>
              <a:gd name="connsiteY47" fmla="*/ 433060 h 468020"/>
              <a:gd name="connsiteX48" fmla="*/ 177058 w 394716"/>
              <a:gd name="connsiteY48" fmla="*/ 441518 h 468020"/>
              <a:gd name="connsiteX49" fmla="*/ 197922 w 394716"/>
              <a:gd name="connsiteY49" fmla="*/ 467457 h 468020"/>
              <a:gd name="connsiteX50" fmla="*/ 206944 w 394716"/>
              <a:gd name="connsiteY50" fmla="*/ 438699 h 468020"/>
              <a:gd name="connsiteX51" fmla="*/ 242468 w 394716"/>
              <a:gd name="connsiteY51" fmla="*/ 440391 h 468020"/>
              <a:gd name="connsiteX52" fmla="*/ 248107 w 394716"/>
              <a:gd name="connsiteY52" fmla="*/ 447721 h 468020"/>
              <a:gd name="connsiteX53" fmla="*/ 256565 w 394716"/>
              <a:gd name="connsiteY53" fmla="*/ 404866 h 468020"/>
              <a:gd name="connsiteX54" fmla="*/ 255438 w 394716"/>
              <a:gd name="connsiteY54" fmla="*/ 385694 h 468020"/>
              <a:gd name="connsiteX55" fmla="*/ 267279 w 394716"/>
              <a:gd name="connsiteY55" fmla="*/ 354117 h 468020"/>
              <a:gd name="connsiteX56" fmla="*/ 320848 w 394716"/>
              <a:gd name="connsiteY56" fmla="*/ 343403 h 468020"/>
              <a:gd name="connsiteX57" fmla="*/ 349606 w 394716"/>
              <a:gd name="connsiteY57" fmla="*/ 343967 h 468020"/>
              <a:gd name="connsiteX58" fmla="*/ 380055 w 394716"/>
              <a:gd name="connsiteY58" fmla="*/ 362575 h 468020"/>
              <a:gd name="connsiteX59" fmla="*/ 381747 w 394716"/>
              <a:gd name="connsiteY59" fmla="*/ 373289 h 468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</a:cxnLst>
            <a:rect l="l" t="t" r="r" b="b"/>
            <a:pathLst>
              <a:path w="394716" h="468020">
                <a:moveTo>
                  <a:pt x="381747" y="373289"/>
                </a:moveTo>
                <a:lnTo>
                  <a:pt x="390769" y="365958"/>
                </a:lnTo>
                <a:lnTo>
                  <a:pt x="386258" y="345658"/>
                </a:lnTo>
                <a:lnTo>
                  <a:pt x="393588" y="329870"/>
                </a:lnTo>
                <a:lnTo>
                  <a:pt x="396408" y="301676"/>
                </a:lnTo>
                <a:lnTo>
                  <a:pt x="387386" y="279121"/>
                </a:lnTo>
                <a:lnTo>
                  <a:pt x="369341" y="269535"/>
                </a:lnTo>
                <a:lnTo>
                  <a:pt x="364830" y="254874"/>
                </a:lnTo>
                <a:lnTo>
                  <a:pt x="368214" y="234574"/>
                </a:lnTo>
                <a:lnTo>
                  <a:pt x="307878" y="232882"/>
                </a:lnTo>
                <a:lnTo>
                  <a:pt x="292654" y="191155"/>
                </a:lnTo>
                <a:lnTo>
                  <a:pt x="301676" y="190591"/>
                </a:lnTo>
                <a:lnTo>
                  <a:pt x="299984" y="174803"/>
                </a:lnTo>
                <a:lnTo>
                  <a:pt x="293218" y="164653"/>
                </a:lnTo>
                <a:lnTo>
                  <a:pt x="290398" y="143789"/>
                </a:lnTo>
                <a:lnTo>
                  <a:pt x="271790" y="133076"/>
                </a:lnTo>
                <a:lnTo>
                  <a:pt x="252054" y="133640"/>
                </a:lnTo>
                <a:lnTo>
                  <a:pt x="237957" y="122926"/>
                </a:lnTo>
                <a:lnTo>
                  <a:pt x="216530" y="116159"/>
                </a:lnTo>
                <a:lnTo>
                  <a:pt x="202997" y="102626"/>
                </a:lnTo>
                <a:lnTo>
                  <a:pt x="167472" y="96987"/>
                </a:lnTo>
                <a:lnTo>
                  <a:pt x="131384" y="64846"/>
                </a:lnTo>
                <a:lnTo>
                  <a:pt x="133076" y="40599"/>
                </a:lnTo>
                <a:lnTo>
                  <a:pt x="128001" y="26502"/>
                </a:lnTo>
                <a:lnTo>
                  <a:pt x="130256" y="0"/>
                </a:lnTo>
                <a:lnTo>
                  <a:pt x="89093" y="6203"/>
                </a:lnTo>
                <a:lnTo>
                  <a:pt x="73304" y="19172"/>
                </a:lnTo>
                <a:lnTo>
                  <a:pt x="46238" y="33833"/>
                </a:lnTo>
                <a:lnTo>
                  <a:pt x="40035" y="44547"/>
                </a:lnTo>
                <a:lnTo>
                  <a:pt x="23683" y="45674"/>
                </a:lnTo>
                <a:lnTo>
                  <a:pt x="0" y="42291"/>
                </a:lnTo>
                <a:lnTo>
                  <a:pt x="31013" y="100371"/>
                </a:lnTo>
                <a:lnTo>
                  <a:pt x="24811" y="112212"/>
                </a:lnTo>
                <a:lnTo>
                  <a:pt x="25375" y="137587"/>
                </a:lnTo>
                <a:lnTo>
                  <a:pt x="27066" y="168036"/>
                </a:lnTo>
                <a:lnTo>
                  <a:pt x="16353" y="186080"/>
                </a:lnTo>
                <a:lnTo>
                  <a:pt x="23119" y="199614"/>
                </a:lnTo>
                <a:lnTo>
                  <a:pt x="16916" y="211455"/>
                </a:lnTo>
                <a:lnTo>
                  <a:pt x="32705" y="241341"/>
                </a:lnTo>
                <a:lnTo>
                  <a:pt x="16916" y="280248"/>
                </a:lnTo>
                <a:lnTo>
                  <a:pt x="34397" y="304495"/>
                </a:lnTo>
                <a:lnTo>
                  <a:pt x="41163" y="330434"/>
                </a:lnTo>
                <a:lnTo>
                  <a:pt x="59207" y="345658"/>
                </a:lnTo>
                <a:lnTo>
                  <a:pt x="53005" y="380619"/>
                </a:lnTo>
                <a:lnTo>
                  <a:pt x="73868" y="420655"/>
                </a:lnTo>
                <a:lnTo>
                  <a:pt x="91349" y="470276"/>
                </a:lnTo>
                <a:lnTo>
                  <a:pt x="112776" y="465201"/>
                </a:lnTo>
                <a:lnTo>
                  <a:pt x="135331" y="433060"/>
                </a:lnTo>
                <a:lnTo>
                  <a:pt x="177058" y="441518"/>
                </a:lnTo>
                <a:lnTo>
                  <a:pt x="197922" y="467457"/>
                </a:lnTo>
                <a:lnTo>
                  <a:pt x="206944" y="438699"/>
                </a:lnTo>
                <a:lnTo>
                  <a:pt x="242468" y="440391"/>
                </a:lnTo>
                <a:lnTo>
                  <a:pt x="248107" y="447721"/>
                </a:lnTo>
                <a:lnTo>
                  <a:pt x="256565" y="404866"/>
                </a:lnTo>
                <a:lnTo>
                  <a:pt x="255438" y="385694"/>
                </a:lnTo>
                <a:lnTo>
                  <a:pt x="267279" y="354117"/>
                </a:lnTo>
                <a:lnTo>
                  <a:pt x="320848" y="343403"/>
                </a:lnTo>
                <a:lnTo>
                  <a:pt x="349606" y="343967"/>
                </a:lnTo>
                <a:lnTo>
                  <a:pt x="380055" y="362575"/>
                </a:lnTo>
                <a:lnTo>
                  <a:pt x="381747" y="373289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0" name="Freeform: Shape 263">
            <a:extLst>
              <a:ext uri="{FF2B5EF4-FFF2-40B4-BE49-F238E27FC236}">
                <a16:creationId xmlns:a16="http://schemas.microsoft.com/office/drawing/2014/main" id="{8473F853-FA4C-43CC-8BB2-6F211C387450}"/>
              </a:ext>
            </a:extLst>
          </p:cNvPr>
          <p:cNvSpPr/>
          <p:nvPr/>
        </p:nvSpPr>
        <p:spPr>
          <a:xfrm>
            <a:off x="4095292" y="3982142"/>
            <a:ext cx="927033" cy="1045019"/>
          </a:xfrm>
          <a:custGeom>
            <a:avLst/>
            <a:gdLst>
              <a:gd name="connsiteX0" fmla="*/ 546964 w 1240536"/>
              <a:gd name="connsiteY0" fmla="*/ 120106 h 1398422"/>
              <a:gd name="connsiteX1" fmla="*/ 539069 w 1240536"/>
              <a:gd name="connsiteY1" fmla="*/ 121234 h 1398422"/>
              <a:gd name="connsiteX2" fmla="*/ 521589 w 1240536"/>
              <a:gd name="connsiteY2" fmla="*/ 118415 h 1398422"/>
              <a:gd name="connsiteX3" fmla="*/ 511439 w 1240536"/>
              <a:gd name="connsiteY3" fmla="*/ 128001 h 1398422"/>
              <a:gd name="connsiteX4" fmla="*/ 496778 w 1240536"/>
              <a:gd name="connsiteY4" fmla="*/ 134203 h 1398422"/>
              <a:gd name="connsiteX5" fmla="*/ 487192 w 1240536"/>
              <a:gd name="connsiteY5" fmla="*/ 135331 h 1398422"/>
              <a:gd name="connsiteX6" fmla="*/ 483245 w 1240536"/>
              <a:gd name="connsiteY6" fmla="*/ 142662 h 1398422"/>
              <a:gd name="connsiteX7" fmla="*/ 468020 w 1240536"/>
              <a:gd name="connsiteY7" fmla="*/ 140970 h 1398422"/>
              <a:gd name="connsiteX8" fmla="*/ 448285 w 1240536"/>
              <a:gd name="connsiteY8" fmla="*/ 124054 h 1398422"/>
              <a:gd name="connsiteX9" fmla="*/ 446593 w 1240536"/>
              <a:gd name="connsiteY9" fmla="*/ 107701 h 1398422"/>
              <a:gd name="connsiteX10" fmla="*/ 438699 w 1240536"/>
              <a:gd name="connsiteY10" fmla="*/ 89093 h 1398422"/>
              <a:gd name="connsiteX11" fmla="*/ 444337 w 1240536"/>
              <a:gd name="connsiteY11" fmla="*/ 58644 h 1398422"/>
              <a:gd name="connsiteX12" fmla="*/ 453360 w 1240536"/>
              <a:gd name="connsiteY12" fmla="*/ 46238 h 1398422"/>
              <a:gd name="connsiteX13" fmla="*/ 446593 w 1240536"/>
              <a:gd name="connsiteY13" fmla="*/ 29322 h 1398422"/>
              <a:gd name="connsiteX14" fmla="*/ 435879 w 1240536"/>
              <a:gd name="connsiteY14" fmla="*/ 24247 h 1398422"/>
              <a:gd name="connsiteX15" fmla="*/ 440390 w 1240536"/>
              <a:gd name="connsiteY15" fmla="*/ 8458 h 1398422"/>
              <a:gd name="connsiteX16" fmla="*/ 433060 w 1240536"/>
              <a:gd name="connsiteY16" fmla="*/ 0 h 1398422"/>
              <a:gd name="connsiteX17" fmla="*/ 416707 w 1240536"/>
              <a:gd name="connsiteY17" fmla="*/ 1692 h 1398422"/>
              <a:gd name="connsiteX18" fmla="*/ 420654 w 1240536"/>
              <a:gd name="connsiteY18" fmla="*/ 11842 h 1398422"/>
              <a:gd name="connsiteX19" fmla="*/ 408813 w 1240536"/>
              <a:gd name="connsiteY19" fmla="*/ 25375 h 1398422"/>
              <a:gd name="connsiteX20" fmla="*/ 372725 w 1240536"/>
              <a:gd name="connsiteY20" fmla="*/ 38908 h 1398422"/>
              <a:gd name="connsiteX21" fmla="*/ 350169 w 1240536"/>
              <a:gd name="connsiteY21" fmla="*/ 44547 h 1398422"/>
              <a:gd name="connsiteX22" fmla="*/ 340584 w 1240536"/>
              <a:gd name="connsiteY22" fmla="*/ 53005 h 1398422"/>
              <a:gd name="connsiteX23" fmla="*/ 315773 w 1240536"/>
              <a:gd name="connsiteY23" fmla="*/ 43983 h 1398422"/>
              <a:gd name="connsiteX24" fmla="*/ 292090 w 1240536"/>
              <a:gd name="connsiteY24" fmla="*/ 39472 h 1398422"/>
              <a:gd name="connsiteX25" fmla="*/ 286451 w 1240536"/>
              <a:gd name="connsiteY25" fmla="*/ 42855 h 1398422"/>
              <a:gd name="connsiteX26" fmla="*/ 299984 w 1240536"/>
              <a:gd name="connsiteY26" fmla="*/ 51877 h 1398422"/>
              <a:gd name="connsiteX27" fmla="*/ 298293 w 1240536"/>
              <a:gd name="connsiteY27" fmla="*/ 76124 h 1398422"/>
              <a:gd name="connsiteX28" fmla="*/ 302240 w 1240536"/>
              <a:gd name="connsiteY28" fmla="*/ 98679 h 1398422"/>
              <a:gd name="connsiteX29" fmla="*/ 329306 w 1240536"/>
              <a:gd name="connsiteY29" fmla="*/ 101498 h 1398422"/>
              <a:gd name="connsiteX30" fmla="*/ 330998 w 1240536"/>
              <a:gd name="connsiteY30" fmla="*/ 109393 h 1398422"/>
              <a:gd name="connsiteX31" fmla="*/ 307878 w 1240536"/>
              <a:gd name="connsiteY31" fmla="*/ 119543 h 1398422"/>
              <a:gd name="connsiteX32" fmla="*/ 303931 w 1240536"/>
              <a:gd name="connsiteY32" fmla="*/ 134767 h 1398422"/>
              <a:gd name="connsiteX33" fmla="*/ 290962 w 1240536"/>
              <a:gd name="connsiteY33" fmla="*/ 140406 h 1398422"/>
              <a:gd name="connsiteX34" fmla="*/ 267279 w 1240536"/>
              <a:gd name="connsiteY34" fmla="*/ 148864 h 1398422"/>
              <a:gd name="connsiteX35" fmla="*/ 261076 w 1240536"/>
              <a:gd name="connsiteY35" fmla="*/ 159578 h 1398422"/>
              <a:gd name="connsiteX36" fmla="*/ 236266 w 1240536"/>
              <a:gd name="connsiteY36" fmla="*/ 162397 h 1398422"/>
              <a:gd name="connsiteX37" fmla="*/ 219349 w 1240536"/>
              <a:gd name="connsiteY37" fmla="*/ 143226 h 1398422"/>
              <a:gd name="connsiteX38" fmla="*/ 213147 w 1240536"/>
              <a:gd name="connsiteY38" fmla="*/ 147737 h 1398422"/>
              <a:gd name="connsiteX39" fmla="*/ 207508 w 1240536"/>
              <a:gd name="connsiteY39" fmla="*/ 126309 h 1398422"/>
              <a:gd name="connsiteX40" fmla="*/ 198486 w 1240536"/>
              <a:gd name="connsiteY40" fmla="*/ 115032 h 1398422"/>
              <a:gd name="connsiteX41" fmla="*/ 187772 w 1240536"/>
              <a:gd name="connsiteY41" fmla="*/ 127437 h 1398422"/>
              <a:gd name="connsiteX42" fmla="*/ 126309 w 1240536"/>
              <a:gd name="connsiteY42" fmla="*/ 126873 h 1398422"/>
              <a:gd name="connsiteX43" fmla="*/ 126309 w 1240536"/>
              <a:gd name="connsiteY43" fmla="*/ 148864 h 1398422"/>
              <a:gd name="connsiteX44" fmla="*/ 144917 w 1240536"/>
              <a:gd name="connsiteY44" fmla="*/ 152812 h 1398422"/>
              <a:gd name="connsiteX45" fmla="*/ 143789 w 1240536"/>
              <a:gd name="connsiteY45" fmla="*/ 166345 h 1398422"/>
              <a:gd name="connsiteX46" fmla="*/ 137587 w 1240536"/>
              <a:gd name="connsiteY46" fmla="*/ 162961 h 1398422"/>
              <a:gd name="connsiteX47" fmla="*/ 119543 w 1240536"/>
              <a:gd name="connsiteY47" fmla="*/ 168600 h 1398422"/>
              <a:gd name="connsiteX48" fmla="*/ 119543 w 1240536"/>
              <a:gd name="connsiteY48" fmla="*/ 194539 h 1398422"/>
              <a:gd name="connsiteX49" fmla="*/ 133640 w 1240536"/>
              <a:gd name="connsiteY49" fmla="*/ 208072 h 1398422"/>
              <a:gd name="connsiteX50" fmla="*/ 138714 w 1240536"/>
              <a:gd name="connsiteY50" fmla="*/ 228371 h 1398422"/>
              <a:gd name="connsiteX51" fmla="*/ 138151 w 1240536"/>
              <a:gd name="connsiteY51" fmla="*/ 244160 h 1398422"/>
              <a:gd name="connsiteX52" fmla="*/ 125745 w 1240536"/>
              <a:gd name="connsiteY52" fmla="*/ 342275 h 1398422"/>
              <a:gd name="connsiteX53" fmla="*/ 96987 w 1240536"/>
              <a:gd name="connsiteY53" fmla="*/ 340584 h 1398422"/>
              <a:gd name="connsiteX54" fmla="*/ 93040 w 1240536"/>
              <a:gd name="connsiteY54" fmla="*/ 346222 h 1398422"/>
              <a:gd name="connsiteX55" fmla="*/ 67102 w 1240536"/>
              <a:gd name="connsiteY55" fmla="*/ 352989 h 1398422"/>
              <a:gd name="connsiteX56" fmla="*/ 32141 w 1240536"/>
              <a:gd name="connsiteY56" fmla="*/ 377236 h 1398422"/>
              <a:gd name="connsiteX57" fmla="*/ 29886 w 1240536"/>
              <a:gd name="connsiteY57" fmla="*/ 394152 h 1398422"/>
              <a:gd name="connsiteX58" fmla="*/ 22555 w 1240536"/>
              <a:gd name="connsiteY58" fmla="*/ 406558 h 1398422"/>
              <a:gd name="connsiteX59" fmla="*/ 26502 w 1240536"/>
              <a:gd name="connsiteY59" fmla="*/ 425729 h 1398422"/>
              <a:gd name="connsiteX60" fmla="*/ 7894 w 1240536"/>
              <a:gd name="connsiteY60" fmla="*/ 436443 h 1398422"/>
              <a:gd name="connsiteX61" fmla="*/ 8458 w 1240536"/>
              <a:gd name="connsiteY61" fmla="*/ 451668 h 1398422"/>
              <a:gd name="connsiteX62" fmla="*/ 0 w 1240536"/>
              <a:gd name="connsiteY62" fmla="*/ 457871 h 1398422"/>
              <a:gd name="connsiteX63" fmla="*/ 14661 w 1240536"/>
              <a:gd name="connsiteY63" fmla="*/ 490576 h 1398422"/>
              <a:gd name="connsiteX64" fmla="*/ 33269 w 1240536"/>
              <a:gd name="connsiteY64" fmla="*/ 512003 h 1398422"/>
              <a:gd name="connsiteX65" fmla="*/ 27630 w 1240536"/>
              <a:gd name="connsiteY65" fmla="*/ 527792 h 1398422"/>
              <a:gd name="connsiteX66" fmla="*/ 48494 w 1240536"/>
              <a:gd name="connsiteY66" fmla="*/ 529484 h 1398422"/>
              <a:gd name="connsiteX67" fmla="*/ 61463 w 1240536"/>
              <a:gd name="connsiteY67" fmla="*/ 548655 h 1398422"/>
              <a:gd name="connsiteX68" fmla="*/ 89093 w 1240536"/>
              <a:gd name="connsiteY68" fmla="*/ 549783 h 1398422"/>
              <a:gd name="connsiteX69" fmla="*/ 113904 w 1240536"/>
              <a:gd name="connsiteY69" fmla="*/ 528356 h 1398422"/>
              <a:gd name="connsiteX70" fmla="*/ 115032 w 1240536"/>
              <a:gd name="connsiteY70" fmla="*/ 583052 h 1398422"/>
              <a:gd name="connsiteX71" fmla="*/ 129692 w 1240536"/>
              <a:gd name="connsiteY71" fmla="*/ 586999 h 1398422"/>
              <a:gd name="connsiteX72" fmla="*/ 146609 w 1240536"/>
              <a:gd name="connsiteY72" fmla="*/ 580796 h 1398422"/>
              <a:gd name="connsiteX73" fmla="*/ 170292 w 1240536"/>
              <a:gd name="connsiteY73" fmla="*/ 584180 h 1398422"/>
              <a:gd name="connsiteX74" fmla="*/ 186644 w 1240536"/>
              <a:gd name="connsiteY74" fmla="*/ 583052 h 1398422"/>
              <a:gd name="connsiteX75" fmla="*/ 192847 w 1240536"/>
              <a:gd name="connsiteY75" fmla="*/ 572338 h 1398422"/>
              <a:gd name="connsiteX76" fmla="*/ 219913 w 1240536"/>
              <a:gd name="connsiteY76" fmla="*/ 557678 h 1398422"/>
              <a:gd name="connsiteX77" fmla="*/ 235702 w 1240536"/>
              <a:gd name="connsiteY77" fmla="*/ 544708 h 1398422"/>
              <a:gd name="connsiteX78" fmla="*/ 276865 w 1240536"/>
              <a:gd name="connsiteY78" fmla="*/ 538505 h 1398422"/>
              <a:gd name="connsiteX79" fmla="*/ 274610 w 1240536"/>
              <a:gd name="connsiteY79" fmla="*/ 565008 h 1398422"/>
              <a:gd name="connsiteX80" fmla="*/ 279684 w 1240536"/>
              <a:gd name="connsiteY80" fmla="*/ 579105 h 1398422"/>
              <a:gd name="connsiteX81" fmla="*/ 277993 w 1240536"/>
              <a:gd name="connsiteY81" fmla="*/ 603352 h 1398422"/>
              <a:gd name="connsiteX82" fmla="*/ 314081 w 1240536"/>
              <a:gd name="connsiteY82" fmla="*/ 635493 h 1398422"/>
              <a:gd name="connsiteX83" fmla="*/ 349606 w 1240536"/>
              <a:gd name="connsiteY83" fmla="*/ 641132 h 1398422"/>
              <a:gd name="connsiteX84" fmla="*/ 363139 w 1240536"/>
              <a:gd name="connsiteY84" fmla="*/ 654665 h 1398422"/>
              <a:gd name="connsiteX85" fmla="*/ 384566 w 1240536"/>
              <a:gd name="connsiteY85" fmla="*/ 661431 h 1398422"/>
              <a:gd name="connsiteX86" fmla="*/ 398663 w 1240536"/>
              <a:gd name="connsiteY86" fmla="*/ 672145 h 1398422"/>
              <a:gd name="connsiteX87" fmla="*/ 418399 w 1240536"/>
              <a:gd name="connsiteY87" fmla="*/ 671581 h 1398422"/>
              <a:gd name="connsiteX88" fmla="*/ 437007 w 1240536"/>
              <a:gd name="connsiteY88" fmla="*/ 682295 h 1398422"/>
              <a:gd name="connsiteX89" fmla="*/ 439826 w 1240536"/>
              <a:gd name="connsiteY89" fmla="*/ 703158 h 1398422"/>
              <a:gd name="connsiteX90" fmla="*/ 446593 w 1240536"/>
              <a:gd name="connsiteY90" fmla="*/ 713308 h 1398422"/>
              <a:gd name="connsiteX91" fmla="*/ 448285 w 1240536"/>
              <a:gd name="connsiteY91" fmla="*/ 729097 h 1398422"/>
              <a:gd name="connsiteX92" fmla="*/ 439263 w 1240536"/>
              <a:gd name="connsiteY92" fmla="*/ 729661 h 1398422"/>
              <a:gd name="connsiteX93" fmla="*/ 454487 w 1240536"/>
              <a:gd name="connsiteY93" fmla="*/ 771388 h 1398422"/>
              <a:gd name="connsiteX94" fmla="*/ 514822 w 1240536"/>
              <a:gd name="connsiteY94" fmla="*/ 773080 h 1398422"/>
              <a:gd name="connsiteX95" fmla="*/ 511439 w 1240536"/>
              <a:gd name="connsiteY95" fmla="*/ 793379 h 1398422"/>
              <a:gd name="connsiteX96" fmla="*/ 515950 w 1240536"/>
              <a:gd name="connsiteY96" fmla="*/ 808040 h 1398422"/>
              <a:gd name="connsiteX97" fmla="*/ 533994 w 1240536"/>
              <a:gd name="connsiteY97" fmla="*/ 817626 h 1398422"/>
              <a:gd name="connsiteX98" fmla="*/ 543016 w 1240536"/>
              <a:gd name="connsiteY98" fmla="*/ 840181 h 1398422"/>
              <a:gd name="connsiteX99" fmla="*/ 540197 w 1240536"/>
              <a:gd name="connsiteY99" fmla="*/ 868375 h 1398422"/>
              <a:gd name="connsiteX100" fmla="*/ 532867 w 1240536"/>
              <a:gd name="connsiteY100" fmla="*/ 884164 h 1398422"/>
              <a:gd name="connsiteX101" fmla="*/ 537378 w 1240536"/>
              <a:gd name="connsiteY101" fmla="*/ 904464 h 1398422"/>
              <a:gd name="connsiteX102" fmla="*/ 528356 w 1240536"/>
              <a:gd name="connsiteY102" fmla="*/ 911794 h 1398422"/>
              <a:gd name="connsiteX103" fmla="*/ 539069 w 1240536"/>
              <a:gd name="connsiteY103" fmla="*/ 932094 h 1398422"/>
              <a:gd name="connsiteX104" fmla="*/ 541325 w 1240536"/>
              <a:gd name="connsiteY104" fmla="*/ 980588 h 1398422"/>
              <a:gd name="connsiteX105" fmla="*/ 575158 w 1240536"/>
              <a:gd name="connsiteY105" fmla="*/ 987354 h 1398422"/>
              <a:gd name="connsiteX106" fmla="*/ 586999 w 1240536"/>
              <a:gd name="connsiteY106" fmla="*/ 980588 h 1398422"/>
              <a:gd name="connsiteX107" fmla="*/ 608990 w 1240536"/>
              <a:gd name="connsiteY107" fmla="*/ 990174 h 1398422"/>
              <a:gd name="connsiteX108" fmla="*/ 615757 w 1240536"/>
              <a:gd name="connsiteY108" fmla="*/ 1000887 h 1398422"/>
              <a:gd name="connsiteX109" fmla="*/ 621396 w 1240536"/>
              <a:gd name="connsiteY109" fmla="*/ 1033592 h 1398422"/>
              <a:gd name="connsiteX110" fmla="*/ 626471 w 1240536"/>
              <a:gd name="connsiteY110" fmla="*/ 1047689 h 1398422"/>
              <a:gd name="connsiteX111" fmla="*/ 637748 w 1240536"/>
              <a:gd name="connsiteY111" fmla="*/ 1049381 h 1398422"/>
              <a:gd name="connsiteX112" fmla="*/ 649026 w 1240536"/>
              <a:gd name="connsiteY112" fmla="*/ 1043178 h 1398422"/>
              <a:gd name="connsiteX113" fmla="*/ 660867 w 1240536"/>
              <a:gd name="connsiteY113" fmla="*/ 1049945 h 1398422"/>
              <a:gd name="connsiteX114" fmla="*/ 662559 w 1240536"/>
              <a:gd name="connsiteY114" fmla="*/ 1069681 h 1398422"/>
              <a:gd name="connsiteX115" fmla="*/ 660867 w 1240536"/>
              <a:gd name="connsiteY115" fmla="*/ 1091108 h 1398422"/>
              <a:gd name="connsiteX116" fmla="*/ 656920 w 1240536"/>
              <a:gd name="connsiteY116" fmla="*/ 1111408 h 1398422"/>
              <a:gd name="connsiteX117" fmla="*/ 671581 w 1240536"/>
              <a:gd name="connsiteY117" fmla="*/ 1104641 h 1398422"/>
              <a:gd name="connsiteX118" fmla="*/ 689061 w 1240536"/>
              <a:gd name="connsiteY118" fmla="*/ 1125505 h 1398422"/>
              <a:gd name="connsiteX119" fmla="*/ 691881 w 1240536"/>
              <a:gd name="connsiteY119" fmla="*/ 1154263 h 1398422"/>
              <a:gd name="connsiteX120" fmla="*/ 668198 w 1240536"/>
              <a:gd name="connsiteY120" fmla="*/ 1173998 h 1398422"/>
              <a:gd name="connsiteX121" fmla="*/ 649590 w 1240536"/>
              <a:gd name="connsiteY121" fmla="*/ 1188659 h 1398422"/>
              <a:gd name="connsiteX122" fmla="*/ 619704 w 1240536"/>
              <a:gd name="connsiteY122" fmla="*/ 1223620 h 1398422"/>
              <a:gd name="connsiteX123" fmla="*/ 586435 w 1240536"/>
              <a:gd name="connsiteY123" fmla="*/ 1272114 h 1398422"/>
              <a:gd name="connsiteX124" fmla="*/ 605607 w 1240536"/>
              <a:gd name="connsiteY124" fmla="*/ 1268166 h 1398422"/>
              <a:gd name="connsiteX125" fmla="*/ 640568 w 1240536"/>
              <a:gd name="connsiteY125" fmla="*/ 1295796 h 1398422"/>
              <a:gd name="connsiteX126" fmla="*/ 651281 w 1240536"/>
              <a:gd name="connsiteY126" fmla="*/ 1294669 h 1398422"/>
              <a:gd name="connsiteX127" fmla="*/ 686242 w 1240536"/>
              <a:gd name="connsiteY127" fmla="*/ 1317788 h 1398422"/>
              <a:gd name="connsiteX128" fmla="*/ 713308 w 1240536"/>
              <a:gd name="connsiteY128" fmla="*/ 1337524 h 1398422"/>
              <a:gd name="connsiteX129" fmla="*/ 734736 w 1240536"/>
              <a:gd name="connsiteY129" fmla="*/ 1361770 h 1398422"/>
              <a:gd name="connsiteX130" fmla="*/ 724022 w 1240536"/>
              <a:gd name="connsiteY130" fmla="*/ 1378687 h 1398422"/>
              <a:gd name="connsiteX131" fmla="*/ 735863 w 1240536"/>
              <a:gd name="connsiteY131" fmla="*/ 1399550 h 1398422"/>
              <a:gd name="connsiteX132" fmla="*/ 752216 w 1240536"/>
              <a:gd name="connsiteY132" fmla="*/ 1378687 h 1398422"/>
              <a:gd name="connsiteX133" fmla="*/ 760674 w 1240536"/>
              <a:gd name="connsiteY133" fmla="*/ 1344854 h 1398422"/>
              <a:gd name="connsiteX134" fmla="*/ 778718 w 1240536"/>
              <a:gd name="connsiteY134" fmla="*/ 1327938 h 1398422"/>
              <a:gd name="connsiteX135" fmla="*/ 800710 w 1240536"/>
              <a:gd name="connsiteY135" fmla="*/ 1299744 h 1398422"/>
              <a:gd name="connsiteX136" fmla="*/ 826084 w 1240536"/>
              <a:gd name="connsiteY136" fmla="*/ 1236589 h 1398422"/>
              <a:gd name="connsiteX137" fmla="*/ 845256 w 1240536"/>
              <a:gd name="connsiteY137" fmla="*/ 1216853 h 1398422"/>
              <a:gd name="connsiteX138" fmla="*/ 849767 w 1240536"/>
              <a:gd name="connsiteY138" fmla="*/ 1199373 h 1398422"/>
              <a:gd name="connsiteX139" fmla="*/ 851459 w 1240536"/>
              <a:gd name="connsiteY139" fmla="*/ 1163284 h 1398422"/>
              <a:gd name="connsiteX140" fmla="*/ 844128 w 1240536"/>
              <a:gd name="connsiteY140" fmla="*/ 1143549 h 1398422"/>
              <a:gd name="connsiteX141" fmla="*/ 845820 w 1240536"/>
              <a:gd name="connsiteY141" fmla="*/ 1116483 h 1398422"/>
              <a:gd name="connsiteX142" fmla="*/ 868939 w 1240536"/>
              <a:gd name="connsiteY142" fmla="*/ 1080958 h 1398422"/>
              <a:gd name="connsiteX143" fmla="*/ 902772 w 1240536"/>
              <a:gd name="connsiteY143" fmla="*/ 1052200 h 1398422"/>
              <a:gd name="connsiteX144" fmla="*/ 936605 w 1240536"/>
              <a:gd name="connsiteY144" fmla="*/ 1042050 h 1398422"/>
              <a:gd name="connsiteX145" fmla="*/ 956904 w 1240536"/>
              <a:gd name="connsiteY145" fmla="*/ 1025698 h 1398422"/>
              <a:gd name="connsiteX146" fmla="*/ 1004834 w 1240536"/>
              <a:gd name="connsiteY146" fmla="*/ 1012165 h 1398422"/>
              <a:gd name="connsiteX147" fmla="*/ 1038103 w 1240536"/>
              <a:gd name="connsiteY147" fmla="*/ 1012165 h 1398422"/>
              <a:gd name="connsiteX148" fmla="*/ 1044306 w 1240536"/>
              <a:gd name="connsiteY148" fmla="*/ 990737 h 1398422"/>
              <a:gd name="connsiteX149" fmla="*/ 1067989 w 1240536"/>
              <a:gd name="connsiteY149" fmla="*/ 974949 h 1398422"/>
              <a:gd name="connsiteX150" fmla="*/ 1071372 w 1240536"/>
              <a:gd name="connsiteY150" fmla="*/ 938297 h 1398422"/>
              <a:gd name="connsiteX151" fmla="*/ 1100130 w 1240536"/>
              <a:gd name="connsiteY151" fmla="*/ 891495 h 1398422"/>
              <a:gd name="connsiteX152" fmla="*/ 1102949 w 1240536"/>
              <a:gd name="connsiteY152" fmla="*/ 843565 h 1398422"/>
              <a:gd name="connsiteX153" fmla="*/ 1111971 w 1240536"/>
              <a:gd name="connsiteY153" fmla="*/ 828904 h 1398422"/>
              <a:gd name="connsiteX154" fmla="*/ 1113663 w 1240536"/>
              <a:gd name="connsiteY154" fmla="*/ 805785 h 1398422"/>
              <a:gd name="connsiteX155" fmla="*/ 1119866 w 1240536"/>
              <a:gd name="connsiteY155" fmla="*/ 749960 h 1398422"/>
              <a:gd name="connsiteX156" fmla="*/ 1114227 w 1240536"/>
              <a:gd name="connsiteY156" fmla="*/ 682859 h 1398422"/>
              <a:gd name="connsiteX157" fmla="*/ 1122121 w 1240536"/>
              <a:gd name="connsiteY157" fmla="*/ 656357 h 1398422"/>
              <a:gd name="connsiteX158" fmla="*/ 1130016 w 1240536"/>
              <a:gd name="connsiteY158" fmla="*/ 655792 h 1398422"/>
              <a:gd name="connsiteX159" fmla="*/ 1152007 w 1240536"/>
              <a:gd name="connsiteY159" fmla="*/ 624779 h 1398422"/>
              <a:gd name="connsiteX160" fmla="*/ 1170615 w 1240536"/>
              <a:gd name="connsiteY160" fmla="*/ 584180 h 1398422"/>
              <a:gd name="connsiteX161" fmla="*/ 1214034 w 1240536"/>
              <a:gd name="connsiteY161" fmla="*/ 534558 h 1398422"/>
              <a:gd name="connsiteX162" fmla="*/ 1229258 w 1240536"/>
              <a:gd name="connsiteY162" fmla="*/ 510876 h 1398422"/>
              <a:gd name="connsiteX163" fmla="*/ 1240536 w 1240536"/>
              <a:gd name="connsiteY163" fmla="*/ 451668 h 1398422"/>
              <a:gd name="connsiteX164" fmla="*/ 1234897 w 1240536"/>
              <a:gd name="connsiteY164" fmla="*/ 429677 h 1398422"/>
              <a:gd name="connsiteX165" fmla="*/ 1223620 w 1240536"/>
              <a:gd name="connsiteY165" fmla="*/ 384003 h 1398422"/>
              <a:gd name="connsiteX166" fmla="*/ 1211778 w 1240536"/>
              <a:gd name="connsiteY166" fmla="*/ 372725 h 1398422"/>
              <a:gd name="connsiteX167" fmla="*/ 1184712 w 1240536"/>
              <a:gd name="connsiteY167" fmla="*/ 371597 h 1398422"/>
              <a:gd name="connsiteX168" fmla="*/ 1160465 w 1240536"/>
              <a:gd name="connsiteY168" fmla="*/ 360883 h 1398422"/>
              <a:gd name="connsiteX169" fmla="*/ 1119302 w 1240536"/>
              <a:gd name="connsiteY169" fmla="*/ 320848 h 1398422"/>
              <a:gd name="connsiteX170" fmla="*/ 1071936 w 1240536"/>
              <a:gd name="connsiteY170" fmla="*/ 290962 h 1398422"/>
              <a:gd name="connsiteX171" fmla="*/ 1024570 w 1240536"/>
              <a:gd name="connsiteY171" fmla="*/ 292654 h 1398422"/>
              <a:gd name="connsiteX172" fmla="*/ 963107 w 1240536"/>
              <a:gd name="connsiteY172" fmla="*/ 273482 h 1398422"/>
              <a:gd name="connsiteX173" fmla="*/ 926455 w 1240536"/>
              <a:gd name="connsiteY173" fmla="*/ 284759 h 1398422"/>
              <a:gd name="connsiteX174" fmla="*/ 930966 w 1240536"/>
              <a:gd name="connsiteY174" fmla="*/ 265024 h 1398422"/>
              <a:gd name="connsiteX175" fmla="*/ 915741 w 1240536"/>
              <a:gd name="connsiteY175" fmla="*/ 243596 h 1398422"/>
              <a:gd name="connsiteX176" fmla="*/ 862736 w 1240536"/>
              <a:gd name="connsiteY176" fmla="*/ 222169 h 1398422"/>
              <a:gd name="connsiteX177" fmla="*/ 822701 w 1240536"/>
              <a:gd name="connsiteY177" fmla="*/ 209200 h 1398422"/>
              <a:gd name="connsiteX178" fmla="*/ 799018 w 1240536"/>
              <a:gd name="connsiteY178" fmla="*/ 232319 h 1398422"/>
              <a:gd name="connsiteX179" fmla="*/ 797326 w 1240536"/>
              <a:gd name="connsiteY179" fmla="*/ 196794 h 1398422"/>
              <a:gd name="connsiteX180" fmla="*/ 741502 w 1240536"/>
              <a:gd name="connsiteY180" fmla="*/ 191155 h 1398422"/>
              <a:gd name="connsiteX181" fmla="*/ 731916 w 1240536"/>
              <a:gd name="connsiteY181" fmla="*/ 179878 h 1398422"/>
              <a:gd name="connsiteX182" fmla="*/ 755599 w 1240536"/>
              <a:gd name="connsiteY182" fmla="*/ 150556 h 1398422"/>
              <a:gd name="connsiteX183" fmla="*/ 755035 w 1240536"/>
              <a:gd name="connsiteY183" fmla="*/ 125745 h 1398422"/>
              <a:gd name="connsiteX184" fmla="*/ 738119 w 1240536"/>
              <a:gd name="connsiteY184" fmla="*/ 120106 h 1398422"/>
              <a:gd name="connsiteX185" fmla="*/ 721203 w 1240536"/>
              <a:gd name="connsiteY185" fmla="*/ 56952 h 1398422"/>
              <a:gd name="connsiteX186" fmla="*/ 713872 w 1240536"/>
              <a:gd name="connsiteY186" fmla="*/ 37216 h 1398422"/>
              <a:gd name="connsiteX187" fmla="*/ 703158 w 1240536"/>
              <a:gd name="connsiteY187" fmla="*/ 38908 h 1398422"/>
              <a:gd name="connsiteX188" fmla="*/ 683423 w 1240536"/>
              <a:gd name="connsiteY188" fmla="*/ 71613 h 1398422"/>
              <a:gd name="connsiteX189" fmla="*/ 673273 w 1240536"/>
              <a:gd name="connsiteY189" fmla="*/ 98115 h 1398422"/>
              <a:gd name="connsiteX190" fmla="*/ 661431 w 1240536"/>
              <a:gd name="connsiteY190" fmla="*/ 111648 h 1398422"/>
              <a:gd name="connsiteX191" fmla="*/ 646206 w 1240536"/>
              <a:gd name="connsiteY191" fmla="*/ 114468 h 1398422"/>
              <a:gd name="connsiteX192" fmla="*/ 641695 w 1240536"/>
              <a:gd name="connsiteY192" fmla="*/ 104318 h 1398422"/>
              <a:gd name="connsiteX193" fmla="*/ 634929 w 1240536"/>
              <a:gd name="connsiteY193" fmla="*/ 102626 h 1398422"/>
              <a:gd name="connsiteX194" fmla="*/ 624779 w 1240536"/>
              <a:gd name="connsiteY194" fmla="*/ 112776 h 1398422"/>
              <a:gd name="connsiteX195" fmla="*/ 611246 w 1240536"/>
              <a:gd name="connsiteY195" fmla="*/ 105446 h 1398422"/>
              <a:gd name="connsiteX196" fmla="*/ 593202 w 1240536"/>
              <a:gd name="connsiteY196" fmla="*/ 97551 h 1398422"/>
              <a:gd name="connsiteX197" fmla="*/ 577977 w 1240536"/>
              <a:gd name="connsiteY197" fmla="*/ 101498 h 1398422"/>
              <a:gd name="connsiteX198" fmla="*/ 565008 w 1240536"/>
              <a:gd name="connsiteY198" fmla="*/ 98115 h 1398422"/>
              <a:gd name="connsiteX199" fmla="*/ 562188 w 1240536"/>
              <a:gd name="connsiteY199" fmla="*/ 108265 h 1398422"/>
              <a:gd name="connsiteX200" fmla="*/ 567263 w 1240536"/>
              <a:gd name="connsiteY200" fmla="*/ 115595 h 1398422"/>
              <a:gd name="connsiteX201" fmla="*/ 564444 w 1240536"/>
              <a:gd name="connsiteY201" fmla="*/ 122926 h 1398422"/>
              <a:gd name="connsiteX202" fmla="*/ 546964 w 1240536"/>
              <a:gd name="connsiteY202" fmla="*/ 120106 h 13984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</a:cxnLst>
            <a:rect l="l" t="t" r="r" b="b"/>
            <a:pathLst>
              <a:path w="1240536" h="1398422">
                <a:moveTo>
                  <a:pt x="546964" y="120106"/>
                </a:moveTo>
                <a:lnTo>
                  <a:pt x="539069" y="121234"/>
                </a:lnTo>
                <a:lnTo>
                  <a:pt x="521589" y="118415"/>
                </a:lnTo>
                <a:lnTo>
                  <a:pt x="511439" y="128001"/>
                </a:lnTo>
                <a:lnTo>
                  <a:pt x="496778" y="134203"/>
                </a:lnTo>
                <a:lnTo>
                  <a:pt x="487192" y="135331"/>
                </a:lnTo>
                <a:lnTo>
                  <a:pt x="483245" y="142662"/>
                </a:lnTo>
                <a:lnTo>
                  <a:pt x="468020" y="140970"/>
                </a:lnTo>
                <a:lnTo>
                  <a:pt x="448285" y="124054"/>
                </a:lnTo>
                <a:lnTo>
                  <a:pt x="446593" y="107701"/>
                </a:lnTo>
                <a:lnTo>
                  <a:pt x="438699" y="89093"/>
                </a:lnTo>
                <a:lnTo>
                  <a:pt x="444337" y="58644"/>
                </a:lnTo>
                <a:lnTo>
                  <a:pt x="453360" y="46238"/>
                </a:lnTo>
                <a:lnTo>
                  <a:pt x="446593" y="29322"/>
                </a:lnTo>
                <a:lnTo>
                  <a:pt x="435879" y="24247"/>
                </a:lnTo>
                <a:lnTo>
                  <a:pt x="440390" y="8458"/>
                </a:lnTo>
                <a:lnTo>
                  <a:pt x="433060" y="0"/>
                </a:lnTo>
                <a:lnTo>
                  <a:pt x="416707" y="1692"/>
                </a:lnTo>
                <a:lnTo>
                  <a:pt x="420654" y="11842"/>
                </a:lnTo>
                <a:lnTo>
                  <a:pt x="408813" y="25375"/>
                </a:lnTo>
                <a:lnTo>
                  <a:pt x="372725" y="38908"/>
                </a:lnTo>
                <a:lnTo>
                  <a:pt x="350169" y="44547"/>
                </a:lnTo>
                <a:lnTo>
                  <a:pt x="340584" y="53005"/>
                </a:lnTo>
                <a:lnTo>
                  <a:pt x="315773" y="43983"/>
                </a:lnTo>
                <a:lnTo>
                  <a:pt x="292090" y="39472"/>
                </a:lnTo>
                <a:lnTo>
                  <a:pt x="286451" y="42855"/>
                </a:lnTo>
                <a:lnTo>
                  <a:pt x="299984" y="51877"/>
                </a:lnTo>
                <a:lnTo>
                  <a:pt x="298293" y="76124"/>
                </a:lnTo>
                <a:lnTo>
                  <a:pt x="302240" y="98679"/>
                </a:lnTo>
                <a:lnTo>
                  <a:pt x="329306" y="101498"/>
                </a:lnTo>
                <a:lnTo>
                  <a:pt x="330998" y="109393"/>
                </a:lnTo>
                <a:lnTo>
                  <a:pt x="307878" y="119543"/>
                </a:lnTo>
                <a:lnTo>
                  <a:pt x="303931" y="134767"/>
                </a:lnTo>
                <a:lnTo>
                  <a:pt x="290962" y="140406"/>
                </a:lnTo>
                <a:lnTo>
                  <a:pt x="267279" y="148864"/>
                </a:lnTo>
                <a:lnTo>
                  <a:pt x="261076" y="159578"/>
                </a:lnTo>
                <a:lnTo>
                  <a:pt x="236266" y="162397"/>
                </a:lnTo>
                <a:lnTo>
                  <a:pt x="219349" y="143226"/>
                </a:lnTo>
                <a:lnTo>
                  <a:pt x="213147" y="147737"/>
                </a:lnTo>
                <a:lnTo>
                  <a:pt x="207508" y="126309"/>
                </a:lnTo>
                <a:lnTo>
                  <a:pt x="198486" y="115032"/>
                </a:lnTo>
                <a:lnTo>
                  <a:pt x="187772" y="127437"/>
                </a:lnTo>
                <a:lnTo>
                  <a:pt x="126309" y="126873"/>
                </a:lnTo>
                <a:lnTo>
                  <a:pt x="126309" y="148864"/>
                </a:lnTo>
                <a:lnTo>
                  <a:pt x="144917" y="152812"/>
                </a:lnTo>
                <a:lnTo>
                  <a:pt x="143789" y="166345"/>
                </a:lnTo>
                <a:lnTo>
                  <a:pt x="137587" y="162961"/>
                </a:lnTo>
                <a:lnTo>
                  <a:pt x="119543" y="168600"/>
                </a:lnTo>
                <a:lnTo>
                  <a:pt x="119543" y="194539"/>
                </a:lnTo>
                <a:lnTo>
                  <a:pt x="133640" y="208072"/>
                </a:lnTo>
                <a:lnTo>
                  <a:pt x="138714" y="228371"/>
                </a:lnTo>
                <a:lnTo>
                  <a:pt x="138151" y="244160"/>
                </a:lnTo>
                <a:lnTo>
                  <a:pt x="125745" y="342275"/>
                </a:lnTo>
                <a:lnTo>
                  <a:pt x="96987" y="340584"/>
                </a:lnTo>
                <a:lnTo>
                  <a:pt x="93040" y="346222"/>
                </a:lnTo>
                <a:lnTo>
                  <a:pt x="67102" y="352989"/>
                </a:lnTo>
                <a:lnTo>
                  <a:pt x="32141" y="377236"/>
                </a:lnTo>
                <a:lnTo>
                  <a:pt x="29886" y="394152"/>
                </a:lnTo>
                <a:lnTo>
                  <a:pt x="22555" y="406558"/>
                </a:lnTo>
                <a:lnTo>
                  <a:pt x="26502" y="425729"/>
                </a:lnTo>
                <a:lnTo>
                  <a:pt x="7894" y="436443"/>
                </a:lnTo>
                <a:lnTo>
                  <a:pt x="8458" y="451668"/>
                </a:lnTo>
                <a:lnTo>
                  <a:pt x="0" y="457871"/>
                </a:lnTo>
                <a:lnTo>
                  <a:pt x="14661" y="490576"/>
                </a:lnTo>
                <a:lnTo>
                  <a:pt x="33269" y="512003"/>
                </a:lnTo>
                <a:lnTo>
                  <a:pt x="27630" y="527792"/>
                </a:lnTo>
                <a:lnTo>
                  <a:pt x="48494" y="529484"/>
                </a:lnTo>
                <a:lnTo>
                  <a:pt x="61463" y="548655"/>
                </a:lnTo>
                <a:lnTo>
                  <a:pt x="89093" y="549783"/>
                </a:lnTo>
                <a:lnTo>
                  <a:pt x="113904" y="528356"/>
                </a:lnTo>
                <a:lnTo>
                  <a:pt x="115032" y="583052"/>
                </a:lnTo>
                <a:lnTo>
                  <a:pt x="129692" y="586999"/>
                </a:lnTo>
                <a:lnTo>
                  <a:pt x="146609" y="580796"/>
                </a:lnTo>
                <a:lnTo>
                  <a:pt x="170292" y="584180"/>
                </a:lnTo>
                <a:lnTo>
                  <a:pt x="186644" y="583052"/>
                </a:lnTo>
                <a:lnTo>
                  <a:pt x="192847" y="572338"/>
                </a:lnTo>
                <a:lnTo>
                  <a:pt x="219913" y="557678"/>
                </a:lnTo>
                <a:lnTo>
                  <a:pt x="235702" y="544708"/>
                </a:lnTo>
                <a:lnTo>
                  <a:pt x="276865" y="538505"/>
                </a:lnTo>
                <a:lnTo>
                  <a:pt x="274610" y="565008"/>
                </a:lnTo>
                <a:lnTo>
                  <a:pt x="279684" y="579105"/>
                </a:lnTo>
                <a:lnTo>
                  <a:pt x="277993" y="603352"/>
                </a:lnTo>
                <a:lnTo>
                  <a:pt x="314081" y="635493"/>
                </a:lnTo>
                <a:lnTo>
                  <a:pt x="349606" y="641132"/>
                </a:lnTo>
                <a:lnTo>
                  <a:pt x="363139" y="654665"/>
                </a:lnTo>
                <a:lnTo>
                  <a:pt x="384566" y="661431"/>
                </a:lnTo>
                <a:lnTo>
                  <a:pt x="398663" y="672145"/>
                </a:lnTo>
                <a:lnTo>
                  <a:pt x="418399" y="671581"/>
                </a:lnTo>
                <a:lnTo>
                  <a:pt x="437007" y="682295"/>
                </a:lnTo>
                <a:lnTo>
                  <a:pt x="439826" y="703158"/>
                </a:lnTo>
                <a:lnTo>
                  <a:pt x="446593" y="713308"/>
                </a:lnTo>
                <a:lnTo>
                  <a:pt x="448285" y="729097"/>
                </a:lnTo>
                <a:lnTo>
                  <a:pt x="439263" y="729661"/>
                </a:lnTo>
                <a:lnTo>
                  <a:pt x="454487" y="771388"/>
                </a:lnTo>
                <a:lnTo>
                  <a:pt x="514822" y="773080"/>
                </a:lnTo>
                <a:lnTo>
                  <a:pt x="511439" y="793379"/>
                </a:lnTo>
                <a:lnTo>
                  <a:pt x="515950" y="808040"/>
                </a:lnTo>
                <a:lnTo>
                  <a:pt x="533994" y="817626"/>
                </a:lnTo>
                <a:lnTo>
                  <a:pt x="543016" y="840181"/>
                </a:lnTo>
                <a:lnTo>
                  <a:pt x="540197" y="868375"/>
                </a:lnTo>
                <a:lnTo>
                  <a:pt x="532867" y="884164"/>
                </a:lnTo>
                <a:lnTo>
                  <a:pt x="537378" y="904464"/>
                </a:lnTo>
                <a:lnTo>
                  <a:pt x="528356" y="911794"/>
                </a:lnTo>
                <a:lnTo>
                  <a:pt x="539069" y="932094"/>
                </a:lnTo>
                <a:lnTo>
                  <a:pt x="541325" y="980588"/>
                </a:lnTo>
                <a:lnTo>
                  <a:pt x="575158" y="987354"/>
                </a:lnTo>
                <a:lnTo>
                  <a:pt x="586999" y="980588"/>
                </a:lnTo>
                <a:lnTo>
                  <a:pt x="608990" y="990174"/>
                </a:lnTo>
                <a:lnTo>
                  <a:pt x="615757" y="1000887"/>
                </a:lnTo>
                <a:lnTo>
                  <a:pt x="621396" y="1033592"/>
                </a:lnTo>
                <a:lnTo>
                  <a:pt x="626471" y="1047689"/>
                </a:lnTo>
                <a:lnTo>
                  <a:pt x="637748" y="1049381"/>
                </a:lnTo>
                <a:lnTo>
                  <a:pt x="649026" y="1043178"/>
                </a:lnTo>
                <a:lnTo>
                  <a:pt x="660867" y="1049945"/>
                </a:lnTo>
                <a:lnTo>
                  <a:pt x="662559" y="1069681"/>
                </a:lnTo>
                <a:lnTo>
                  <a:pt x="660867" y="1091108"/>
                </a:lnTo>
                <a:lnTo>
                  <a:pt x="656920" y="1111408"/>
                </a:lnTo>
                <a:lnTo>
                  <a:pt x="671581" y="1104641"/>
                </a:lnTo>
                <a:lnTo>
                  <a:pt x="689061" y="1125505"/>
                </a:lnTo>
                <a:lnTo>
                  <a:pt x="691881" y="1154263"/>
                </a:lnTo>
                <a:lnTo>
                  <a:pt x="668198" y="1173998"/>
                </a:lnTo>
                <a:lnTo>
                  <a:pt x="649590" y="1188659"/>
                </a:lnTo>
                <a:lnTo>
                  <a:pt x="619704" y="1223620"/>
                </a:lnTo>
                <a:lnTo>
                  <a:pt x="586435" y="1272114"/>
                </a:lnTo>
                <a:lnTo>
                  <a:pt x="605607" y="1268166"/>
                </a:lnTo>
                <a:lnTo>
                  <a:pt x="640568" y="1295796"/>
                </a:lnTo>
                <a:lnTo>
                  <a:pt x="651281" y="1294669"/>
                </a:lnTo>
                <a:lnTo>
                  <a:pt x="686242" y="1317788"/>
                </a:lnTo>
                <a:lnTo>
                  <a:pt x="713308" y="1337524"/>
                </a:lnTo>
                <a:lnTo>
                  <a:pt x="734736" y="1361770"/>
                </a:lnTo>
                <a:lnTo>
                  <a:pt x="724022" y="1378687"/>
                </a:lnTo>
                <a:lnTo>
                  <a:pt x="735863" y="1399550"/>
                </a:lnTo>
                <a:lnTo>
                  <a:pt x="752216" y="1378687"/>
                </a:lnTo>
                <a:lnTo>
                  <a:pt x="760674" y="1344854"/>
                </a:lnTo>
                <a:lnTo>
                  <a:pt x="778718" y="1327938"/>
                </a:lnTo>
                <a:lnTo>
                  <a:pt x="800710" y="1299744"/>
                </a:lnTo>
                <a:lnTo>
                  <a:pt x="826084" y="1236589"/>
                </a:lnTo>
                <a:lnTo>
                  <a:pt x="845256" y="1216853"/>
                </a:lnTo>
                <a:lnTo>
                  <a:pt x="849767" y="1199373"/>
                </a:lnTo>
                <a:lnTo>
                  <a:pt x="851459" y="1163284"/>
                </a:lnTo>
                <a:lnTo>
                  <a:pt x="844128" y="1143549"/>
                </a:lnTo>
                <a:lnTo>
                  <a:pt x="845820" y="1116483"/>
                </a:lnTo>
                <a:lnTo>
                  <a:pt x="868939" y="1080958"/>
                </a:lnTo>
                <a:lnTo>
                  <a:pt x="902772" y="1052200"/>
                </a:lnTo>
                <a:lnTo>
                  <a:pt x="936605" y="1042050"/>
                </a:lnTo>
                <a:lnTo>
                  <a:pt x="956904" y="1025698"/>
                </a:lnTo>
                <a:lnTo>
                  <a:pt x="1004834" y="1012165"/>
                </a:lnTo>
                <a:lnTo>
                  <a:pt x="1038103" y="1012165"/>
                </a:lnTo>
                <a:lnTo>
                  <a:pt x="1044306" y="990737"/>
                </a:lnTo>
                <a:lnTo>
                  <a:pt x="1067989" y="974949"/>
                </a:lnTo>
                <a:lnTo>
                  <a:pt x="1071372" y="938297"/>
                </a:lnTo>
                <a:lnTo>
                  <a:pt x="1100130" y="891495"/>
                </a:lnTo>
                <a:lnTo>
                  <a:pt x="1102949" y="843565"/>
                </a:lnTo>
                <a:lnTo>
                  <a:pt x="1111971" y="828904"/>
                </a:lnTo>
                <a:lnTo>
                  <a:pt x="1113663" y="805785"/>
                </a:lnTo>
                <a:lnTo>
                  <a:pt x="1119866" y="749960"/>
                </a:lnTo>
                <a:lnTo>
                  <a:pt x="1114227" y="682859"/>
                </a:lnTo>
                <a:lnTo>
                  <a:pt x="1122121" y="656357"/>
                </a:lnTo>
                <a:lnTo>
                  <a:pt x="1130016" y="655792"/>
                </a:lnTo>
                <a:lnTo>
                  <a:pt x="1152007" y="624779"/>
                </a:lnTo>
                <a:lnTo>
                  <a:pt x="1170615" y="584180"/>
                </a:lnTo>
                <a:lnTo>
                  <a:pt x="1214034" y="534558"/>
                </a:lnTo>
                <a:lnTo>
                  <a:pt x="1229258" y="510876"/>
                </a:lnTo>
                <a:lnTo>
                  <a:pt x="1240536" y="451668"/>
                </a:lnTo>
                <a:lnTo>
                  <a:pt x="1234897" y="429677"/>
                </a:lnTo>
                <a:lnTo>
                  <a:pt x="1223620" y="384003"/>
                </a:lnTo>
                <a:lnTo>
                  <a:pt x="1211778" y="372725"/>
                </a:lnTo>
                <a:lnTo>
                  <a:pt x="1184712" y="371597"/>
                </a:lnTo>
                <a:lnTo>
                  <a:pt x="1160465" y="360883"/>
                </a:lnTo>
                <a:lnTo>
                  <a:pt x="1119302" y="320848"/>
                </a:lnTo>
                <a:lnTo>
                  <a:pt x="1071936" y="290962"/>
                </a:lnTo>
                <a:lnTo>
                  <a:pt x="1024570" y="292654"/>
                </a:lnTo>
                <a:lnTo>
                  <a:pt x="963107" y="273482"/>
                </a:lnTo>
                <a:lnTo>
                  <a:pt x="926455" y="284759"/>
                </a:lnTo>
                <a:lnTo>
                  <a:pt x="930966" y="265024"/>
                </a:lnTo>
                <a:lnTo>
                  <a:pt x="915741" y="243596"/>
                </a:lnTo>
                <a:lnTo>
                  <a:pt x="862736" y="222169"/>
                </a:lnTo>
                <a:lnTo>
                  <a:pt x="822701" y="209200"/>
                </a:lnTo>
                <a:lnTo>
                  <a:pt x="799018" y="232319"/>
                </a:lnTo>
                <a:lnTo>
                  <a:pt x="797326" y="196794"/>
                </a:lnTo>
                <a:lnTo>
                  <a:pt x="741502" y="191155"/>
                </a:lnTo>
                <a:lnTo>
                  <a:pt x="731916" y="179878"/>
                </a:lnTo>
                <a:lnTo>
                  <a:pt x="755599" y="150556"/>
                </a:lnTo>
                <a:lnTo>
                  <a:pt x="755035" y="125745"/>
                </a:lnTo>
                <a:lnTo>
                  <a:pt x="738119" y="120106"/>
                </a:lnTo>
                <a:lnTo>
                  <a:pt x="721203" y="56952"/>
                </a:lnTo>
                <a:lnTo>
                  <a:pt x="713872" y="37216"/>
                </a:lnTo>
                <a:lnTo>
                  <a:pt x="703158" y="38908"/>
                </a:lnTo>
                <a:lnTo>
                  <a:pt x="683423" y="71613"/>
                </a:lnTo>
                <a:lnTo>
                  <a:pt x="673273" y="98115"/>
                </a:lnTo>
                <a:lnTo>
                  <a:pt x="661431" y="111648"/>
                </a:lnTo>
                <a:lnTo>
                  <a:pt x="646206" y="114468"/>
                </a:lnTo>
                <a:lnTo>
                  <a:pt x="641695" y="104318"/>
                </a:lnTo>
                <a:lnTo>
                  <a:pt x="634929" y="102626"/>
                </a:lnTo>
                <a:lnTo>
                  <a:pt x="624779" y="112776"/>
                </a:lnTo>
                <a:lnTo>
                  <a:pt x="611246" y="105446"/>
                </a:lnTo>
                <a:lnTo>
                  <a:pt x="593202" y="97551"/>
                </a:lnTo>
                <a:lnTo>
                  <a:pt x="577977" y="101498"/>
                </a:lnTo>
                <a:lnTo>
                  <a:pt x="565008" y="98115"/>
                </a:lnTo>
                <a:lnTo>
                  <a:pt x="562188" y="108265"/>
                </a:lnTo>
                <a:lnTo>
                  <a:pt x="567263" y="115595"/>
                </a:lnTo>
                <a:lnTo>
                  <a:pt x="564444" y="122926"/>
                </a:lnTo>
                <a:lnTo>
                  <a:pt x="546964" y="120106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1" name="Freeform: Shape 264">
            <a:extLst>
              <a:ext uri="{FF2B5EF4-FFF2-40B4-BE49-F238E27FC236}">
                <a16:creationId xmlns:a16="http://schemas.microsoft.com/office/drawing/2014/main" id="{C0ECFBA2-B243-4E82-991D-4B3112E50230}"/>
              </a:ext>
            </a:extLst>
          </p:cNvPr>
          <p:cNvSpPr/>
          <p:nvPr/>
        </p:nvSpPr>
        <p:spPr>
          <a:xfrm>
            <a:off x="8544208" y="3976664"/>
            <a:ext cx="25283" cy="37924"/>
          </a:xfrm>
          <a:custGeom>
            <a:avLst/>
            <a:gdLst>
              <a:gd name="connsiteX0" fmla="*/ 0 w 33832"/>
              <a:gd name="connsiteY0" fmla="*/ 33269 h 50749"/>
              <a:gd name="connsiteX1" fmla="*/ 15224 w 33832"/>
              <a:gd name="connsiteY1" fmla="*/ 51877 h 50749"/>
              <a:gd name="connsiteX2" fmla="*/ 21427 w 33832"/>
              <a:gd name="connsiteY2" fmla="*/ 39472 h 50749"/>
              <a:gd name="connsiteX3" fmla="*/ 36652 w 33832"/>
              <a:gd name="connsiteY3" fmla="*/ 40599 h 50749"/>
              <a:gd name="connsiteX4" fmla="*/ 37216 w 33832"/>
              <a:gd name="connsiteY4" fmla="*/ 17480 h 50749"/>
              <a:gd name="connsiteX5" fmla="*/ 37780 w 33832"/>
              <a:gd name="connsiteY5" fmla="*/ 0 h 50749"/>
              <a:gd name="connsiteX6" fmla="*/ 11841 w 33832"/>
              <a:gd name="connsiteY6" fmla="*/ 19736 h 50749"/>
              <a:gd name="connsiteX7" fmla="*/ 0 w 33832"/>
              <a:gd name="connsiteY7" fmla="*/ 33269 h 507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832" h="50749">
                <a:moveTo>
                  <a:pt x="0" y="33269"/>
                </a:moveTo>
                <a:lnTo>
                  <a:pt x="15224" y="51877"/>
                </a:lnTo>
                <a:lnTo>
                  <a:pt x="21427" y="39472"/>
                </a:lnTo>
                <a:lnTo>
                  <a:pt x="36652" y="40599"/>
                </a:lnTo>
                <a:lnTo>
                  <a:pt x="37216" y="17480"/>
                </a:lnTo>
                <a:lnTo>
                  <a:pt x="37780" y="0"/>
                </a:lnTo>
                <a:lnTo>
                  <a:pt x="11841" y="19736"/>
                </a:lnTo>
                <a:lnTo>
                  <a:pt x="0" y="33269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2" name="Freeform: Shape 265">
            <a:extLst>
              <a:ext uri="{FF2B5EF4-FFF2-40B4-BE49-F238E27FC236}">
                <a16:creationId xmlns:a16="http://schemas.microsoft.com/office/drawing/2014/main" id="{C18F88DF-F44F-4D15-AE29-061948DD6A0E}"/>
              </a:ext>
            </a:extLst>
          </p:cNvPr>
          <p:cNvSpPr/>
          <p:nvPr/>
        </p:nvSpPr>
        <p:spPr>
          <a:xfrm>
            <a:off x="7878009" y="3363980"/>
            <a:ext cx="75848" cy="42138"/>
          </a:xfrm>
          <a:custGeom>
            <a:avLst/>
            <a:gdLst>
              <a:gd name="connsiteX0" fmla="*/ 84582 w 101498"/>
              <a:gd name="connsiteY0" fmla="*/ 19172 h 56388"/>
              <a:gd name="connsiteX1" fmla="*/ 69358 w 101498"/>
              <a:gd name="connsiteY1" fmla="*/ 9022 h 56388"/>
              <a:gd name="connsiteX2" fmla="*/ 53005 w 101498"/>
              <a:gd name="connsiteY2" fmla="*/ 8458 h 56388"/>
              <a:gd name="connsiteX3" fmla="*/ 29322 w 101498"/>
              <a:gd name="connsiteY3" fmla="*/ 0 h 56388"/>
              <a:gd name="connsiteX4" fmla="*/ 14661 w 101498"/>
              <a:gd name="connsiteY4" fmla="*/ 9022 h 56388"/>
              <a:gd name="connsiteX5" fmla="*/ 0 w 101498"/>
              <a:gd name="connsiteY5" fmla="*/ 36088 h 56388"/>
              <a:gd name="connsiteX6" fmla="*/ 1692 w 101498"/>
              <a:gd name="connsiteY6" fmla="*/ 42855 h 56388"/>
              <a:gd name="connsiteX7" fmla="*/ 32705 w 101498"/>
              <a:gd name="connsiteY7" fmla="*/ 56952 h 56388"/>
              <a:gd name="connsiteX8" fmla="*/ 50749 w 101498"/>
              <a:gd name="connsiteY8" fmla="*/ 51313 h 56388"/>
              <a:gd name="connsiteX9" fmla="*/ 77252 w 101498"/>
              <a:gd name="connsiteY9" fmla="*/ 53569 h 56388"/>
              <a:gd name="connsiteX10" fmla="*/ 102063 w 101498"/>
              <a:gd name="connsiteY10" fmla="*/ 52441 h 56388"/>
              <a:gd name="connsiteX11" fmla="*/ 99807 w 101498"/>
              <a:gd name="connsiteY11" fmla="*/ 30449 h 56388"/>
              <a:gd name="connsiteX12" fmla="*/ 84582 w 101498"/>
              <a:gd name="connsiteY12" fmla="*/ 19172 h 56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01498" h="56388">
                <a:moveTo>
                  <a:pt x="84582" y="19172"/>
                </a:moveTo>
                <a:lnTo>
                  <a:pt x="69358" y="9022"/>
                </a:lnTo>
                <a:lnTo>
                  <a:pt x="53005" y="8458"/>
                </a:lnTo>
                <a:lnTo>
                  <a:pt x="29322" y="0"/>
                </a:lnTo>
                <a:lnTo>
                  <a:pt x="14661" y="9022"/>
                </a:lnTo>
                <a:lnTo>
                  <a:pt x="0" y="36088"/>
                </a:lnTo>
                <a:lnTo>
                  <a:pt x="1692" y="42855"/>
                </a:lnTo>
                <a:lnTo>
                  <a:pt x="32705" y="56952"/>
                </a:lnTo>
                <a:lnTo>
                  <a:pt x="50749" y="51313"/>
                </a:lnTo>
                <a:lnTo>
                  <a:pt x="77252" y="53569"/>
                </a:lnTo>
                <a:lnTo>
                  <a:pt x="102063" y="52441"/>
                </a:lnTo>
                <a:lnTo>
                  <a:pt x="99807" y="30449"/>
                </a:lnTo>
                <a:lnTo>
                  <a:pt x="84582" y="19172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3" name="Freeform: Shape 266">
            <a:extLst>
              <a:ext uri="{FF2B5EF4-FFF2-40B4-BE49-F238E27FC236}">
                <a16:creationId xmlns:a16="http://schemas.microsoft.com/office/drawing/2014/main" id="{1F75DE44-8A81-4E2B-9DF0-5A6CA2BF66ED}"/>
              </a:ext>
            </a:extLst>
          </p:cNvPr>
          <p:cNvSpPr/>
          <p:nvPr/>
        </p:nvSpPr>
        <p:spPr>
          <a:xfrm>
            <a:off x="6301630" y="4596091"/>
            <a:ext cx="223331" cy="244399"/>
          </a:xfrm>
          <a:custGeom>
            <a:avLst/>
            <a:gdLst>
              <a:gd name="connsiteX0" fmla="*/ 175367 w 298856"/>
              <a:gd name="connsiteY0" fmla="*/ 2819 h 327050"/>
              <a:gd name="connsiteX1" fmla="*/ 169728 w 298856"/>
              <a:gd name="connsiteY1" fmla="*/ 0 h 327050"/>
              <a:gd name="connsiteX2" fmla="*/ 151684 w 298856"/>
              <a:gd name="connsiteY2" fmla="*/ 8458 h 327050"/>
              <a:gd name="connsiteX3" fmla="*/ 142662 w 298856"/>
              <a:gd name="connsiteY3" fmla="*/ 8458 h 327050"/>
              <a:gd name="connsiteX4" fmla="*/ 121798 w 298856"/>
              <a:gd name="connsiteY4" fmla="*/ 22555 h 327050"/>
              <a:gd name="connsiteX5" fmla="*/ 110520 w 298856"/>
              <a:gd name="connsiteY5" fmla="*/ 7894 h 327050"/>
              <a:gd name="connsiteX6" fmla="*/ 62027 w 298856"/>
              <a:gd name="connsiteY6" fmla="*/ 20300 h 327050"/>
              <a:gd name="connsiteX7" fmla="*/ 38908 w 298856"/>
              <a:gd name="connsiteY7" fmla="*/ 21427 h 327050"/>
              <a:gd name="connsiteX8" fmla="*/ 33833 w 298856"/>
              <a:gd name="connsiteY8" fmla="*/ 149428 h 327050"/>
              <a:gd name="connsiteX9" fmla="*/ 3383 w 298856"/>
              <a:gd name="connsiteY9" fmla="*/ 150556 h 327050"/>
              <a:gd name="connsiteX10" fmla="*/ 0 w 298856"/>
              <a:gd name="connsiteY10" fmla="*/ 254874 h 327050"/>
              <a:gd name="connsiteX11" fmla="*/ 7894 w 298856"/>
              <a:gd name="connsiteY11" fmla="*/ 260513 h 327050"/>
              <a:gd name="connsiteX12" fmla="*/ 24811 w 298856"/>
              <a:gd name="connsiteY12" fmla="*/ 294909 h 327050"/>
              <a:gd name="connsiteX13" fmla="*/ 20864 w 298856"/>
              <a:gd name="connsiteY13" fmla="*/ 316337 h 327050"/>
              <a:gd name="connsiteX14" fmla="*/ 27067 w 298856"/>
              <a:gd name="connsiteY14" fmla="*/ 329306 h 327050"/>
              <a:gd name="connsiteX15" fmla="*/ 49622 w 298856"/>
              <a:gd name="connsiteY15" fmla="*/ 325359 h 327050"/>
              <a:gd name="connsiteX16" fmla="*/ 65410 w 298856"/>
              <a:gd name="connsiteY16" fmla="*/ 309570 h 327050"/>
              <a:gd name="connsiteX17" fmla="*/ 80635 w 298856"/>
              <a:gd name="connsiteY17" fmla="*/ 298856 h 327050"/>
              <a:gd name="connsiteX18" fmla="*/ 89093 w 298856"/>
              <a:gd name="connsiteY18" fmla="*/ 281376 h 327050"/>
              <a:gd name="connsiteX19" fmla="*/ 104318 w 298856"/>
              <a:gd name="connsiteY19" fmla="*/ 272918 h 327050"/>
              <a:gd name="connsiteX20" fmla="*/ 117287 w 298856"/>
              <a:gd name="connsiteY20" fmla="*/ 277429 h 327050"/>
              <a:gd name="connsiteX21" fmla="*/ 131384 w 298856"/>
              <a:gd name="connsiteY21" fmla="*/ 287579 h 327050"/>
              <a:gd name="connsiteX22" fmla="*/ 156195 w 298856"/>
              <a:gd name="connsiteY22" fmla="*/ 289270 h 327050"/>
              <a:gd name="connsiteX23" fmla="*/ 176495 w 298856"/>
              <a:gd name="connsiteY23" fmla="*/ 280812 h 327050"/>
              <a:gd name="connsiteX24" fmla="*/ 179878 w 298856"/>
              <a:gd name="connsiteY24" fmla="*/ 269535 h 327050"/>
              <a:gd name="connsiteX25" fmla="*/ 186644 w 298856"/>
              <a:gd name="connsiteY25" fmla="*/ 252618 h 327050"/>
              <a:gd name="connsiteX26" fmla="*/ 203561 w 298856"/>
              <a:gd name="connsiteY26" fmla="*/ 249799 h 327050"/>
              <a:gd name="connsiteX27" fmla="*/ 213147 w 298856"/>
              <a:gd name="connsiteY27" fmla="*/ 236266 h 327050"/>
              <a:gd name="connsiteX28" fmla="*/ 224425 w 298856"/>
              <a:gd name="connsiteY28" fmla="*/ 212019 h 327050"/>
              <a:gd name="connsiteX29" fmla="*/ 253746 w 298856"/>
              <a:gd name="connsiteY29" fmla="*/ 185517 h 327050"/>
              <a:gd name="connsiteX30" fmla="*/ 298856 w 298856"/>
              <a:gd name="connsiteY30" fmla="*/ 159014 h 327050"/>
              <a:gd name="connsiteX31" fmla="*/ 279684 w 298856"/>
              <a:gd name="connsiteY31" fmla="*/ 142662 h 327050"/>
              <a:gd name="connsiteX32" fmla="*/ 256002 w 298856"/>
              <a:gd name="connsiteY32" fmla="*/ 137587 h 327050"/>
              <a:gd name="connsiteX33" fmla="*/ 247543 w 298856"/>
              <a:gd name="connsiteY33" fmla="*/ 114468 h 327050"/>
              <a:gd name="connsiteX34" fmla="*/ 248107 w 298856"/>
              <a:gd name="connsiteY34" fmla="*/ 102062 h 327050"/>
              <a:gd name="connsiteX35" fmla="*/ 235138 w 298856"/>
              <a:gd name="connsiteY35" fmla="*/ 98115 h 327050"/>
              <a:gd name="connsiteX36" fmla="*/ 201306 w 298856"/>
              <a:gd name="connsiteY36" fmla="*/ 58644 h 327050"/>
              <a:gd name="connsiteX37" fmla="*/ 192283 w 298856"/>
              <a:gd name="connsiteY37" fmla="*/ 37780 h 327050"/>
              <a:gd name="connsiteX38" fmla="*/ 186080 w 298856"/>
              <a:gd name="connsiteY38" fmla="*/ 31577 h 327050"/>
              <a:gd name="connsiteX39" fmla="*/ 175367 w 298856"/>
              <a:gd name="connsiteY39" fmla="*/ 2819 h 32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298856" h="327050">
                <a:moveTo>
                  <a:pt x="175367" y="2819"/>
                </a:moveTo>
                <a:lnTo>
                  <a:pt x="169728" y="0"/>
                </a:lnTo>
                <a:lnTo>
                  <a:pt x="151684" y="8458"/>
                </a:lnTo>
                <a:lnTo>
                  <a:pt x="142662" y="8458"/>
                </a:lnTo>
                <a:lnTo>
                  <a:pt x="121798" y="22555"/>
                </a:lnTo>
                <a:lnTo>
                  <a:pt x="110520" y="7894"/>
                </a:lnTo>
                <a:lnTo>
                  <a:pt x="62027" y="20300"/>
                </a:lnTo>
                <a:lnTo>
                  <a:pt x="38908" y="21427"/>
                </a:lnTo>
                <a:lnTo>
                  <a:pt x="33833" y="149428"/>
                </a:lnTo>
                <a:lnTo>
                  <a:pt x="3383" y="150556"/>
                </a:lnTo>
                <a:lnTo>
                  <a:pt x="0" y="254874"/>
                </a:lnTo>
                <a:lnTo>
                  <a:pt x="7894" y="260513"/>
                </a:lnTo>
                <a:lnTo>
                  <a:pt x="24811" y="294909"/>
                </a:lnTo>
                <a:lnTo>
                  <a:pt x="20864" y="316337"/>
                </a:lnTo>
                <a:lnTo>
                  <a:pt x="27067" y="329306"/>
                </a:lnTo>
                <a:lnTo>
                  <a:pt x="49622" y="325359"/>
                </a:lnTo>
                <a:lnTo>
                  <a:pt x="65410" y="309570"/>
                </a:lnTo>
                <a:lnTo>
                  <a:pt x="80635" y="298856"/>
                </a:lnTo>
                <a:lnTo>
                  <a:pt x="89093" y="281376"/>
                </a:lnTo>
                <a:lnTo>
                  <a:pt x="104318" y="272918"/>
                </a:lnTo>
                <a:lnTo>
                  <a:pt x="117287" y="277429"/>
                </a:lnTo>
                <a:lnTo>
                  <a:pt x="131384" y="287579"/>
                </a:lnTo>
                <a:lnTo>
                  <a:pt x="156195" y="289270"/>
                </a:lnTo>
                <a:lnTo>
                  <a:pt x="176495" y="280812"/>
                </a:lnTo>
                <a:lnTo>
                  <a:pt x="179878" y="269535"/>
                </a:lnTo>
                <a:lnTo>
                  <a:pt x="186644" y="252618"/>
                </a:lnTo>
                <a:lnTo>
                  <a:pt x="203561" y="249799"/>
                </a:lnTo>
                <a:lnTo>
                  <a:pt x="213147" y="236266"/>
                </a:lnTo>
                <a:lnTo>
                  <a:pt x="224425" y="212019"/>
                </a:lnTo>
                <a:lnTo>
                  <a:pt x="253746" y="185517"/>
                </a:lnTo>
                <a:lnTo>
                  <a:pt x="298856" y="159014"/>
                </a:lnTo>
                <a:lnTo>
                  <a:pt x="279684" y="142662"/>
                </a:lnTo>
                <a:lnTo>
                  <a:pt x="256002" y="137587"/>
                </a:lnTo>
                <a:lnTo>
                  <a:pt x="247543" y="114468"/>
                </a:lnTo>
                <a:lnTo>
                  <a:pt x="248107" y="102062"/>
                </a:lnTo>
                <a:lnTo>
                  <a:pt x="235138" y="98115"/>
                </a:lnTo>
                <a:lnTo>
                  <a:pt x="201306" y="58644"/>
                </a:lnTo>
                <a:lnTo>
                  <a:pt x="192283" y="37780"/>
                </a:lnTo>
                <a:lnTo>
                  <a:pt x="186080" y="31577"/>
                </a:lnTo>
                <a:lnTo>
                  <a:pt x="175367" y="2819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4" name="Freeform: Shape 267">
            <a:extLst>
              <a:ext uri="{FF2B5EF4-FFF2-40B4-BE49-F238E27FC236}">
                <a16:creationId xmlns:a16="http://schemas.microsoft.com/office/drawing/2014/main" id="{D752E551-70BF-43F9-A1AC-9431AA671F46}"/>
              </a:ext>
            </a:extLst>
          </p:cNvPr>
          <p:cNvSpPr/>
          <p:nvPr/>
        </p:nvSpPr>
        <p:spPr>
          <a:xfrm>
            <a:off x="6184488" y="3824124"/>
            <a:ext cx="303393" cy="235972"/>
          </a:xfrm>
          <a:custGeom>
            <a:avLst/>
            <a:gdLst>
              <a:gd name="connsiteX0" fmla="*/ 297165 w 405993"/>
              <a:gd name="connsiteY0" fmla="*/ 90221 h 315772"/>
              <a:gd name="connsiteX1" fmla="*/ 294345 w 405993"/>
              <a:gd name="connsiteY1" fmla="*/ 88529 h 315772"/>
              <a:gd name="connsiteX2" fmla="*/ 283068 w 405993"/>
              <a:gd name="connsiteY2" fmla="*/ 78379 h 315772"/>
              <a:gd name="connsiteX3" fmla="*/ 281376 w 405993"/>
              <a:gd name="connsiteY3" fmla="*/ 67102 h 315772"/>
              <a:gd name="connsiteX4" fmla="*/ 285887 w 405993"/>
              <a:gd name="connsiteY4" fmla="*/ 52441 h 315772"/>
              <a:gd name="connsiteX5" fmla="*/ 285887 w 405993"/>
              <a:gd name="connsiteY5" fmla="*/ 37780 h 315772"/>
              <a:gd name="connsiteX6" fmla="*/ 267279 w 405993"/>
              <a:gd name="connsiteY6" fmla="*/ 15225 h 315772"/>
              <a:gd name="connsiteX7" fmla="*/ 263332 w 405993"/>
              <a:gd name="connsiteY7" fmla="*/ 0 h 315772"/>
              <a:gd name="connsiteX8" fmla="*/ 243596 w 405993"/>
              <a:gd name="connsiteY8" fmla="*/ 6203 h 315772"/>
              <a:gd name="connsiteX9" fmla="*/ 227807 w 405993"/>
              <a:gd name="connsiteY9" fmla="*/ 20300 h 315772"/>
              <a:gd name="connsiteX10" fmla="*/ 205252 w 405993"/>
              <a:gd name="connsiteY10" fmla="*/ 59771 h 315772"/>
              <a:gd name="connsiteX11" fmla="*/ 175930 w 405993"/>
              <a:gd name="connsiteY11" fmla="*/ 76124 h 315772"/>
              <a:gd name="connsiteX12" fmla="*/ 145481 w 405993"/>
              <a:gd name="connsiteY12" fmla="*/ 73868 h 315772"/>
              <a:gd name="connsiteX13" fmla="*/ 136459 w 405993"/>
              <a:gd name="connsiteY13" fmla="*/ 77252 h 315772"/>
              <a:gd name="connsiteX14" fmla="*/ 139842 w 405993"/>
              <a:gd name="connsiteY14" fmla="*/ 90221 h 315772"/>
              <a:gd name="connsiteX15" fmla="*/ 123489 w 405993"/>
              <a:gd name="connsiteY15" fmla="*/ 102626 h 315772"/>
              <a:gd name="connsiteX16" fmla="*/ 110520 w 405993"/>
              <a:gd name="connsiteY16" fmla="*/ 116723 h 315772"/>
              <a:gd name="connsiteX17" fmla="*/ 70485 w 405993"/>
              <a:gd name="connsiteY17" fmla="*/ 130256 h 315772"/>
              <a:gd name="connsiteX18" fmla="*/ 62591 w 405993"/>
              <a:gd name="connsiteY18" fmla="*/ 122362 h 315772"/>
              <a:gd name="connsiteX19" fmla="*/ 57515 w 405993"/>
              <a:gd name="connsiteY19" fmla="*/ 121234 h 315772"/>
              <a:gd name="connsiteX20" fmla="*/ 51877 w 405993"/>
              <a:gd name="connsiteY20" fmla="*/ 130820 h 315772"/>
              <a:gd name="connsiteX21" fmla="*/ 25375 w 405993"/>
              <a:gd name="connsiteY21" fmla="*/ 133076 h 315772"/>
              <a:gd name="connsiteX22" fmla="*/ 10149 w 405993"/>
              <a:gd name="connsiteY22" fmla="*/ 169728 h 315772"/>
              <a:gd name="connsiteX23" fmla="*/ 2255 w 405993"/>
              <a:gd name="connsiteY23" fmla="*/ 175931 h 315772"/>
              <a:gd name="connsiteX24" fmla="*/ 0 w 405993"/>
              <a:gd name="connsiteY24" fmla="*/ 204125 h 315772"/>
              <a:gd name="connsiteX25" fmla="*/ 3383 w 405993"/>
              <a:gd name="connsiteY25" fmla="*/ 219349 h 315772"/>
              <a:gd name="connsiteX26" fmla="*/ 1127 w 405993"/>
              <a:gd name="connsiteY26" fmla="*/ 230063 h 315772"/>
              <a:gd name="connsiteX27" fmla="*/ 15788 w 405993"/>
              <a:gd name="connsiteY27" fmla="*/ 248671 h 315772"/>
              <a:gd name="connsiteX28" fmla="*/ 18608 w 405993"/>
              <a:gd name="connsiteY28" fmla="*/ 261640 h 315772"/>
              <a:gd name="connsiteX29" fmla="*/ 30449 w 405993"/>
              <a:gd name="connsiteY29" fmla="*/ 279685 h 315772"/>
              <a:gd name="connsiteX30" fmla="*/ 45110 w 405993"/>
              <a:gd name="connsiteY30" fmla="*/ 291526 h 315772"/>
              <a:gd name="connsiteX31" fmla="*/ 46802 w 405993"/>
              <a:gd name="connsiteY31" fmla="*/ 307879 h 315772"/>
              <a:gd name="connsiteX32" fmla="*/ 50185 w 405993"/>
              <a:gd name="connsiteY32" fmla="*/ 318028 h 315772"/>
              <a:gd name="connsiteX33" fmla="*/ 66537 w 405993"/>
              <a:gd name="connsiteY33" fmla="*/ 284759 h 315772"/>
              <a:gd name="connsiteX34" fmla="*/ 85146 w 405993"/>
              <a:gd name="connsiteY34" fmla="*/ 265588 h 315772"/>
              <a:gd name="connsiteX35" fmla="*/ 106573 w 405993"/>
              <a:gd name="connsiteY35" fmla="*/ 271790 h 315772"/>
              <a:gd name="connsiteX36" fmla="*/ 126873 w 405993"/>
              <a:gd name="connsiteY36" fmla="*/ 274046 h 315772"/>
              <a:gd name="connsiteX37" fmla="*/ 129692 w 405993"/>
              <a:gd name="connsiteY37" fmla="*/ 248671 h 315772"/>
              <a:gd name="connsiteX38" fmla="*/ 142097 w 405993"/>
              <a:gd name="connsiteY38" fmla="*/ 230627 h 315772"/>
              <a:gd name="connsiteX39" fmla="*/ 159014 w 405993"/>
              <a:gd name="connsiteY39" fmla="*/ 219349 h 315772"/>
              <a:gd name="connsiteX40" fmla="*/ 184952 w 405993"/>
              <a:gd name="connsiteY40" fmla="*/ 231191 h 315772"/>
              <a:gd name="connsiteX41" fmla="*/ 205252 w 405993"/>
              <a:gd name="connsiteY41" fmla="*/ 244724 h 315772"/>
              <a:gd name="connsiteX42" fmla="*/ 228371 w 405993"/>
              <a:gd name="connsiteY42" fmla="*/ 248107 h 315772"/>
              <a:gd name="connsiteX43" fmla="*/ 252054 w 405993"/>
              <a:gd name="connsiteY43" fmla="*/ 254874 h 315772"/>
              <a:gd name="connsiteX44" fmla="*/ 261076 w 405993"/>
              <a:gd name="connsiteY44" fmla="*/ 233446 h 315772"/>
              <a:gd name="connsiteX45" fmla="*/ 265587 w 405993"/>
              <a:gd name="connsiteY45" fmla="*/ 230627 h 315772"/>
              <a:gd name="connsiteX46" fmla="*/ 280248 w 405993"/>
              <a:gd name="connsiteY46" fmla="*/ 234010 h 315772"/>
              <a:gd name="connsiteX47" fmla="*/ 315208 w 405993"/>
              <a:gd name="connsiteY47" fmla="*/ 216530 h 315772"/>
              <a:gd name="connsiteX48" fmla="*/ 327614 w 405993"/>
              <a:gd name="connsiteY48" fmla="*/ 223860 h 315772"/>
              <a:gd name="connsiteX49" fmla="*/ 337764 w 405993"/>
              <a:gd name="connsiteY49" fmla="*/ 222733 h 315772"/>
              <a:gd name="connsiteX50" fmla="*/ 342839 w 405993"/>
              <a:gd name="connsiteY50" fmla="*/ 214274 h 315772"/>
              <a:gd name="connsiteX51" fmla="*/ 354116 w 405993"/>
              <a:gd name="connsiteY51" fmla="*/ 210891 h 315772"/>
              <a:gd name="connsiteX52" fmla="*/ 378363 w 405993"/>
              <a:gd name="connsiteY52" fmla="*/ 214839 h 315772"/>
              <a:gd name="connsiteX53" fmla="*/ 398663 w 405993"/>
              <a:gd name="connsiteY53" fmla="*/ 215402 h 315772"/>
              <a:gd name="connsiteX54" fmla="*/ 408813 w 405993"/>
              <a:gd name="connsiteY54" fmla="*/ 212019 h 315772"/>
              <a:gd name="connsiteX55" fmla="*/ 403738 w 405993"/>
              <a:gd name="connsiteY55" fmla="*/ 200177 h 315772"/>
              <a:gd name="connsiteX56" fmla="*/ 380055 w 405993"/>
              <a:gd name="connsiteY56" fmla="*/ 186080 h 315772"/>
              <a:gd name="connsiteX57" fmla="*/ 371596 w 405993"/>
              <a:gd name="connsiteY57" fmla="*/ 164653 h 315772"/>
              <a:gd name="connsiteX58" fmla="*/ 358064 w 405993"/>
              <a:gd name="connsiteY58" fmla="*/ 149428 h 315772"/>
              <a:gd name="connsiteX59" fmla="*/ 336636 w 405993"/>
              <a:gd name="connsiteY59" fmla="*/ 130256 h 315772"/>
              <a:gd name="connsiteX60" fmla="*/ 336072 w 405993"/>
              <a:gd name="connsiteY60" fmla="*/ 118979 h 315772"/>
              <a:gd name="connsiteX61" fmla="*/ 318592 w 405993"/>
              <a:gd name="connsiteY61" fmla="*/ 104318 h 315772"/>
              <a:gd name="connsiteX62" fmla="*/ 297165 w 405993"/>
              <a:gd name="connsiteY62" fmla="*/ 90221 h 3157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</a:cxnLst>
            <a:rect l="l" t="t" r="r" b="b"/>
            <a:pathLst>
              <a:path w="405993" h="315772">
                <a:moveTo>
                  <a:pt x="297165" y="90221"/>
                </a:moveTo>
                <a:lnTo>
                  <a:pt x="294345" y="88529"/>
                </a:lnTo>
                <a:lnTo>
                  <a:pt x="283068" y="78379"/>
                </a:lnTo>
                <a:lnTo>
                  <a:pt x="281376" y="67102"/>
                </a:lnTo>
                <a:lnTo>
                  <a:pt x="285887" y="52441"/>
                </a:lnTo>
                <a:lnTo>
                  <a:pt x="285887" y="37780"/>
                </a:lnTo>
                <a:lnTo>
                  <a:pt x="267279" y="15225"/>
                </a:lnTo>
                <a:lnTo>
                  <a:pt x="263332" y="0"/>
                </a:lnTo>
                <a:lnTo>
                  <a:pt x="243596" y="6203"/>
                </a:lnTo>
                <a:lnTo>
                  <a:pt x="227807" y="20300"/>
                </a:lnTo>
                <a:lnTo>
                  <a:pt x="205252" y="59771"/>
                </a:lnTo>
                <a:lnTo>
                  <a:pt x="175930" y="76124"/>
                </a:lnTo>
                <a:lnTo>
                  <a:pt x="145481" y="73868"/>
                </a:lnTo>
                <a:lnTo>
                  <a:pt x="136459" y="77252"/>
                </a:lnTo>
                <a:lnTo>
                  <a:pt x="139842" y="90221"/>
                </a:lnTo>
                <a:lnTo>
                  <a:pt x="123489" y="102626"/>
                </a:lnTo>
                <a:lnTo>
                  <a:pt x="110520" y="116723"/>
                </a:lnTo>
                <a:lnTo>
                  <a:pt x="70485" y="130256"/>
                </a:lnTo>
                <a:lnTo>
                  <a:pt x="62591" y="122362"/>
                </a:lnTo>
                <a:lnTo>
                  <a:pt x="57515" y="121234"/>
                </a:lnTo>
                <a:lnTo>
                  <a:pt x="51877" y="130820"/>
                </a:lnTo>
                <a:lnTo>
                  <a:pt x="25375" y="133076"/>
                </a:lnTo>
                <a:lnTo>
                  <a:pt x="10149" y="169728"/>
                </a:lnTo>
                <a:lnTo>
                  <a:pt x="2255" y="175931"/>
                </a:lnTo>
                <a:lnTo>
                  <a:pt x="0" y="204125"/>
                </a:lnTo>
                <a:lnTo>
                  <a:pt x="3383" y="219349"/>
                </a:lnTo>
                <a:lnTo>
                  <a:pt x="1127" y="230063"/>
                </a:lnTo>
                <a:lnTo>
                  <a:pt x="15788" y="248671"/>
                </a:lnTo>
                <a:lnTo>
                  <a:pt x="18608" y="261640"/>
                </a:lnTo>
                <a:lnTo>
                  <a:pt x="30449" y="279685"/>
                </a:lnTo>
                <a:lnTo>
                  <a:pt x="45110" y="291526"/>
                </a:lnTo>
                <a:lnTo>
                  <a:pt x="46802" y="307879"/>
                </a:lnTo>
                <a:lnTo>
                  <a:pt x="50185" y="318028"/>
                </a:lnTo>
                <a:lnTo>
                  <a:pt x="66537" y="284759"/>
                </a:lnTo>
                <a:lnTo>
                  <a:pt x="85146" y="265588"/>
                </a:lnTo>
                <a:lnTo>
                  <a:pt x="106573" y="271790"/>
                </a:lnTo>
                <a:lnTo>
                  <a:pt x="126873" y="274046"/>
                </a:lnTo>
                <a:lnTo>
                  <a:pt x="129692" y="248671"/>
                </a:lnTo>
                <a:lnTo>
                  <a:pt x="142097" y="230627"/>
                </a:lnTo>
                <a:lnTo>
                  <a:pt x="159014" y="219349"/>
                </a:lnTo>
                <a:lnTo>
                  <a:pt x="184952" y="231191"/>
                </a:lnTo>
                <a:lnTo>
                  <a:pt x="205252" y="244724"/>
                </a:lnTo>
                <a:lnTo>
                  <a:pt x="228371" y="248107"/>
                </a:lnTo>
                <a:lnTo>
                  <a:pt x="252054" y="254874"/>
                </a:lnTo>
                <a:lnTo>
                  <a:pt x="261076" y="233446"/>
                </a:lnTo>
                <a:lnTo>
                  <a:pt x="265587" y="230627"/>
                </a:lnTo>
                <a:lnTo>
                  <a:pt x="280248" y="234010"/>
                </a:lnTo>
                <a:lnTo>
                  <a:pt x="315208" y="216530"/>
                </a:lnTo>
                <a:lnTo>
                  <a:pt x="327614" y="223860"/>
                </a:lnTo>
                <a:lnTo>
                  <a:pt x="337764" y="222733"/>
                </a:lnTo>
                <a:lnTo>
                  <a:pt x="342839" y="214274"/>
                </a:lnTo>
                <a:lnTo>
                  <a:pt x="354116" y="210891"/>
                </a:lnTo>
                <a:lnTo>
                  <a:pt x="378363" y="214839"/>
                </a:lnTo>
                <a:lnTo>
                  <a:pt x="398663" y="215402"/>
                </a:lnTo>
                <a:lnTo>
                  <a:pt x="408813" y="212019"/>
                </a:lnTo>
                <a:lnTo>
                  <a:pt x="403738" y="200177"/>
                </a:lnTo>
                <a:lnTo>
                  <a:pt x="380055" y="186080"/>
                </a:lnTo>
                <a:lnTo>
                  <a:pt x="371596" y="164653"/>
                </a:lnTo>
                <a:lnTo>
                  <a:pt x="358064" y="149428"/>
                </a:lnTo>
                <a:lnTo>
                  <a:pt x="336636" y="130256"/>
                </a:lnTo>
                <a:lnTo>
                  <a:pt x="336072" y="118979"/>
                </a:lnTo>
                <a:lnTo>
                  <a:pt x="318592" y="104318"/>
                </a:lnTo>
                <a:lnTo>
                  <a:pt x="297165" y="90221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5" name="Freeform: Shape 268">
            <a:extLst>
              <a:ext uri="{FF2B5EF4-FFF2-40B4-BE49-F238E27FC236}">
                <a16:creationId xmlns:a16="http://schemas.microsoft.com/office/drawing/2014/main" id="{F34B24BC-2825-4931-99F9-4500279872CA}"/>
              </a:ext>
            </a:extLst>
          </p:cNvPr>
          <p:cNvSpPr/>
          <p:nvPr/>
        </p:nvSpPr>
        <p:spPr>
          <a:xfrm>
            <a:off x="3177107" y="2037478"/>
            <a:ext cx="1790860" cy="956530"/>
          </a:xfrm>
          <a:custGeom>
            <a:avLst/>
            <a:gdLst>
              <a:gd name="connsiteX0" fmla="*/ 1775658 w 2396490"/>
              <a:gd name="connsiteY0" fmla="*/ 1124377 h 1280007"/>
              <a:gd name="connsiteX1" fmla="*/ 1771711 w 2396490"/>
              <a:gd name="connsiteY1" fmla="*/ 1107460 h 1280007"/>
              <a:gd name="connsiteX2" fmla="*/ 1757614 w 2396490"/>
              <a:gd name="connsiteY2" fmla="*/ 1118174 h 1280007"/>
              <a:gd name="connsiteX3" fmla="*/ 1760433 w 2396490"/>
              <a:gd name="connsiteY3" fmla="*/ 1130016 h 1280007"/>
              <a:gd name="connsiteX4" fmla="*/ 1792011 w 2396490"/>
              <a:gd name="connsiteY4" fmla="*/ 1144676 h 1280007"/>
              <a:gd name="connsiteX5" fmla="*/ 1802724 w 2396490"/>
              <a:gd name="connsiteY5" fmla="*/ 1142421 h 1280007"/>
              <a:gd name="connsiteX6" fmla="*/ 1821332 w 2396490"/>
              <a:gd name="connsiteY6" fmla="*/ 1128324 h 1280007"/>
              <a:gd name="connsiteX7" fmla="*/ 1794830 w 2396490"/>
              <a:gd name="connsiteY7" fmla="*/ 1128888 h 1280007"/>
              <a:gd name="connsiteX8" fmla="*/ 1775658 w 2396490"/>
              <a:gd name="connsiteY8" fmla="*/ 1124377 h 1280007"/>
              <a:gd name="connsiteX9" fmla="*/ 1856857 w 2396490"/>
              <a:gd name="connsiteY9" fmla="*/ 1034720 h 1280007"/>
              <a:gd name="connsiteX10" fmla="*/ 1857984 w 2396490"/>
              <a:gd name="connsiteY10" fmla="*/ 1028517 h 1280007"/>
              <a:gd name="connsiteX11" fmla="*/ 1834866 w 2396490"/>
              <a:gd name="connsiteY11" fmla="*/ 1013856 h 1280007"/>
              <a:gd name="connsiteX12" fmla="*/ 1801596 w 2396490"/>
              <a:gd name="connsiteY12" fmla="*/ 1004834 h 1280007"/>
              <a:gd name="connsiteX13" fmla="*/ 1790883 w 2396490"/>
              <a:gd name="connsiteY13" fmla="*/ 1008218 h 1280007"/>
              <a:gd name="connsiteX14" fmla="*/ 1810619 w 2396490"/>
              <a:gd name="connsiteY14" fmla="*/ 1024570 h 1280007"/>
              <a:gd name="connsiteX15" fmla="*/ 1842760 w 2396490"/>
              <a:gd name="connsiteY15" fmla="*/ 1035284 h 1280007"/>
              <a:gd name="connsiteX16" fmla="*/ 1856857 w 2396490"/>
              <a:gd name="connsiteY16" fmla="*/ 1034720 h 1280007"/>
              <a:gd name="connsiteX17" fmla="*/ 135331 w 2396490"/>
              <a:gd name="connsiteY17" fmla="*/ 1055583 h 1280007"/>
              <a:gd name="connsiteX18" fmla="*/ 136459 w 2396490"/>
              <a:gd name="connsiteY18" fmla="*/ 1036412 h 1280007"/>
              <a:gd name="connsiteX19" fmla="*/ 118415 w 2396490"/>
              <a:gd name="connsiteY19" fmla="*/ 1021751 h 1280007"/>
              <a:gd name="connsiteX20" fmla="*/ 116159 w 2396490"/>
              <a:gd name="connsiteY20" fmla="*/ 1005398 h 1280007"/>
              <a:gd name="connsiteX21" fmla="*/ 115595 w 2396490"/>
              <a:gd name="connsiteY21" fmla="*/ 993557 h 1280007"/>
              <a:gd name="connsiteX22" fmla="*/ 92476 w 2396490"/>
              <a:gd name="connsiteY22" fmla="*/ 989609 h 1280007"/>
              <a:gd name="connsiteX23" fmla="*/ 78943 w 2396490"/>
              <a:gd name="connsiteY23" fmla="*/ 984534 h 1280007"/>
              <a:gd name="connsiteX24" fmla="*/ 55824 w 2396490"/>
              <a:gd name="connsiteY24" fmla="*/ 976640 h 1280007"/>
              <a:gd name="connsiteX25" fmla="*/ 47930 w 2396490"/>
              <a:gd name="connsiteY25" fmla="*/ 985098 h 1280007"/>
              <a:gd name="connsiteX26" fmla="*/ 44546 w 2396490"/>
              <a:gd name="connsiteY26" fmla="*/ 1003706 h 1280007"/>
              <a:gd name="connsiteX27" fmla="*/ 68793 w 2396490"/>
              <a:gd name="connsiteY27" fmla="*/ 1009909 h 1280007"/>
              <a:gd name="connsiteX28" fmla="*/ 66538 w 2396490"/>
              <a:gd name="connsiteY28" fmla="*/ 1020059 h 1280007"/>
              <a:gd name="connsiteX29" fmla="*/ 82890 w 2396490"/>
              <a:gd name="connsiteY29" fmla="*/ 1032464 h 1280007"/>
              <a:gd name="connsiteX30" fmla="*/ 82890 w 2396490"/>
              <a:gd name="connsiteY30" fmla="*/ 1044870 h 1280007"/>
              <a:gd name="connsiteX31" fmla="*/ 118415 w 2396490"/>
              <a:gd name="connsiteY31" fmla="*/ 1060658 h 1280007"/>
              <a:gd name="connsiteX32" fmla="*/ 135331 w 2396490"/>
              <a:gd name="connsiteY32" fmla="*/ 1055583 h 1280007"/>
              <a:gd name="connsiteX33" fmla="*/ 2030532 w 2396490"/>
              <a:gd name="connsiteY33" fmla="*/ 979460 h 1280007"/>
              <a:gd name="connsiteX34" fmla="*/ 2052523 w 2396490"/>
              <a:gd name="connsiteY34" fmla="*/ 958032 h 1280007"/>
              <a:gd name="connsiteX35" fmla="*/ 2060418 w 2396490"/>
              <a:gd name="connsiteY35" fmla="*/ 948446 h 1280007"/>
              <a:gd name="connsiteX36" fmla="*/ 2048576 w 2396490"/>
              <a:gd name="connsiteY36" fmla="*/ 946755 h 1280007"/>
              <a:gd name="connsiteX37" fmla="*/ 2020946 w 2396490"/>
              <a:gd name="connsiteY37" fmla="*/ 959160 h 1280007"/>
              <a:gd name="connsiteX38" fmla="*/ 1997263 w 2396490"/>
              <a:gd name="connsiteY38" fmla="*/ 978896 h 1280007"/>
              <a:gd name="connsiteX39" fmla="*/ 1951589 w 2396490"/>
              <a:gd name="connsiteY39" fmla="*/ 1034156 h 1280007"/>
              <a:gd name="connsiteX40" fmla="*/ 1921703 w 2396490"/>
              <a:gd name="connsiteY40" fmla="*/ 1055020 h 1280007"/>
              <a:gd name="connsiteX41" fmla="*/ 1930725 w 2396490"/>
              <a:gd name="connsiteY41" fmla="*/ 1064606 h 1280007"/>
              <a:gd name="connsiteX42" fmla="*/ 1909298 w 2396490"/>
              <a:gd name="connsiteY42" fmla="*/ 1077011 h 1280007"/>
              <a:gd name="connsiteX43" fmla="*/ 1910426 w 2396490"/>
              <a:gd name="connsiteY43" fmla="*/ 1087725 h 1280007"/>
              <a:gd name="connsiteX44" fmla="*/ 1964558 w 2396490"/>
              <a:gd name="connsiteY44" fmla="*/ 1088288 h 1280007"/>
              <a:gd name="connsiteX45" fmla="*/ 1995008 w 2396490"/>
              <a:gd name="connsiteY45" fmla="*/ 1086597 h 1280007"/>
              <a:gd name="connsiteX46" fmla="*/ 2019818 w 2396490"/>
              <a:gd name="connsiteY46" fmla="*/ 1095055 h 1280007"/>
              <a:gd name="connsiteX47" fmla="*/ 1995008 w 2396490"/>
              <a:gd name="connsiteY47" fmla="*/ 1111408 h 1280007"/>
              <a:gd name="connsiteX48" fmla="*/ 2011360 w 2396490"/>
              <a:gd name="connsiteY48" fmla="*/ 1112535 h 1280007"/>
              <a:gd name="connsiteX49" fmla="*/ 2052523 w 2396490"/>
              <a:gd name="connsiteY49" fmla="*/ 1082086 h 1280007"/>
              <a:gd name="connsiteX50" fmla="*/ 2059290 w 2396490"/>
              <a:gd name="connsiteY50" fmla="*/ 1086597 h 1280007"/>
              <a:gd name="connsiteX51" fmla="*/ 2045193 w 2396490"/>
              <a:gd name="connsiteY51" fmla="*/ 1115355 h 1280007"/>
              <a:gd name="connsiteX52" fmla="*/ 2062109 w 2396490"/>
              <a:gd name="connsiteY52" fmla="*/ 1122121 h 1280007"/>
              <a:gd name="connsiteX53" fmla="*/ 2075078 w 2396490"/>
              <a:gd name="connsiteY53" fmla="*/ 1120994 h 1280007"/>
              <a:gd name="connsiteX54" fmla="*/ 2094814 w 2396490"/>
              <a:gd name="connsiteY54" fmla="*/ 1089980 h 1280007"/>
              <a:gd name="connsiteX55" fmla="*/ 2091995 w 2396490"/>
              <a:gd name="connsiteY55" fmla="*/ 1067989 h 1280007"/>
              <a:gd name="connsiteX56" fmla="*/ 2093687 w 2396490"/>
              <a:gd name="connsiteY56" fmla="*/ 1049381 h 1280007"/>
              <a:gd name="connsiteX57" fmla="*/ 2072823 w 2396490"/>
              <a:gd name="connsiteY57" fmla="*/ 1055583 h 1280007"/>
              <a:gd name="connsiteX58" fmla="*/ 2088612 w 2396490"/>
              <a:gd name="connsiteY58" fmla="*/ 1029645 h 1280007"/>
              <a:gd name="connsiteX59" fmla="*/ 2064365 w 2396490"/>
              <a:gd name="connsiteY59" fmla="*/ 1018931 h 1280007"/>
              <a:gd name="connsiteX60" fmla="*/ 2049140 w 2396490"/>
              <a:gd name="connsiteY60" fmla="*/ 1027389 h 1280007"/>
              <a:gd name="connsiteX61" fmla="*/ 2027148 w 2396490"/>
              <a:gd name="connsiteY61" fmla="*/ 1017803 h 1280007"/>
              <a:gd name="connsiteX62" fmla="*/ 2040682 w 2396490"/>
              <a:gd name="connsiteY62" fmla="*/ 1005962 h 1280007"/>
              <a:gd name="connsiteX63" fmla="*/ 2024329 w 2396490"/>
              <a:gd name="connsiteY63" fmla="*/ 998631 h 1280007"/>
              <a:gd name="connsiteX64" fmla="*/ 2002902 w 2396490"/>
              <a:gd name="connsiteY64" fmla="*/ 1009909 h 1280007"/>
              <a:gd name="connsiteX65" fmla="*/ 2030532 w 2396490"/>
              <a:gd name="connsiteY65" fmla="*/ 979460 h 1280007"/>
              <a:gd name="connsiteX66" fmla="*/ 18608 w 2396490"/>
              <a:gd name="connsiteY66" fmla="*/ 859917 h 1280007"/>
              <a:gd name="connsiteX67" fmla="*/ 7894 w 2396490"/>
              <a:gd name="connsiteY67" fmla="*/ 871195 h 1280007"/>
              <a:gd name="connsiteX68" fmla="*/ 0 w 2396490"/>
              <a:gd name="connsiteY68" fmla="*/ 885855 h 1280007"/>
              <a:gd name="connsiteX69" fmla="*/ 5075 w 2396490"/>
              <a:gd name="connsiteY69" fmla="*/ 896569 h 1280007"/>
              <a:gd name="connsiteX70" fmla="*/ 1692 w 2396490"/>
              <a:gd name="connsiteY70" fmla="*/ 912358 h 1280007"/>
              <a:gd name="connsiteX71" fmla="*/ 5639 w 2396490"/>
              <a:gd name="connsiteY71" fmla="*/ 928146 h 1280007"/>
              <a:gd name="connsiteX72" fmla="*/ 16352 w 2396490"/>
              <a:gd name="connsiteY72" fmla="*/ 928146 h 1280007"/>
              <a:gd name="connsiteX73" fmla="*/ 15225 w 2396490"/>
              <a:gd name="connsiteY73" fmla="*/ 900516 h 1280007"/>
              <a:gd name="connsiteX74" fmla="*/ 55260 w 2396490"/>
              <a:gd name="connsiteY74" fmla="*/ 861609 h 1280007"/>
              <a:gd name="connsiteX75" fmla="*/ 27630 w 2396490"/>
              <a:gd name="connsiteY75" fmla="*/ 864428 h 1280007"/>
              <a:gd name="connsiteX76" fmla="*/ 18608 w 2396490"/>
              <a:gd name="connsiteY76" fmla="*/ 859917 h 1280007"/>
              <a:gd name="connsiteX77" fmla="*/ 1602547 w 2396490"/>
              <a:gd name="connsiteY77" fmla="*/ 594893 h 1280007"/>
              <a:gd name="connsiteX78" fmla="*/ 1600292 w 2396490"/>
              <a:gd name="connsiteY78" fmla="*/ 588127 h 1280007"/>
              <a:gd name="connsiteX79" fmla="*/ 1590706 w 2396490"/>
              <a:gd name="connsiteY79" fmla="*/ 587563 h 1280007"/>
              <a:gd name="connsiteX80" fmla="*/ 1574917 w 2396490"/>
              <a:gd name="connsiteY80" fmla="*/ 597149 h 1280007"/>
              <a:gd name="connsiteX81" fmla="*/ 1572661 w 2396490"/>
              <a:gd name="connsiteY81" fmla="*/ 599405 h 1280007"/>
              <a:gd name="connsiteX82" fmla="*/ 1573225 w 2396490"/>
              <a:gd name="connsiteY82" fmla="*/ 608990 h 1280007"/>
              <a:gd name="connsiteX83" fmla="*/ 1582811 w 2396490"/>
              <a:gd name="connsiteY83" fmla="*/ 611810 h 1280007"/>
              <a:gd name="connsiteX84" fmla="*/ 1602547 w 2396490"/>
              <a:gd name="connsiteY84" fmla="*/ 594893 h 1280007"/>
              <a:gd name="connsiteX85" fmla="*/ 1548415 w 2396490"/>
              <a:gd name="connsiteY85" fmla="*/ 576849 h 1280007"/>
              <a:gd name="connsiteX86" fmla="*/ 1552926 w 2396490"/>
              <a:gd name="connsiteY86" fmla="*/ 570647 h 1280007"/>
              <a:gd name="connsiteX87" fmla="*/ 1519093 w 2396490"/>
              <a:gd name="connsiteY87" fmla="*/ 570083 h 1280007"/>
              <a:gd name="connsiteX88" fmla="*/ 1491462 w 2396490"/>
              <a:gd name="connsiteY88" fmla="*/ 585308 h 1280007"/>
              <a:gd name="connsiteX89" fmla="*/ 1491462 w 2396490"/>
              <a:gd name="connsiteY89" fmla="*/ 593766 h 1280007"/>
              <a:gd name="connsiteX90" fmla="*/ 1508379 w 2396490"/>
              <a:gd name="connsiteY90" fmla="*/ 594893 h 1280007"/>
              <a:gd name="connsiteX91" fmla="*/ 1548415 w 2396490"/>
              <a:gd name="connsiteY91" fmla="*/ 576849 h 1280007"/>
              <a:gd name="connsiteX92" fmla="*/ 1530934 w 2396490"/>
              <a:gd name="connsiteY92" fmla="*/ 483245 h 1280007"/>
              <a:gd name="connsiteX93" fmla="*/ 1515710 w 2396490"/>
              <a:gd name="connsiteY93" fmla="*/ 480426 h 1280007"/>
              <a:gd name="connsiteX94" fmla="*/ 1487516 w 2396490"/>
              <a:gd name="connsiteY94" fmla="*/ 509748 h 1280007"/>
              <a:gd name="connsiteX95" fmla="*/ 1467216 w 2396490"/>
              <a:gd name="connsiteY95" fmla="*/ 534558 h 1280007"/>
              <a:gd name="connsiteX96" fmla="*/ 1435074 w 2396490"/>
              <a:gd name="connsiteY96" fmla="*/ 550347 h 1280007"/>
              <a:gd name="connsiteX97" fmla="*/ 1470599 w 2396490"/>
              <a:gd name="connsiteY97" fmla="*/ 546964 h 1280007"/>
              <a:gd name="connsiteX98" fmla="*/ 1466088 w 2396490"/>
              <a:gd name="connsiteY98" fmla="*/ 566136 h 1280007"/>
              <a:gd name="connsiteX99" fmla="*/ 1512326 w 2396490"/>
              <a:gd name="connsiteY99" fmla="*/ 549219 h 1280007"/>
              <a:gd name="connsiteX100" fmla="*/ 1547287 w 2396490"/>
              <a:gd name="connsiteY100" fmla="*/ 532303 h 1280007"/>
              <a:gd name="connsiteX101" fmla="*/ 1551798 w 2396490"/>
              <a:gd name="connsiteY101" fmla="*/ 546964 h 1280007"/>
              <a:gd name="connsiteX102" fmla="*/ 1585067 w 2396490"/>
              <a:gd name="connsiteY102" fmla="*/ 554294 h 1280007"/>
              <a:gd name="connsiteX103" fmla="*/ 1612697 w 2396490"/>
              <a:gd name="connsiteY103" fmla="*/ 544144 h 1280007"/>
              <a:gd name="connsiteX104" fmla="*/ 1601983 w 2396490"/>
              <a:gd name="connsiteY104" fmla="*/ 533994 h 1280007"/>
              <a:gd name="connsiteX105" fmla="*/ 1582811 w 2396490"/>
              <a:gd name="connsiteY105" fmla="*/ 536250 h 1280007"/>
              <a:gd name="connsiteX106" fmla="*/ 1590141 w 2396490"/>
              <a:gd name="connsiteY106" fmla="*/ 521025 h 1280007"/>
              <a:gd name="connsiteX107" fmla="*/ 1569278 w 2396490"/>
              <a:gd name="connsiteY107" fmla="*/ 511439 h 1280007"/>
              <a:gd name="connsiteX108" fmla="*/ 1550106 w 2396490"/>
              <a:gd name="connsiteY108" fmla="*/ 500725 h 1280007"/>
              <a:gd name="connsiteX109" fmla="*/ 1541648 w 2396490"/>
              <a:gd name="connsiteY109" fmla="*/ 492267 h 1280007"/>
              <a:gd name="connsiteX110" fmla="*/ 1525859 w 2396490"/>
              <a:gd name="connsiteY110" fmla="*/ 497342 h 1280007"/>
              <a:gd name="connsiteX111" fmla="*/ 1530934 w 2396490"/>
              <a:gd name="connsiteY111" fmla="*/ 483245 h 1280007"/>
              <a:gd name="connsiteX112" fmla="*/ 1782425 w 2396490"/>
              <a:gd name="connsiteY112" fmla="*/ 437007 h 1280007"/>
              <a:gd name="connsiteX113" fmla="*/ 1803288 w 2396490"/>
              <a:gd name="connsiteY113" fmla="*/ 427421 h 1280007"/>
              <a:gd name="connsiteX114" fmla="*/ 1808927 w 2396490"/>
              <a:gd name="connsiteY114" fmla="*/ 423474 h 1280007"/>
              <a:gd name="connsiteX115" fmla="*/ 1816821 w 2396490"/>
              <a:gd name="connsiteY115" fmla="*/ 410505 h 1280007"/>
              <a:gd name="connsiteX116" fmla="*/ 1803852 w 2396490"/>
              <a:gd name="connsiteY116" fmla="*/ 402046 h 1280007"/>
              <a:gd name="connsiteX117" fmla="*/ 1780169 w 2396490"/>
              <a:gd name="connsiteY117" fmla="*/ 405994 h 1280007"/>
              <a:gd name="connsiteX118" fmla="*/ 1758742 w 2396490"/>
              <a:gd name="connsiteY118" fmla="*/ 423474 h 1280007"/>
              <a:gd name="connsiteX119" fmla="*/ 1754795 w 2396490"/>
              <a:gd name="connsiteY119" fmla="*/ 438135 h 1280007"/>
              <a:gd name="connsiteX120" fmla="*/ 1782425 w 2396490"/>
              <a:gd name="connsiteY120" fmla="*/ 437007 h 1280007"/>
              <a:gd name="connsiteX121" fmla="*/ 1366281 w 2396490"/>
              <a:gd name="connsiteY121" fmla="*/ 376672 h 1280007"/>
              <a:gd name="connsiteX122" fmla="*/ 1361770 w 2396490"/>
              <a:gd name="connsiteY122" fmla="*/ 365394 h 1280007"/>
              <a:gd name="connsiteX123" fmla="*/ 1360079 w 2396490"/>
              <a:gd name="connsiteY123" fmla="*/ 359755 h 1280007"/>
              <a:gd name="connsiteX124" fmla="*/ 1351057 w 2396490"/>
              <a:gd name="connsiteY124" fmla="*/ 354117 h 1280007"/>
              <a:gd name="connsiteX125" fmla="*/ 1334140 w 2396490"/>
              <a:gd name="connsiteY125" fmla="*/ 345658 h 1280007"/>
              <a:gd name="connsiteX126" fmla="*/ 1306510 w 2396490"/>
              <a:gd name="connsiteY126" fmla="*/ 358628 h 1280007"/>
              <a:gd name="connsiteX127" fmla="*/ 1278316 w 2396490"/>
              <a:gd name="connsiteY127" fmla="*/ 368214 h 1280007"/>
              <a:gd name="connsiteX128" fmla="*/ 1298052 w 2396490"/>
              <a:gd name="connsiteY128" fmla="*/ 381747 h 1280007"/>
              <a:gd name="connsiteX129" fmla="*/ 1319479 w 2396490"/>
              <a:gd name="connsiteY129" fmla="*/ 378363 h 1280007"/>
              <a:gd name="connsiteX130" fmla="*/ 1342598 w 2396490"/>
              <a:gd name="connsiteY130" fmla="*/ 387386 h 1280007"/>
              <a:gd name="connsiteX131" fmla="*/ 1366281 w 2396490"/>
              <a:gd name="connsiteY131" fmla="*/ 376672 h 1280007"/>
              <a:gd name="connsiteX132" fmla="*/ 1492590 w 2396490"/>
              <a:gd name="connsiteY132" fmla="*/ 364830 h 1280007"/>
              <a:gd name="connsiteX133" fmla="*/ 1455374 w 2396490"/>
              <a:gd name="connsiteY133" fmla="*/ 359192 h 1280007"/>
              <a:gd name="connsiteX134" fmla="*/ 1487516 w 2396490"/>
              <a:gd name="connsiteY134" fmla="*/ 344531 h 1280007"/>
              <a:gd name="connsiteX135" fmla="*/ 1485260 w 2396490"/>
              <a:gd name="connsiteY135" fmla="*/ 310698 h 1280007"/>
              <a:gd name="connsiteX136" fmla="*/ 1474546 w 2396490"/>
              <a:gd name="connsiteY136" fmla="*/ 297729 h 1280007"/>
              <a:gd name="connsiteX137" fmla="*/ 1449171 w 2396490"/>
              <a:gd name="connsiteY137" fmla="*/ 293218 h 1280007"/>
              <a:gd name="connsiteX138" fmla="*/ 1403497 w 2396490"/>
              <a:gd name="connsiteY138" fmla="*/ 314645 h 1280007"/>
              <a:gd name="connsiteX139" fmla="*/ 1372484 w 2396490"/>
              <a:gd name="connsiteY139" fmla="*/ 347350 h 1280007"/>
              <a:gd name="connsiteX140" fmla="*/ 1388837 w 2396490"/>
              <a:gd name="connsiteY140" fmla="*/ 359192 h 1280007"/>
              <a:gd name="connsiteX141" fmla="*/ 1397859 w 2396490"/>
              <a:gd name="connsiteY141" fmla="*/ 377800 h 1280007"/>
              <a:gd name="connsiteX142" fmla="*/ 1362334 w 2396490"/>
              <a:gd name="connsiteY142" fmla="*/ 408813 h 1280007"/>
              <a:gd name="connsiteX143" fmla="*/ 1344290 w 2396490"/>
              <a:gd name="connsiteY143" fmla="*/ 407685 h 1280007"/>
              <a:gd name="connsiteX144" fmla="*/ 1309329 w 2396490"/>
              <a:gd name="connsiteY144" fmla="*/ 432496 h 1280007"/>
              <a:gd name="connsiteX145" fmla="*/ 1333012 w 2396490"/>
              <a:gd name="connsiteY145" fmla="*/ 403174 h 1280007"/>
              <a:gd name="connsiteX146" fmla="*/ 1305946 w 2396490"/>
              <a:gd name="connsiteY146" fmla="*/ 393024 h 1280007"/>
              <a:gd name="connsiteX147" fmla="*/ 1280572 w 2396490"/>
              <a:gd name="connsiteY147" fmla="*/ 398099 h 1280007"/>
              <a:gd name="connsiteX148" fmla="*/ 1267038 w 2396490"/>
              <a:gd name="connsiteY148" fmla="*/ 417271 h 1280007"/>
              <a:gd name="connsiteX149" fmla="*/ 1233770 w 2396490"/>
              <a:gd name="connsiteY149" fmla="*/ 416707 h 1280007"/>
              <a:gd name="connsiteX150" fmla="*/ 1193170 w 2396490"/>
              <a:gd name="connsiteY150" fmla="*/ 421218 h 1280007"/>
              <a:gd name="connsiteX151" fmla="*/ 1164412 w 2396490"/>
              <a:gd name="connsiteY151" fmla="*/ 407685 h 1280007"/>
              <a:gd name="connsiteX152" fmla="*/ 1136218 w 2396490"/>
              <a:gd name="connsiteY152" fmla="*/ 409941 h 1280007"/>
              <a:gd name="connsiteX153" fmla="*/ 1127760 w 2396490"/>
              <a:gd name="connsiteY153" fmla="*/ 393588 h 1280007"/>
              <a:gd name="connsiteX154" fmla="*/ 1115919 w 2396490"/>
              <a:gd name="connsiteY154" fmla="*/ 386258 h 1280007"/>
              <a:gd name="connsiteX155" fmla="*/ 1094491 w 2396490"/>
              <a:gd name="connsiteY155" fmla="*/ 389077 h 1280007"/>
              <a:gd name="connsiteX156" fmla="*/ 1065169 w 2396490"/>
              <a:gd name="connsiteY156" fmla="*/ 390769 h 1280007"/>
              <a:gd name="connsiteX157" fmla="*/ 1040358 w 2396490"/>
              <a:gd name="connsiteY157" fmla="*/ 400919 h 1280007"/>
              <a:gd name="connsiteX158" fmla="*/ 1051636 w 2396490"/>
              <a:gd name="connsiteY158" fmla="*/ 413888 h 1280007"/>
              <a:gd name="connsiteX159" fmla="*/ 1012164 w 2396490"/>
              <a:gd name="connsiteY159" fmla="*/ 429677 h 1280007"/>
              <a:gd name="connsiteX160" fmla="*/ 1004270 w 2396490"/>
              <a:gd name="connsiteY160" fmla="*/ 411069 h 1280007"/>
              <a:gd name="connsiteX161" fmla="*/ 979459 w 2396490"/>
              <a:gd name="connsiteY161" fmla="*/ 416707 h 1280007"/>
              <a:gd name="connsiteX162" fmla="*/ 912922 w 2396490"/>
              <a:gd name="connsiteY162" fmla="*/ 420091 h 1280007"/>
              <a:gd name="connsiteX163" fmla="*/ 876833 w 2396490"/>
              <a:gd name="connsiteY163" fmla="*/ 413324 h 1280007"/>
              <a:gd name="connsiteX164" fmla="*/ 924763 w 2396490"/>
              <a:gd name="connsiteY164" fmla="*/ 398663 h 1280007"/>
              <a:gd name="connsiteX165" fmla="*/ 908974 w 2396490"/>
              <a:gd name="connsiteY165" fmla="*/ 382875 h 1280007"/>
              <a:gd name="connsiteX166" fmla="*/ 884164 w 2396490"/>
              <a:gd name="connsiteY166" fmla="*/ 385130 h 1280007"/>
              <a:gd name="connsiteX167" fmla="*/ 857662 w 2396490"/>
              <a:gd name="connsiteY167" fmla="*/ 379491 h 1280007"/>
              <a:gd name="connsiteX168" fmla="*/ 815371 w 2396490"/>
              <a:gd name="connsiteY168" fmla="*/ 368778 h 1280007"/>
              <a:gd name="connsiteX169" fmla="*/ 793943 w 2396490"/>
              <a:gd name="connsiteY169" fmla="*/ 355808 h 1280007"/>
              <a:gd name="connsiteX170" fmla="*/ 768568 w 2396490"/>
              <a:gd name="connsiteY170" fmla="*/ 354117 h 1280007"/>
              <a:gd name="connsiteX171" fmla="*/ 749960 w 2396490"/>
              <a:gd name="connsiteY171" fmla="*/ 363139 h 1280007"/>
              <a:gd name="connsiteX172" fmla="*/ 716692 w 2396490"/>
              <a:gd name="connsiteY172" fmla="*/ 368214 h 1280007"/>
              <a:gd name="connsiteX173" fmla="*/ 738683 w 2396490"/>
              <a:gd name="connsiteY173" fmla="*/ 345095 h 1280007"/>
              <a:gd name="connsiteX174" fmla="*/ 685678 w 2396490"/>
              <a:gd name="connsiteY174" fmla="*/ 365394 h 1280007"/>
              <a:gd name="connsiteX175" fmla="*/ 677784 w 2396490"/>
              <a:gd name="connsiteY175" fmla="*/ 338892 h 1280007"/>
              <a:gd name="connsiteX176" fmla="*/ 665942 w 2396490"/>
              <a:gd name="connsiteY176" fmla="*/ 335509 h 1280007"/>
              <a:gd name="connsiteX177" fmla="*/ 644515 w 2396490"/>
              <a:gd name="connsiteY177" fmla="*/ 349606 h 1280007"/>
              <a:gd name="connsiteX178" fmla="*/ 619140 w 2396490"/>
              <a:gd name="connsiteY178" fmla="*/ 356372 h 1280007"/>
              <a:gd name="connsiteX179" fmla="*/ 618013 w 2396490"/>
              <a:gd name="connsiteY179" fmla="*/ 343967 h 1280007"/>
              <a:gd name="connsiteX180" fmla="*/ 571774 w 2396490"/>
              <a:gd name="connsiteY180" fmla="*/ 351861 h 1280007"/>
              <a:gd name="connsiteX181" fmla="*/ 522153 w 2396490"/>
              <a:gd name="connsiteY181" fmla="*/ 364830 h 1280007"/>
              <a:gd name="connsiteX182" fmla="*/ 492831 w 2396490"/>
              <a:gd name="connsiteY182" fmla="*/ 361447 h 1280007"/>
              <a:gd name="connsiteX183" fmla="*/ 453360 w 2396490"/>
              <a:gd name="connsiteY183" fmla="*/ 370469 h 1280007"/>
              <a:gd name="connsiteX184" fmla="*/ 418399 w 2396490"/>
              <a:gd name="connsiteY184" fmla="*/ 383438 h 1280007"/>
              <a:gd name="connsiteX185" fmla="*/ 397535 w 2396490"/>
              <a:gd name="connsiteY185" fmla="*/ 380619 h 1280007"/>
              <a:gd name="connsiteX186" fmla="*/ 378927 w 2396490"/>
              <a:gd name="connsiteY186" fmla="*/ 365958 h 1280007"/>
              <a:gd name="connsiteX187" fmla="*/ 345658 w 2396490"/>
              <a:gd name="connsiteY187" fmla="*/ 358628 h 1280007"/>
              <a:gd name="connsiteX188" fmla="*/ 345658 w 2396490"/>
              <a:gd name="connsiteY188" fmla="*/ 358628 h 1280007"/>
              <a:gd name="connsiteX189" fmla="*/ 208636 w 2396490"/>
              <a:gd name="connsiteY189" fmla="*/ 472531 h 1280007"/>
              <a:gd name="connsiteX190" fmla="*/ 9022 w 2396490"/>
              <a:gd name="connsiteY190" fmla="*/ 655229 h 1280007"/>
              <a:gd name="connsiteX191" fmla="*/ 32705 w 2396490"/>
              <a:gd name="connsiteY191" fmla="*/ 655793 h 1280007"/>
              <a:gd name="connsiteX192" fmla="*/ 47930 w 2396490"/>
              <a:gd name="connsiteY192" fmla="*/ 664815 h 1280007"/>
              <a:gd name="connsiteX193" fmla="*/ 51313 w 2396490"/>
              <a:gd name="connsiteY193" fmla="*/ 679475 h 1280007"/>
              <a:gd name="connsiteX194" fmla="*/ 52441 w 2396490"/>
              <a:gd name="connsiteY194" fmla="*/ 701467 h 1280007"/>
              <a:gd name="connsiteX195" fmla="*/ 95296 w 2396490"/>
              <a:gd name="connsiteY195" fmla="*/ 682859 h 1280007"/>
              <a:gd name="connsiteX196" fmla="*/ 131384 w 2396490"/>
              <a:gd name="connsiteY196" fmla="*/ 672145 h 1280007"/>
              <a:gd name="connsiteX197" fmla="*/ 128565 w 2396490"/>
              <a:gd name="connsiteY197" fmla="*/ 689061 h 1280007"/>
              <a:gd name="connsiteX198" fmla="*/ 132512 w 2396490"/>
              <a:gd name="connsiteY198" fmla="*/ 702594 h 1280007"/>
              <a:gd name="connsiteX199" fmla="*/ 142098 w 2396490"/>
              <a:gd name="connsiteY199" fmla="*/ 717819 h 1280007"/>
              <a:gd name="connsiteX200" fmla="*/ 135895 w 2396490"/>
              <a:gd name="connsiteY200" fmla="*/ 741502 h 1280007"/>
              <a:gd name="connsiteX201" fmla="*/ 127437 w 2396490"/>
              <a:gd name="connsiteY201" fmla="*/ 779846 h 1280007"/>
              <a:gd name="connsiteX202" fmla="*/ 153375 w 2396490"/>
              <a:gd name="connsiteY202" fmla="*/ 801273 h 1280007"/>
              <a:gd name="connsiteX203" fmla="*/ 135895 w 2396490"/>
              <a:gd name="connsiteY203" fmla="*/ 822137 h 1280007"/>
              <a:gd name="connsiteX204" fmla="*/ 107137 w 2396490"/>
              <a:gd name="connsiteY204" fmla="*/ 838490 h 1280007"/>
              <a:gd name="connsiteX205" fmla="*/ 107137 w 2396490"/>
              <a:gd name="connsiteY205" fmla="*/ 838490 h 1280007"/>
              <a:gd name="connsiteX206" fmla="*/ 93040 w 2396490"/>
              <a:gd name="connsiteY206" fmla="*/ 855970 h 1280007"/>
              <a:gd name="connsiteX207" fmla="*/ 104882 w 2396490"/>
              <a:gd name="connsiteY207" fmla="*/ 880781 h 1280007"/>
              <a:gd name="connsiteX208" fmla="*/ 87401 w 2396490"/>
              <a:gd name="connsiteY208" fmla="*/ 908411 h 1280007"/>
              <a:gd name="connsiteX209" fmla="*/ 110521 w 2396490"/>
              <a:gd name="connsiteY209" fmla="*/ 923072 h 1280007"/>
              <a:gd name="connsiteX210" fmla="*/ 90221 w 2396490"/>
              <a:gd name="connsiteY210" fmla="*/ 943935 h 1280007"/>
              <a:gd name="connsiteX211" fmla="*/ 82890 w 2396490"/>
              <a:gd name="connsiteY211" fmla="*/ 974949 h 1280007"/>
              <a:gd name="connsiteX212" fmla="*/ 121798 w 2396490"/>
              <a:gd name="connsiteY212" fmla="*/ 989046 h 1280007"/>
              <a:gd name="connsiteX213" fmla="*/ 130820 w 2396490"/>
              <a:gd name="connsiteY213" fmla="*/ 1004270 h 1280007"/>
              <a:gd name="connsiteX214" fmla="*/ 161270 w 2396490"/>
              <a:gd name="connsiteY214" fmla="*/ 1038667 h 1280007"/>
              <a:gd name="connsiteX215" fmla="*/ 165217 w 2396490"/>
              <a:gd name="connsiteY215" fmla="*/ 1038667 h 1280007"/>
              <a:gd name="connsiteX216" fmla="*/ 243596 w 2396490"/>
              <a:gd name="connsiteY216" fmla="*/ 1038667 h 1280007"/>
              <a:gd name="connsiteX217" fmla="*/ 325923 w 2396490"/>
              <a:gd name="connsiteY217" fmla="*/ 1038667 h 1280007"/>
              <a:gd name="connsiteX218" fmla="*/ 352989 w 2396490"/>
              <a:gd name="connsiteY218" fmla="*/ 1038667 h 1280007"/>
              <a:gd name="connsiteX219" fmla="*/ 437571 w 2396490"/>
              <a:gd name="connsiteY219" fmla="*/ 1038667 h 1280007"/>
              <a:gd name="connsiteX220" fmla="*/ 519334 w 2396490"/>
              <a:gd name="connsiteY220" fmla="*/ 1038667 h 1280007"/>
              <a:gd name="connsiteX221" fmla="*/ 602224 w 2396490"/>
              <a:gd name="connsiteY221" fmla="*/ 1038667 h 1280007"/>
              <a:gd name="connsiteX222" fmla="*/ 685678 w 2396490"/>
              <a:gd name="connsiteY222" fmla="*/ 1038667 h 1280007"/>
              <a:gd name="connsiteX223" fmla="*/ 779846 w 2396490"/>
              <a:gd name="connsiteY223" fmla="*/ 1038667 h 1280007"/>
              <a:gd name="connsiteX224" fmla="*/ 874578 w 2396490"/>
              <a:gd name="connsiteY224" fmla="*/ 1038667 h 1280007"/>
              <a:gd name="connsiteX225" fmla="*/ 931530 w 2396490"/>
              <a:gd name="connsiteY225" fmla="*/ 1038667 h 1280007"/>
              <a:gd name="connsiteX226" fmla="*/ 938860 w 2396490"/>
              <a:gd name="connsiteY226" fmla="*/ 1025134 h 1280007"/>
              <a:gd name="connsiteX227" fmla="*/ 947882 w 2396490"/>
              <a:gd name="connsiteY227" fmla="*/ 1025134 h 1280007"/>
              <a:gd name="connsiteX228" fmla="*/ 943371 w 2396490"/>
              <a:gd name="connsiteY228" fmla="*/ 1044306 h 1280007"/>
              <a:gd name="connsiteX229" fmla="*/ 949010 w 2396490"/>
              <a:gd name="connsiteY229" fmla="*/ 1049945 h 1280007"/>
              <a:gd name="connsiteX230" fmla="*/ 967054 w 2396490"/>
              <a:gd name="connsiteY230" fmla="*/ 1052200 h 1280007"/>
              <a:gd name="connsiteX231" fmla="*/ 992993 w 2396490"/>
              <a:gd name="connsiteY231" fmla="*/ 1057839 h 1280007"/>
              <a:gd name="connsiteX232" fmla="*/ 1014420 w 2396490"/>
              <a:gd name="connsiteY232" fmla="*/ 1068553 h 1280007"/>
              <a:gd name="connsiteX233" fmla="*/ 1039231 w 2396490"/>
              <a:gd name="connsiteY233" fmla="*/ 1064042 h 1280007"/>
              <a:gd name="connsiteX234" fmla="*/ 1069117 w 2396490"/>
              <a:gd name="connsiteY234" fmla="*/ 1073064 h 1280007"/>
              <a:gd name="connsiteX235" fmla="*/ 1069117 w 2396490"/>
              <a:gd name="connsiteY235" fmla="*/ 1073064 h 1280007"/>
              <a:gd name="connsiteX236" fmla="*/ 1087161 w 2396490"/>
              <a:gd name="connsiteY236" fmla="*/ 1059531 h 1280007"/>
              <a:gd name="connsiteX237" fmla="*/ 1105205 w 2396490"/>
              <a:gd name="connsiteY237" fmla="*/ 1053892 h 1280007"/>
              <a:gd name="connsiteX238" fmla="*/ 1115355 w 2396490"/>
              <a:gd name="connsiteY238" fmla="*/ 1045434 h 1280007"/>
              <a:gd name="connsiteX239" fmla="*/ 1123813 w 2396490"/>
              <a:gd name="connsiteY239" fmla="*/ 1040922 h 1280007"/>
              <a:gd name="connsiteX240" fmla="*/ 1146368 w 2396490"/>
              <a:gd name="connsiteY240" fmla="*/ 1047689 h 1280007"/>
              <a:gd name="connsiteX241" fmla="*/ 1164976 w 2396490"/>
              <a:gd name="connsiteY241" fmla="*/ 1048817 h 1280007"/>
              <a:gd name="connsiteX242" fmla="*/ 1169487 w 2396490"/>
              <a:gd name="connsiteY242" fmla="*/ 1053328 h 1280007"/>
              <a:gd name="connsiteX243" fmla="*/ 1170051 w 2396490"/>
              <a:gd name="connsiteY243" fmla="*/ 1073064 h 1280007"/>
              <a:gd name="connsiteX244" fmla="*/ 1199373 w 2396490"/>
              <a:gd name="connsiteY244" fmla="*/ 1078703 h 1280007"/>
              <a:gd name="connsiteX245" fmla="*/ 1189787 w 2396490"/>
              <a:gd name="connsiteY245" fmla="*/ 1088288 h 1280007"/>
              <a:gd name="connsiteX246" fmla="*/ 1196553 w 2396490"/>
              <a:gd name="connsiteY246" fmla="*/ 1099002 h 1280007"/>
              <a:gd name="connsiteX247" fmla="*/ 1185840 w 2396490"/>
              <a:gd name="connsiteY247" fmla="*/ 1111971 h 1280007"/>
              <a:gd name="connsiteX248" fmla="*/ 1195990 w 2396490"/>
              <a:gd name="connsiteY248" fmla="*/ 1116482 h 1280007"/>
              <a:gd name="connsiteX249" fmla="*/ 1185276 w 2396490"/>
              <a:gd name="connsiteY249" fmla="*/ 1128324 h 1280007"/>
              <a:gd name="connsiteX250" fmla="*/ 1185276 w 2396490"/>
              <a:gd name="connsiteY250" fmla="*/ 1128324 h 1280007"/>
              <a:gd name="connsiteX251" fmla="*/ 1192042 w 2396490"/>
              <a:gd name="connsiteY251" fmla="*/ 1129452 h 1280007"/>
              <a:gd name="connsiteX252" fmla="*/ 1199373 w 2396490"/>
              <a:gd name="connsiteY252" fmla="*/ 1124377 h 1280007"/>
              <a:gd name="connsiteX253" fmla="*/ 1202192 w 2396490"/>
              <a:gd name="connsiteY253" fmla="*/ 1132271 h 1280007"/>
              <a:gd name="connsiteX254" fmla="*/ 1221364 w 2396490"/>
              <a:gd name="connsiteY254" fmla="*/ 1136218 h 1280007"/>
              <a:gd name="connsiteX255" fmla="*/ 1242792 w 2396490"/>
              <a:gd name="connsiteY255" fmla="*/ 1136782 h 1280007"/>
              <a:gd name="connsiteX256" fmla="*/ 1264219 w 2396490"/>
              <a:gd name="connsiteY256" fmla="*/ 1140165 h 1280007"/>
              <a:gd name="connsiteX257" fmla="*/ 1286774 w 2396490"/>
              <a:gd name="connsiteY257" fmla="*/ 1146932 h 1280007"/>
              <a:gd name="connsiteX258" fmla="*/ 1291285 w 2396490"/>
              <a:gd name="connsiteY258" fmla="*/ 1158210 h 1280007"/>
              <a:gd name="connsiteX259" fmla="*/ 1299180 w 2396490"/>
              <a:gd name="connsiteY259" fmla="*/ 1184712 h 1280007"/>
              <a:gd name="connsiteX260" fmla="*/ 1285646 w 2396490"/>
              <a:gd name="connsiteY260" fmla="*/ 1195990 h 1280007"/>
              <a:gd name="connsiteX261" fmla="*/ 1264219 w 2396490"/>
              <a:gd name="connsiteY261" fmla="*/ 1191479 h 1280007"/>
              <a:gd name="connsiteX262" fmla="*/ 1258580 w 2396490"/>
              <a:gd name="connsiteY262" fmla="*/ 1170051 h 1280007"/>
              <a:gd name="connsiteX263" fmla="*/ 1253505 w 2396490"/>
              <a:gd name="connsiteY263" fmla="*/ 1192042 h 1280007"/>
              <a:gd name="connsiteX264" fmla="*/ 1232078 w 2396490"/>
              <a:gd name="connsiteY264" fmla="*/ 1211214 h 1280007"/>
              <a:gd name="connsiteX265" fmla="*/ 1227567 w 2396490"/>
              <a:gd name="connsiteY265" fmla="*/ 1227567 h 1280007"/>
              <a:gd name="connsiteX266" fmla="*/ 1221364 w 2396490"/>
              <a:gd name="connsiteY266" fmla="*/ 1237153 h 1280007"/>
              <a:gd name="connsiteX267" fmla="*/ 1198245 w 2396490"/>
              <a:gd name="connsiteY267" fmla="*/ 1248430 h 1280007"/>
              <a:gd name="connsiteX268" fmla="*/ 1198245 w 2396490"/>
              <a:gd name="connsiteY268" fmla="*/ 1248430 h 1280007"/>
              <a:gd name="connsiteX269" fmla="*/ 1177382 w 2396490"/>
              <a:gd name="connsiteY269" fmla="*/ 1267602 h 1280007"/>
              <a:gd name="connsiteX270" fmla="*/ 1166104 w 2396490"/>
              <a:gd name="connsiteY270" fmla="*/ 1280008 h 1280007"/>
              <a:gd name="connsiteX271" fmla="*/ 1181328 w 2396490"/>
              <a:gd name="connsiteY271" fmla="*/ 1282263 h 1280007"/>
              <a:gd name="connsiteX272" fmla="*/ 1206703 w 2396490"/>
              <a:gd name="connsiteY272" fmla="*/ 1270986 h 1280007"/>
              <a:gd name="connsiteX273" fmla="*/ 1223056 w 2396490"/>
              <a:gd name="connsiteY273" fmla="*/ 1261400 h 1280007"/>
              <a:gd name="connsiteX274" fmla="*/ 1232078 w 2396490"/>
              <a:gd name="connsiteY274" fmla="*/ 1259708 h 1280007"/>
              <a:gd name="connsiteX275" fmla="*/ 1246739 w 2396490"/>
              <a:gd name="connsiteY275" fmla="*/ 1263091 h 1280007"/>
              <a:gd name="connsiteX276" fmla="*/ 1256325 w 2396490"/>
              <a:gd name="connsiteY276" fmla="*/ 1258016 h 1280007"/>
              <a:gd name="connsiteX277" fmla="*/ 1272113 w 2396490"/>
              <a:gd name="connsiteY277" fmla="*/ 1253505 h 1280007"/>
              <a:gd name="connsiteX278" fmla="*/ 1298616 w 2396490"/>
              <a:gd name="connsiteY278" fmla="*/ 1248994 h 1280007"/>
              <a:gd name="connsiteX279" fmla="*/ 1298616 w 2396490"/>
              <a:gd name="connsiteY279" fmla="*/ 1248994 h 1280007"/>
              <a:gd name="connsiteX280" fmla="*/ 1298616 w 2396490"/>
              <a:gd name="connsiteY280" fmla="*/ 1248994 h 1280007"/>
              <a:gd name="connsiteX281" fmla="*/ 1300307 w 2396490"/>
              <a:gd name="connsiteY281" fmla="*/ 1238844 h 1280007"/>
              <a:gd name="connsiteX282" fmla="*/ 1298616 w 2396490"/>
              <a:gd name="connsiteY282" fmla="*/ 1239408 h 1280007"/>
              <a:gd name="connsiteX283" fmla="*/ 1289030 w 2396490"/>
              <a:gd name="connsiteY283" fmla="*/ 1241100 h 1280007"/>
              <a:gd name="connsiteX284" fmla="*/ 1278880 w 2396490"/>
              <a:gd name="connsiteY284" fmla="*/ 1237717 h 1280007"/>
              <a:gd name="connsiteX285" fmla="*/ 1291849 w 2396490"/>
              <a:gd name="connsiteY285" fmla="*/ 1225875 h 1280007"/>
              <a:gd name="connsiteX286" fmla="*/ 1302563 w 2396490"/>
              <a:gd name="connsiteY286" fmla="*/ 1221928 h 1280007"/>
              <a:gd name="connsiteX287" fmla="*/ 1324554 w 2396490"/>
              <a:gd name="connsiteY287" fmla="*/ 1216853 h 1280007"/>
              <a:gd name="connsiteX288" fmla="*/ 1350492 w 2396490"/>
              <a:gd name="connsiteY288" fmla="*/ 1211778 h 1280007"/>
              <a:gd name="connsiteX289" fmla="*/ 1360643 w 2396490"/>
              <a:gd name="connsiteY289" fmla="*/ 1218545 h 1280007"/>
              <a:gd name="connsiteX290" fmla="*/ 1371356 w 2396490"/>
              <a:gd name="connsiteY290" fmla="*/ 1210650 h 1280007"/>
              <a:gd name="connsiteX291" fmla="*/ 1382070 w 2396490"/>
              <a:gd name="connsiteY291" fmla="*/ 1206139 h 1280007"/>
              <a:gd name="connsiteX292" fmla="*/ 1387145 w 2396490"/>
              <a:gd name="connsiteY292" fmla="*/ 1208395 h 1280007"/>
              <a:gd name="connsiteX293" fmla="*/ 1387709 w 2396490"/>
              <a:gd name="connsiteY293" fmla="*/ 1208959 h 1280007"/>
              <a:gd name="connsiteX294" fmla="*/ 1425489 w 2396490"/>
              <a:gd name="connsiteY294" fmla="*/ 1185276 h 1280007"/>
              <a:gd name="connsiteX295" fmla="*/ 1440713 w 2396490"/>
              <a:gd name="connsiteY295" fmla="*/ 1178509 h 1280007"/>
              <a:gd name="connsiteX296" fmla="*/ 1484132 w 2396490"/>
              <a:gd name="connsiteY296" fmla="*/ 1178509 h 1280007"/>
              <a:gd name="connsiteX297" fmla="*/ 1536573 w 2396490"/>
              <a:gd name="connsiteY297" fmla="*/ 1178509 h 1280007"/>
              <a:gd name="connsiteX298" fmla="*/ 1542212 w 2396490"/>
              <a:gd name="connsiteY298" fmla="*/ 1169487 h 1280007"/>
              <a:gd name="connsiteX299" fmla="*/ 1551798 w 2396490"/>
              <a:gd name="connsiteY299" fmla="*/ 1167796 h 1280007"/>
              <a:gd name="connsiteX300" fmla="*/ 1565895 w 2396490"/>
              <a:gd name="connsiteY300" fmla="*/ 1162721 h 1280007"/>
              <a:gd name="connsiteX301" fmla="*/ 1581120 w 2396490"/>
              <a:gd name="connsiteY301" fmla="*/ 1146932 h 1280007"/>
              <a:gd name="connsiteX302" fmla="*/ 1599164 w 2396490"/>
              <a:gd name="connsiteY302" fmla="*/ 1119302 h 1280007"/>
              <a:gd name="connsiteX303" fmla="*/ 1630177 w 2396490"/>
              <a:gd name="connsiteY303" fmla="*/ 1092800 h 1280007"/>
              <a:gd name="connsiteX304" fmla="*/ 1636380 w 2396490"/>
              <a:gd name="connsiteY304" fmla="*/ 1102385 h 1280007"/>
              <a:gd name="connsiteX305" fmla="*/ 1657243 w 2396490"/>
              <a:gd name="connsiteY305" fmla="*/ 1096183 h 1280007"/>
              <a:gd name="connsiteX306" fmla="*/ 1665702 w 2396490"/>
              <a:gd name="connsiteY306" fmla="*/ 1106333 h 1280007"/>
              <a:gd name="connsiteX307" fmla="*/ 1649913 w 2396490"/>
              <a:gd name="connsiteY307" fmla="*/ 1154262 h 1280007"/>
              <a:gd name="connsiteX308" fmla="*/ 1661754 w 2396490"/>
              <a:gd name="connsiteY308" fmla="*/ 1173998 h 1280007"/>
              <a:gd name="connsiteX309" fmla="*/ 1695023 w 2396490"/>
              <a:gd name="connsiteY309" fmla="*/ 1169487 h 1280007"/>
              <a:gd name="connsiteX310" fmla="*/ 1740698 w 2396490"/>
              <a:gd name="connsiteY310" fmla="*/ 1168359 h 1280007"/>
              <a:gd name="connsiteX311" fmla="*/ 1682054 w 2396490"/>
              <a:gd name="connsiteY311" fmla="*/ 1197117 h 1280007"/>
              <a:gd name="connsiteX312" fmla="*/ 1673596 w 2396490"/>
              <a:gd name="connsiteY312" fmla="*/ 1226439 h 1280007"/>
              <a:gd name="connsiteX313" fmla="*/ 1694459 w 2396490"/>
              <a:gd name="connsiteY313" fmla="*/ 1229258 h 1280007"/>
              <a:gd name="connsiteX314" fmla="*/ 1734495 w 2396490"/>
              <a:gd name="connsiteY314" fmla="*/ 1203884 h 1280007"/>
              <a:gd name="connsiteX315" fmla="*/ 1767200 w 2396490"/>
              <a:gd name="connsiteY315" fmla="*/ 1190351 h 1280007"/>
              <a:gd name="connsiteX316" fmla="*/ 1835993 w 2396490"/>
              <a:gd name="connsiteY316" fmla="*/ 1169487 h 1280007"/>
              <a:gd name="connsiteX317" fmla="*/ 1878284 w 2396490"/>
              <a:gd name="connsiteY317" fmla="*/ 1146368 h 1280007"/>
              <a:gd name="connsiteX318" fmla="*/ 1863623 w 2396490"/>
              <a:gd name="connsiteY318" fmla="*/ 1133963 h 1280007"/>
              <a:gd name="connsiteX319" fmla="*/ 1869262 w 2396490"/>
              <a:gd name="connsiteY319" fmla="*/ 1108588 h 1280007"/>
              <a:gd name="connsiteX320" fmla="*/ 1829227 w 2396490"/>
              <a:gd name="connsiteY320" fmla="*/ 1148060 h 1280007"/>
              <a:gd name="connsiteX321" fmla="*/ 1780733 w 2396490"/>
              <a:gd name="connsiteY321" fmla="*/ 1152571 h 1280007"/>
              <a:gd name="connsiteX322" fmla="*/ 1749720 w 2396490"/>
              <a:gd name="connsiteY322" fmla="*/ 1135091 h 1280007"/>
              <a:gd name="connsiteX323" fmla="*/ 1749156 w 2396490"/>
              <a:gd name="connsiteY323" fmla="*/ 1109152 h 1280007"/>
              <a:gd name="connsiteX324" fmla="*/ 1752539 w 2396490"/>
              <a:gd name="connsiteY324" fmla="*/ 1070808 h 1280007"/>
              <a:gd name="connsiteX325" fmla="*/ 1786936 w 2396490"/>
              <a:gd name="connsiteY325" fmla="*/ 1047689 h 1280007"/>
              <a:gd name="connsiteX326" fmla="*/ 1768328 w 2396490"/>
              <a:gd name="connsiteY326" fmla="*/ 1030209 h 1280007"/>
              <a:gd name="connsiteX327" fmla="*/ 1725473 w 2396490"/>
              <a:gd name="connsiteY327" fmla="*/ 1033592 h 1280007"/>
              <a:gd name="connsiteX328" fmla="*/ 1657243 w 2396490"/>
              <a:gd name="connsiteY328" fmla="*/ 1062914 h 1280007"/>
              <a:gd name="connsiteX329" fmla="*/ 1595780 w 2396490"/>
              <a:gd name="connsiteY329" fmla="*/ 1109152 h 1280007"/>
              <a:gd name="connsiteX330" fmla="*/ 1569842 w 2396490"/>
              <a:gd name="connsiteY330" fmla="*/ 1114791 h 1280007"/>
              <a:gd name="connsiteX331" fmla="*/ 1613825 w 2396490"/>
              <a:gd name="connsiteY331" fmla="*/ 1082650 h 1280007"/>
              <a:gd name="connsiteX332" fmla="*/ 1670777 w 2396490"/>
              <a:gd name="connsiteY332" fmla="*/ 1035848 h 1280007"/>
              <a:gd name="connsiteX333" fmla="*/ 1711376 w 2396490"/>
              <a:gd name="connsiteY333" fmla="*/ 1020623 h 1280007"/>
              <a:gd name="connsiteX334" fmla="*/ 1743517 w 2396490"/>
              <a:gd name="connsiteY334" fmla="*/ 995812 h 1280007"/>
              <a:gd name="connsiteX335" fmla="*/ 1772839 w 2396490"/>
              <a:gd name="connsiteY335" fmla="*/ 992993 h 1280007"/>
              <a:gd name="connsiteX336" fmla="*/ 1814002 w 2396490"/>
              <a:gd name="connsiteY336" fmla="*/ 993557 h 1280007"/>
              <a:gd name="connsiteX337" fmla="*/ 1870390 w 2396490"/>
              <a:gd name="connsiteY337" fmla="*/ 1000887 h 1280007"/>
              <a:gd name="connsiteX338" fmla="*/ 1918884 w 2396490"/>
              <a:gd name="connsiteY338" fmla="*/ 995248 h 1280007"/>
              <a:gd name="connsiteX339" fmla="*/ 1962866 w 2396490"/>
              <a:gd name="connsiteY339" fmla="*/ 966490 h 1280007"/>
              <a:gd name="connsiteX340" fmla="*/ 2011924 w 2396490"/>
              <a:gd name="connsiteY340" fmla="*/ 954085 h 1280007"/>
              <a:gd name="connsiteX341" fmla="*/ 2035607 w 2396490"/>
              <a:gd name="connsiteY341" fmla="*/ 942243 h 1280007"/>
              <a:gd name="connsiteX342" fmla="*/ 2059290 w 2396490"/>
              <a:gd name="connsiteY342" fmla="*/ 929274 h 1280007"/>
              <a:gd name="connsiteX343" fmla="*/ 2070567 w 2396490"/>
              <a:gd name="connsiteY343" fmla="*/ 890930 h 1280007"/>
              <a:gd name="connsiteX344" fmla="*/ 2064365 w 2396490"/>
              <a:gd name="connsiteY344" fmla="*/ 877961 h 1280007"/>
              <a:gd name="connsiteX345" fmla="*/ 2045193 w 2396490"/>
              <a:gd name="connsiteY345" fmla="*/ 873450 h 1280007"/>
              <a:gd name="connsiteX346" fmla="*/ 2045193 w 2396490"/>
              <a:gd name="connsiteY346" fmla="*/ 844692 h 1280007"/>
              <a:gd name="connsiteX347" fmla="*/ 2032224 w 2396490"/>
              <a:gd name="connsiteY347" fmla="*/ 833979 h 1280007"/>
              <a:gd name="connsiteX348" fmla="*/ 1993316 w 2396490"/>
              <a:gd name="connsiteY348" fmla="*/ 824957 h 1280007"/>
              <a:gd name="connsiteX349" fmla="*/ 1977527 w 2396490"/>
              <a:gd name="connsiteY349" fmla="*/ 805785 h 1280007"/>
              <a:gd name="connsiteX350" fmla="*/ 1950461 w 2396490"/>
              <a:gd name="connsiteY350" fmla="*/ 786613 h 1280007"/>
              <a:gd name="connsiteX351" fmla="*/ 1969633 w 2396490"/>
              <a:gd name="connsiteY351" fmla="*/ 765749 h 1280007"/>
              <a:gd name="connsiteX352" fmla="*/ 1958355 w 2396490"/>
              <a:gd name="connsiteY352" fmla="*/ 725714 h 1280007"/>
              <a:gd name="connsiteX353" fmla="*/ 1943694 w 2396490"/>
              <a:gd name="connsiteY353" fmla="*/ 683423 h 1280007"/>
              <a:gd name="connsiteX354" fmla="*/ 1938056 w 2396490"/>
              <a:gd name="connsiteY354" fmla="*/ 654101 h 1280007"/>
              <a:gd name="connsiteX355" fmla="*/ 1913809 w 2396490"/>
              <a:gd name="connsiteY355" fmla="*/ 669326 h 1280007"/>
              <a:gd name="connsiteX356" fmla="*/ 1872081 w 2396490"/>
              <a:gd name="connsiteY356" fmla="*/ 705978 h 1280007"/>
              <a:gd name="connsiteX357" fmla="*/ 1826407 w 2396490"/>
              <a:gd name="connsiteY357" fmla="*/ 724022 h 1280007"/>
              <a:gd name="connsiteX358" fmla="*/ 1817385 w 2396490"/>
              <a:gd name="connsiteY358" fmla="*/ 704850 h 1280007"/>
              <a:gd name="connsiteX359" fmla="*/ 1796522 w 2396490"/>
              <a:gd name="connsiteY359" fmla="*/ 699211 h 1280007"/>
              <a:gd name="connsiteX360" fmla="*/ 1808927 w 2396490"/>
              <a:gd name="connsiteY360" fmla="*/ 658048 h 1280007"/>
              <a:gd name="connsiteX361" fmla="*/ 1823588 w 2396490"/>
              <a:gd name="connsiteY361" fmla="*/ 630418 h 1280007"/>
              <a:gd name="connsiteX362" fmla="*/ 1780169 w 2396490"/>
              <a:gd name="connsiteY362" fmla="*/ 627599 h 1280007"/>
              <a:gd name="connsiteX363" fmla="*/ 1779605 w 2396490"/>
              <a:gd name="connsiteY363" fmla="*/ 615193 h 1280007"/>
              <a:gd name="connsiteX364" fmla="*/ 1759305 w 2396490"/>
              <a:gd name="connsiteY364" fmla="*/ 596585 h 1280007"/>
              <a:gd name="connsiteX365" fmla="*/ 1742389 w 2396490"/>
              <a:gd name="connsiteY365" fmla="*/ 585308 h 1280007"/>
              <a:gd name="connsiteX366" fmla="*/ 1717014 w 2396490"/>
              <a:gd name="connsiteY366" fmla="*/ 593766 h 1280007"/>
              <a:gd name="connsiteX367" fmla="*/ 1693332 w 2396490"/>
              <a:gd name="connsiteY367" fmla="*/ 590946 h 1280007"/>
              <a:gd name="connsiteX368" fmla="*/ 1656116 w 2396490"/>
              <a:gd name="connsiteY368" fmla="*/ 581924 h 1280007"/>
              <a:gd name="connsiteX369" fmla="*/ 1634124 w 2396490"/>
              <a:gd name="connsiteY369" fmla="*/ 589255 h 1280007"/>
              <a:gd name="connsiteX370" fmla="*/ 1612697 w 2396490"/>
              <a:gd name="connsiteY370" fmla="*/ 640004 h 1280007"/>
              <a:gd name="connsiteX371" fmla="*/ 1607058 w 2396490"/>
              <a:gd name="connsiteY371" fmla="*/ 669890 h 1280007"/>
              <a:gd name="connsiteX372" fmla="*/ 1557437 w 2396490"/>
              <a:gd name="connsiteY372" fmla="*/ 704286 h 1280007"/>
              <a:gd name="connsiteX373" fmla="*/ 1574917 w 2396490"/>
              <a:gd name="connsiteY373" fmla="*/ 729661 h 1280007"/>
              <a:gd name="connsiteX374" fmla="*/ 1577736 w 2396490"/>
              <a:gd name="connsiteY374" fmla="*/ 757855 h 1280007"/>
              <a:gd name="connsiteX375" fmla="*/ 1568150 w 2396490"/>
              <a:gd name="connsiteY375" fmla="*/ 780410 h 1280007"/>
              <a:gd name="connsiteX376" fmla="*/ 1541648 w 2396490"/>
              <a:gd name="connsiteY376" fmla="*/ 803529 h 1280007"/>
              <a:gd name="connsiteX377" fmla="*/ 1499357 w 2396490"/>
              <a:gd name="connsiteY377" fmla="*/ 827212 h 1280007"/>
              <a:gd name="connsiteX378" fmla="*/ 1448608 w 2396490"/>
              <a:gd name="connsiteY378" fmla="*/ 843001 h 1280007"/>
              <a:gd name="connsiteX379" fmla="*/ 1458194 w 2396490"/>
              <a:gd name="connsiteY379" fmla="*/ 861045 h 1280007"/>
              <a:gd name="connsiteX380" fmla="*/ 1445788 w 2396490"/>
              <a:gd name="connsiteY380" fmla="*/ 915177 h 1280007"/>
              <a:gd name="connsiteX381" fmla="*/ 1414211 w 2396490"/>
              <a:gd name="connsiteY381" fmla="*/ 950702 h 1280007"/>
              <a:gd name="connsiteX382" fmla="*/ 1388273 w 2396490"/>
              <a:gd name="connsiteY382" fmla="*/ 961415 h 1280007"/>
              <a:gd name="connsiteX383" fmla="*/ 1363462 w 2396490"/>
              <a:gd name="connsiteY383" fmla="*/ 928710 h 1280007"/>
              <a:gd name="connsiteX384" fmla="*/ 1362898 w 2396490"/>
              <a:gd name="connsiteY384" fmla="*/ 890367 h 1280007"/>
              <a:gd name="connsiteX385" fmla="*/ 1372484 w 2396490"/>
              <a:gd name="connsiteY385" fmla="*/ 856534 h 1280007"/>
              <a:gd name="connsiteX386" fmla="*/ 1392783 w 2396490"/>
              <a:gd name="connsiteY386" fmla="*/ 827212 h 1280007"/>
              <a:gd name="connsiteX387" fmla="*/ 1365717 w 2396490"/>
              <a:gd name="connsiteY387" fmla="*/ 823829 h 1280007"/>
              <a:gd name="connsiteX388" fmla="*/ 1323426 w 2396490"/>
              <a:gd name="connsiteY388" fmla="*/ 821573 h 1280007"/>
              <a:gd name="connsiteX389" fmla="*/ 1303127 w 2396490"/>
              <a:gd name="connsiteY389" fmla="*/ 807476 h 1280007"/>
              <a:gd name="connsiteX390" fmla="*/ 1276061 w 2396490"/>
              <a:gd name="connsiteY390" fmla="*/ 798454 h 1280007"/>
              <a:gd name="connsiteX391" fmla="*/ 1266475 w 2396490"/>
              <a:gd name="connsiteY391" fmla="*/ 782102 h 1280007"/>
              <a:gd name="connsiteX392" fmla="*/ 1247867 w 2396490"/>
              <a:gd name="connsiteY392" fmla="*/ 769696 h 1280007"/>
              <a:gd name="connsiteX393" fmla="*/ 1208395 w 2396490"/>
              <a:gd name="connsiteY393" fmla="*/ 755035 h 1280007"/>
              <a:gd name="connsiteX394" fmla="*/ 1168359 w 2396490"/>
              <a:gd name="connsiteY394" fmla="*/ 761802 h 1280007"/>
              <a:gd name="connsiteX395" fmla="*/ 1172307 w 2396490"/>
              <a:gd name="connsiteY395" fmla="*/ 736427 h 1280007"/>
              <a:gd name="connsiteX396" fmla="*/ 1180765 w 2396490"/>
              <a:gd name="connsiteY396" fmla="*/ 705414 h 1280007"/>
              <a:gd name="connsiteX397" fmla="*/ 1146932 w 2396490"/>
              <a:gd name="connsiteY397" fmla="*/ 699775 h 1280007"/>
              <a:gd name="connsiteX398" fmla="*/ 1174562 w 2396490"/>
              <a:gd name="connsiteY398" fmla="*/ 661431 h 1280007"/>
              <a:gd name="connsiteX399" fmla="*/ 1202192 w 2396490"/>
              <a:gd name="connsiteY399" fmla="*/ 635493 h 1280007"/>
              <a:gd name="connsiteX400" fmla="*/ 1255197 w 2396490"/>
              <a:gd name="connsiteY400" fmla="*/ 598841 h 1280007"/>
              <a:gd name="connsiteX401" fmla="*/ 1303691 w 2396490"/>
              <a:gd name="connsiteY401" fmla="*/ 572902 h 1280007"/>
              <a:gd name="connsiteX402" fmla="*/ 1335268 w 2396490"/>
              <a:gd name="connsiteY402" fmla="*/ 568955 h 1280007"/>
              <a:gd name="connsiteX403" fmla="*/ 1351620 w 2396490"/>
              <a:gd name="connsiteY403" fmla="*/ 548091 h 1280007"/>
              <a:gd name="connsiteX404" fmla="*/ 1380378 w 2396490"/>
              <a:gd name="connsiteY404" fmla="*/ 534558 h 1280007"/>
              <a:gd name="connsiteX405" fmla="*/ 1416467 w 2396490"/>
              <a:gd name="connsiteY405" fmla="*/ 532303 h 1280007"/>
              <a:gd name="connsiteX406" fmla="*/ 1459885 w 2396490"/>
              <a:gd name="connsiteY406" fmla="*/ 510875 h 1280007"/>
              <a:gd name="connsiteX407" fmla="*/ 1476238 w 2396490"/>
              <a:gd name="connsiteY407" fmla="*/ 497342 h 1280007"/>
              <a:gd name="connsiteX408" fmla="*/ 1517965 w 2396490"/>
              <a:gd name="connsiteY408" fmla="*/ 470840 h 1280007"/>
              <a:gd name="connsiteX409" fmla="*/ 1536009 w 2396490"/>
              <a:gd name="connsiteY409" fmla="*/ 455051 h 1280007"/>
              <a:gd name="connsiteX410" fmla="*/ 1554053 w 2396490"/>
              <a:gd name="connsiteY410" fmla="*/ 464637 h 1280007"/>
              <a:gd name="connsiteX411" fmla="*/ 1590706 w 2396490"/>
              <a:gd name="connsiteY411" fmla="*/ 459562 h 1280007"/>
              <a:gd name="connsiteX412" fmla="*/ 1651605 w 2396490"/>
              <a:gd name="connsiteY412" fmla="*/ 438135 h 1280007"/>
              <a:gd name="connsiteX413" fmla="*/ 1664574 w 2396490"/>
              <a:gd name="connsiteY413" fmla="*/ 422910 h 1280007"/>
              <a:gd name="connsiteX414" fmla="*/ 1660063 w 2396490"/>
              <a:gd name="connsiteY414" fmla="*/ 406557 h 1280007"/>
              <a:gd name="connsiteX415" fmla="*/ 1688257 w 2396490"/>
              <a:gd name="connsiteY415" fmla="*/ 390205 h 1280007"/>
              <a:gd name="connsiteX416" fmla="*/ 1697843 w 2396490"/>
              <a:gd name="connsiteY416" fmla="*/ 374980 h 1280007"/>
              <a:gd name="connsiteX417" fmla="*/ 1678107 w 2396490"/>
              <a:gd name="connsiteY417" fmla="*/ 360319 h 1280007"/>
              <a:gd name="connsiteX418" fmla="*/ 1647657 w 2396490"/>
              <a:gd name="connsiteY418" fmla="*/ 355808 h 1280007"/>
              <a:gd name="connsiteX419" fmla="*/ 1616644 w 2396490"/>
              <a:gd name="connsiteY419" fmla="*/ 353553 h 1280007"/>
              <a:gd name="connsiteX420" fmla="*/ 1590706 w 2396490"/>
              <a:gd name="connsiteY420" fmla="*/ 386822 h 1280007"/>
              <a:gd name="connsiteX421" fmla="*/ 1554053 w 2396490"/>
              <a:gd name="connsiteY421" fmla="*/ 412760 h 1280007"/>
              <a:gd name="connsiteX422" fmla="*/ 1513454 w 2396490"/>
              <a:gd name="connsiteY422" fmla="*/ 435315 h 1280007"/>
              <a:gd name="connsiteX423" fmla="*/ 1506124 w 2396490"/>
              <a:gd name="connsiteY423" fmla="*/ 414452 h 1280007"/>
              <a:gd name="connsiteX424" fmla="*/ 1529807 w 2396490"/>
              <a:gd name="connsiteY424" fmla="*/ 391897 h 1280007"/>
              <a:gd name="connsiteX425" fmla="*/ 1517401 w 2396490"/>
              <a:gd name="connsiteY425" fmla="*/ 372161 h 1280007"/>
              <a:gd name="connsiteX426" fmla="*/ 1468344 w 2396490"/>
              <a:gd name="connsiteY426" fmla="*/ 395844 h 1280007"/>
              <a:gd name="connsiteX427" fmla="*/ 1492590 w 2396490"/>
              <a:gd name="connsiteY427" fmla="*/ 364830 h 1280007"/>
              <a:gd name="connsiteX428" fmla="*/ 1066861 w 2396490"/>
              <a:gd name="connsiteY428" fmla="*/ 258257 h 1280007"/>
              <a:gd name="connsiteX429" fmla="*/ 1051072 w 2396490"/>
              <a:gd name="connsiteY429" fmla="*/ 252618 h 1280007"/>
              <a:gd name="connsiteX430" fmla="*/ 971565 w 2396490"/>
              <a:gd name="connsiteY430" fmla="*/ 270662 h 1280007"/>
              <a:gd name="connsiteX431" fmla="*/ 942807 w 2396490"/>
              <a:gd name="connsiteY431" fmla="*/ 281940 h 1280007"/>
              <a:gd name="connsiteX432" fmla="*/ 898825 w 2396490"/>
              <a:gd name="connsiteY432" fmla="*/ 303931 h 1280007"/>
              <a:gd name="connsiteX433" fmla="*/ 929274 w 2396490"/>
              <a:gd name="connsiteY433" fmla="*/ 311826 h 1280007"/>
              <a:gd name="connsiteX434" fmla="*/ 964235 w 2396490"/>
              <a:gd name="connsiteY434" fmla="*/ 311262 h 1280007"/>
              <a:gd name="connsiteX435" fmla="*/ 899389 w 2396490"/>
              <a:gd name="connsiteY435" fmla="*/ 323103 h 1280007"/>
              <a:gd name="connsiteX436" fmla="*/ 899389 w 2396490"/>
              <a:gd name="connsiteY436" fmla="*/ 333817 h 1280007"/>
              <a:gd name="connsiteX437" fmla="*/ 930966 w 2396490"/>
              <a:gd name="connsiteY437" fmla="*/ 334381 h 1280007"/>
              <a:gd name="connsiteX438" fmla="*/ 981715 w 2396490"/>
              <a:gd name="connsiteY438" fmla="*/ 332125 h 1280007"/>
              <a:gd name="connsiteX439" fmla="*/ 1018367 w 2396490"/>
              <a:gd name="connsiteY439" fmla="*/ 338892 h 1280007"/>
              <a:gd name="connsiteX440" fmla="*/ 983407 w 2396490"/>
              <a:gd name="connsiteY440" fmla="*/ 344531 h 1280007"/>
              <a:gd name="connsiteX441" fmla="*/ 952393 w 2396490"/>
              <a:gd name="connsiteY441" fmla="*/ 342839 h 1280007"/>
              <a:gd name="connsiteX442" fmla="*/ 912358 w 2396490"/>
              <a:gd name="connsiteY442" fmla="*/ 347914 h 1280007"/>
              <a:gd name="connsiteX443" fmla="*/ 893750 w 2396490"/>
              <a:gd name="connsiteY443" fmla="*/ 351297 h 1280007"/>
              <a:gd name="connsiteX444" fmla="*/ 897133 w 2396490"/>
              <a:gd name="connsiteY444" fmla="*/ 374980 h 1280007"/>
              <a:gd name="connsiteX445" fmla="*/ 920816 w 2396490"/>
              <a:gd name="connsiteY445" fmla="*/ 371597 h 1280007"/>
              <a:gd name="connsiteX446" fmla="*/ 943935 w 2396490"/>
              <a:gd name="connsiteY446" fmla="*/ 380055 h 1280007"/>
              <a:gd name="connsiteX447" fmla="*/ 942244 w 2396490"/>
              <a:gd name="connsiteY447" fmla="*/ 394152 h 1280007"/>
              <a:gd name="connsiteX448" fmla="*/ 986226 w 2396490"/>
              <a:gd name="connsiteY448" fmla="*/ 391333 h 1280007"/>
              <a:gd name="connsiteX449" fmla="*/ 1049381 w 2396490"/>
              <a:gd name="connsiteY449" fmla="*/ 386822 h 1280007"/>
              <a:gd name="connsiteX450" fmla="*/ 1102385 w 2396490"/>
              <a:gd name="connsiteY450" fmla="*/ 376672 h 1280007"/>
              <a:gd name="connsiteX451" fmla="*/ 1130579 w 2396490"/>
              <a:gd name="connsiteY451" fmla="*/ 374416 h 1280007"/>
              <a:gd name="connsiteX452" fmla="*/ 1162721 w 2396490"/>
              <a:gd name="connsiteY452" fmla="*/ 382875 h 1280007"/>
              <a:gd name="connsiteX453" fmla="*/ 1200501 w 2396490"/>
              <a:gd name="connsiteY453" fmla="*/ 387386 h 1280007"/>
              <a:gd name="connsiteX454" fmla="*/ 1217981 w 2396490"/>
              <a:gd name="connsiteY454" fmla="*/ 376672 h 1280007"/>
              <a:gd name="connsiteX455" fmla="*/ 1214034 w 2396490"/>
              <a:gd name="connsiteY455" fmla="*/ 364830 h 1280007"/>
              <a:gd name="connsiteX456" fmla="*/ 1253505 w 2396490"/>
              <a:gd name="connsiteY456" fmla="*/ 362575 h 1280007"/>
              <a:gd name="connsiteX457" fmla="*/ 1268166 w 2396490"/>
              <a:gd name="connsiteY457" fmla="*/ 349042 h 1280007"/>
              <a:gd name="connsiteX458" fmla="*/ 1239972 w 2396490"/>
              <a:gd name="connsiteY458" fmla="*/ 334945 h 1280007"/>
              <a:gd name="connsiteX459" fmla="*/ 1216289 w 2396490"/>
              <a:gd name="connsiteY459" fmla="*/ 320284 h 1280007"/>
              <a:gd name="connsiteX460" fmla="*/ 1229822 w 2396490"/>
              <a:gd name="connsiteY460" fmla="*/ 299984 h 1280007"/>
              <a:gd name="connsiteX461" fmla="*/ 1245047 w 2396490"/>
              <a:gd name="connsiteY461" fmla="*/ 271226 h 1280007"/>
              <a:gd name="connsiteX462" fmla="*/ 1232642 w 2396490"/>
              <a:gd name="connsiteY462" fmla="*/ 259949 h 1280007"/>
              <a:gd name="connsiteX463" fmla="*/ 1215725 w 2396490"/>
              <a:gd name="connsiteY463" fmla="*/ 254874 h 1280007"/>
              <a:gd name="connsiteX464" fmla="*/ 1192042 w 2396490"/>
              <a:gd name="connsiteY464" fmla="*/ 259385 h 1280007"/>
              <a:gd name="connsiteX465" fmla="*/ 1176254 w 2396490"/>
              <a:gd name="connsiteY465" fmla="*/ 289270 h 1280007"/>
              <a:gd name="connsiteX466" fmla="*/ 1152007 w 2396490"/>
              <a:gd name="connsiteY466" fmla="*/ 301112 h 1280007"/>
              <a:gd name="connsiteX467" fmla="*/ 1164412 w 2396490"/>
              <a:gd name="connsiteY467" fmla="*/ 272354 h 1280007"/>
              <a:gd name="connsiteX468" fmla="*/ 1154826 w 2396490"/>
              <a:gd name="connsiteY468" fmla="*/ 262768 h 1280007"/>
              <a:gd name="connsiteX469" fmla="*/ 1113663 w 2396490"/>
              <a:gd name="connsiteY469" fmla="*/ 277993 h 1280007"/>
              <a:gd name="connsiteX470" fmla="*/ 1099002 w 2396490"/>
              <a:gd name="connsiteY470" fmla="*/ 263332 h 1280007"/>
              <a:gd name="connsiteX471" fmla="*/ 1040358 w 2396490"/>
              <a:gd name="connsiteY471" fmla="*/ 271790 h 1280007"/>
              <a:gd name="connsiteX472" fmla="*/ 1066861 w 2396490"/>
              <a:gd name="connsiteY472" fmla="*/ 258257 h 1280007"/>
              <a:gd name="connsiteX473" fmla="*/ 1287338 w 2396490"/>
              <a:gd name="connsiteY473" fmla="*/ 249799 h 1280007"/>
              <a:gd name="connsiteX474" fmla="*/ 1277752 w 2396490"/>
              <a:gd name="connsiteY474" fmla="*/ 243596 h 1280007"/>
              <a:gd name="connsiteX475" fmla="*/ 1247303 w 2396490"/>
              <a:gd name="connsiteY475" fmla="*/ 244724 h 1280007"/>
              <a:gd name="connsiteX476" fmla="*/ 1235461 w 2396490"/>
              <a:gd name="connsiteY476" fmla="*/ 248671 h 1280007"/>
              <a:gd name="connsiteX477" fmla="*/ 1247867 w 2396490"/>
              <a:gd name="connsiteY477" fmla="*/ 268971 h 1280007"/>
              <a:gd name="connsiteX478" fmla="*/ 1287338 w 2396490"/>
              <a:gd name="connsiteY478" fmla="*/ 249799 h 1280007"/>
              <a:gd name="connsiteX479" fmla="*/ 1894637 w 2396490"/>
              <a:gd name="connsiteY479" fmla="*/ 258821 h 1280007"/>
              <a:gd name="connsiteX480" fmla="*/ 1869826 w 2396490"/>
              <a:gd name="connsiteY480" fmla="*/ 243032 h 1280007"/>
              <a:gd name="connsiteX481" fmla="*/ 1822460 w 2396490"/>
              <a:gd name="connsiteY481" fmla="*/ 240213 h 1280007"/>
              <a:gd name="connsiteX482" fmla="*/ 1810619 w 2396490"/>
              <a:gd name="connsiteY482" fmla="*/ 241905 h 1280007"/>
              <a:gd name="connsiteX483" fmla="*/ 1801033 w 2396490"/>
              <a:gd name="connsiteY483" fmla="*/ 252054 h 1280007"/>
              <a:gd name="connsiteX484" fmla="*/ 1812310 w 2396490"/>
              <a:gd name="connsiteY484" fmla="*/ 267843 h 1280007"/>
              <a:gd name="connsiteX485" fmla="*/ 1817385 w 2396490"/>
              <a:gd name="connsiteY485" fmla="*/ 269535 h 1280007"/>
              <a:gd name="connsiteX486" fmla="*/ 1844452 w 2396490"/>
              <a:gd name="connsiteY486" fmla="*/ 265587 h 1280007"/>
              <a:gd name="connsiteX487" fmla="*/ 1867571 w 2396490"/>
              <a:gd name="connsiteY487" fmla="*/ 266151 h 1280007"/>
              <a:gd name="connsiteX488" fmla="*/ 1890690 w 2396490"/>
              <a:gd name="connsiteY488" fmla="*/ 266715 h 1280007"/>
              <a:gd name="connsiteX489" fmla="*/ 1894637 w 2396490"/>
              <a:gd name="connsiteY489" fmla="*/ 258821 h 1280007"/>
              <a:gd name="connsiteX490" fmla="*/ 1672468 w 2396490"/>
              <a:gd name="connsiteY490" fmla="*/ 257129 h 1280007"/>
              <a:gd name="connsiteX491" fmla="*/ 1704609 w 2396490"/>
              <a:gd name="connsiteY491" fmla="*/ 239085 h 1280007"/>
              <a:gd name="connsiteX492" fmla="*/ 1641455 w 2396490"/>
              <a:gd name="connsiteY492" fmla="*/ 246416 h 1280007"/>
              <a:gd name="connsiteX493" fmla="*/ 1608750 w 2396490"/>
              <a:gd name="connsiteY493" fmla="*/ 258257 h 1280007"/>
              <a:gd name="connsiteX494" fmla="*/ 1568714 w 2396490"/>
              <a:gd name="connsiteY494" fmla="*/ 284196 h 1280007"/>
              <a:gd name="connsiteX495" fmla="*/ 1550106 w 2396490"/>
              <a:gd name="connsiteY495" fmla="*/ 313517 h 1280007"/>
              <a:gd name="connsiteX496" fmla="*/ 1581683 w 2396490"/>
              <a:gd name="connsiteY496" fmla="*/ 314081 h 1280007"/>
              <a:gd name="connsiteX497" fmla="*/ 1547287 w 2396490"/>
              <a:gd name="connsiteY497" fmla="*/ 327050 h 1280007"/>
              <a:gd name="connsiteX498" fmla="*/ 1557437 w 2396490"/>
              <a:gd name="connsiteY498" fmla="*/ 337764 h 1280007"/>
              <a:gd name="connsiteX499" fmla="*/ 1590706 w 2396490"/>
              <a:gd name="connsiteY499" fmla="*/ 342275 h 1280007"/>
              <a:gd name="connsiteX500" fmla="*/ 1631869 w 2396490"/>
              <a:gd name="connsiteY500" fmla="*/ 350733 h 1280007"/>
              <a:gd name="connsiteX501" fmla="*/ 1709684 w 2396490"/>
              <a:gd name="connsiteY501" fmla="*/ 357500 h 1280007"/>
              <a:gd name="connsiteX502" fmla="*/ 1754231 w 2396490"/>
              <a:gd name="connsiteY502" fmla="*/ 354117 h 1280007"/>
              <a:gd name="connsiteX503" fmla="*/ 1772275 w 2396490"/>
              <a:gd name="connsiteY503" fmla="*/ 345095 h 1280007"/>
              <a:gd name="connsiteX504" fmla="*/ 1783553 w 2396490"/>
              <a:gd name="connsiteY504" fmla="*/ 355244 h 1280007"/>
              <a:gd name="connsiteX505" fmla="*/ 1802161 w 2396490"/>
              <a:gd name="connsiteY505" fmla="*/ 356936 h 1280007"/>
              <a:gd name="connsiteX506" fmla="*/ 1813438 w 2396490"/>
              <a:gd name="connsiteY506" fmla="*/ 375544 h 1280007"/>
              <a:gd name="connsiteX507" fmla="*/ 1793702 w 2396490"/>
              <a:gd name="connsiteY507" fmla="*/ 383438 h 1280007"/>
              <a:gd name="connsiteX508" fmla="*/ 1833738 w 2396490"/>
              <a:gd name="connsiteY508" fmla="*/ 393588 h 1280007"/>
              <a:gd name="connsiteX509" fmla="*/ 1859676 w 2396490"/>
              <a:gd name="connsiteY509" fmla="*/ 408249 h 1280007"/>
              <a:gd name="connsiteX510" fmla="*/ 1862496 w 2396490"/>
              <a:gd name="connsiteY510" fmla="*/ 418963 h 1280007"/>
              <a:gd name="connsiteX511" fmla="*/ 1860240 w 2396490"/>
              <a:gd name="connsiteY511" fmla="*/ 432496 h 1280007"/>
              <a:gd name="connsiteX512" fmla="*/ 1811747 w 2396490"/>
              <a:gd name="connsiteY512" fmla="*/ 462945 h 1280007"/>
              <a:gd name="connsiteX513" fmla="*/ 1793702 w 2396490"/>
              <a:gd name="connsiteY513" fmla="*/ 478170 h 1280007"/>
              <a:gd name="connsiteX514" fmla="*/ 1794830 w 2396490"/>
              <a:gd name="connsiteY514" fmla="*/ 489448 h 1280007"/>
              <a:gd name="connsiteX515" fmla="*/ 1742953 w 2396490"/>
              <a:gd name="connsiteY515" fmla="*/ 493395 h 1280007"/>
              <a:gd name="connsiteX516" fmla="*/ 1697843 w 2396490"/>
              <a:gd name="connsiteY516" fmla="*/ 493959 h 1280007"/>
              <a:gd name="connsiteX517" fmla="*/ 1667393 w 2396490"/>
              <a:gd name="connsiteY517" fmla="*/ 517642 h 1280007"/>
              <a:gd name="connsiteX518" fmla="*/ 1680926 w 2396490"/>
              <a:gd name="connsiteY518" fmla="*/ 528356 h 1280007"/>
              <a:gd name="connsiteX519" fmla="*/ 1754231 w 2396490"/>
              <a:gd name="connsiteY519" fmla="*/ 523281 h 1280007"/>
              <a:gd name="connsiteX520" fmla="*/ 1759305 w 2396490"/>
              <a:gd name="connsiteY520" fmla="*/ 514259 h 1280007"/>
              <a:gd name="connsiteX521" fmla="*/ 1785808 w 2396490"/>
              <a:gd name="connsiteY521" fmla="*/ 529483 h 1280007"/>
              <a:gd name="connsiteX522" fmla="*/ 1812310 w 2396490"/>
              <a:gd name="connsiteY522" fmla="*/ 545836 h 1280007"/>
              <a:gd name="connsiteX523" fmla="*/ 1798777 w 2396490"/>
              <a:gd name="connsiteY523" fmla="*/ 554858 h 1280007"/>
              <a:gd name="connsiteX524" fmla="*/ 1820205 w 2396490"/>
              <a:gd name="connsiteY524" fmla="*/ 570647 h 1280007"/>
              <a:gd name="connsiteX525" fmla="*/ 1863060 w 2396490"/>
              <a:gd name="connsiteY525" fmla="*/ 589255 h 1280007"/>
              <a:gd name="connsiteX526" fmla="*/ 1923395 w 2396490"/>
              <a:gd name="connsiteY526" fmla="*/ 602224 h 1280007"/>
              <a:gd name="connsiteX527" fmla="*/ 1925086 w 2396490"/>
              <a:gd name="connsiteY527" fmla="*/ 590946 h 1280007"/>
              <a:gd name="connsiteX528" fmla="*/ 1909298 w 2396490"/>
              <a:gd name="connsiteY528" fmla="*/ 571211 h 1280007"/>
              <a:gd name="connsiteX529" fmla="*/ 1889562 w 2396490"/>
              <a:gd name="connsiteY529" fmla="*/ 543580 h 1280007"/>
              <a:gd name="connsiteX530" fmla="*/ 1937492 w 2396490"/>
              <a:gd name="connsiteY530" fmla="*/ 569519 h 1280007"/>
              <a:gd name="connsiteX531" fmla="*/ 1963994 w 2396490"/>
              <a:gd name="connsiteY531" fmla="*/ 577977 h 1280007"/>
              <a:gd name="connsiteX532" fmla="*/ 1984294 w 2396490"/>
              <a:gd name="connsiteY532" fmla="*/ 554858 h 1280007"/>
              <a:gd name="connsiteX533" fmla="*/ 1984294 w 2396490"/>
              <a:gd name="connsiteY533" fmla="*/ 523281 h 1280007"/>
              <a:gd name="connsiteX534" fmla="*/ 1978655 w 2396490"/>
              <a:gd name="connsiteY534" fmla="*/ 514822 h 1280007"/>
              <a:gd name="connsiteX535" fmla="*/ 1953844 w 2396490"/>
              <a:gd name="connsiteY535" fmla="*/ 500725 h 1280007"/>
              <a:gd name="connsiteX536" fmla="*/ 1938620 w 2396490"/>
              <a:gd name="connsiteY536" fmla="*/ 482117 h 1280007"/>
              <a:gd name="connsiteX537" fmla="*/ 1951589 w 2396490"/>
              <a:gd name="connsiteY537" fmla="*/ 464073 h 1280007"/>
              <a:gd name="connsiteX538" fmla="*/ 1984294 w 2396490"/>
              <a:gd name="connsiteY538" fmla="*/ 460126 h 1280007"/>
              <a:gd name="connsiteX539" fmla="*/ 2005721 w 2396490"/>
              <a:gd name="connsiteY539" fmla="*/ 490576 h 1280007"/>
              <a:gd name="connsiteX540" fmla="*/ 2028276 w 2396490"/>
              <a:gd name="connsiteY540" fmla="*/ 504109 h 1280007"/>
              <a:gd name="connsiteX541" fmla="*/ 2088612 w 2396490"/>
              <a:gd name="connsiteY541" fmla="*/ 467457 h 1280007"/>
              <a:gd name="connsiteX542" fmla="*/ 2107220 w 2396490"/>
              <a:gd name="connsiteY542" fmla="*/ 445465 h 1280007"/>
              <a:gd name="connsiteX543" fmla="*/ 2071131 w 2396490"/>
              <a:gd name="connsiteY543" fmla="*/ 443774 h 1280007"/>
              <a:gd name="connsiteX544" fmla="*/ 2053087 w 2396490"/>
              <a:gd name="connsiteY544" fmla="*/ 415016 h 1280007"/>
              <a:gd name="connsiteX545" fmla="*/ 2019818 w 2396490"/>
              <a:gd name="connsiteY545" fmla="*/ 408249 h 1280007"/>
              <a:gd name="connsiteX546" fmla="*/ 1976399 w 2396490"/>
              <a:gd name="connsiteY546" fmla="*/ 388513 h 1280007"/>
              <a:gd name="connsiteX547" fmla="*/ 2027148 w 2396490"/>
              <a:gd name="connsiteY547" fmla="*/ 374416 h 1280007"/>
              <a:gd name="connsiteX548" fmla="*/ 2022638 w 2396490"/>
              <a:gd name="connsiteY548" fmla="*/ 346222 h 1280007"/>
              <a:gd name="connsiteX549" fmla="*/ 2010232 w 2396490"/>
              <a:gd name="connsiteY549" fmla="*/ 334381 h 1280007"/>
              <a:gd name="connsiteX550" fmla="*/ 1963430 w 2396490"/>
              <a:gd name="connsiteY550" fmla="*/ 322539 h 1280007"/>
              <a:gd name="connsiteX551" fmla="*/ 1952717 w 2396490"/>
              <a:gd name="connsiteY551" fmla="*/ 303931 h 1280007"/>
              <a:gd name="connsiteX552" fmla="*/ 1906478 w 2396490"/>
              <a:gd name="connsiteY552" fmla="*/ 310698 h 1280007"/>
              <a:gd name="connsiteX553" fmla="*/ 1912681 w 2396490"/>
              <a:gd name="connsiteY553" fmla="*/ 297729 h 1280007"/>
              <a:gd name="connsiteX554" fmla="*/ 1892381 w 2396490"/>
              <a:gd name="connsiteY554" fmla="*/ 283632 h 1280007"/>
              <a:gd name="connsiteX555" fmla="*/ 1854038 w 2396490"/>
              <a:gd name="connsiteY555" fmla="*/ 268971 h 1280007"/>
              <a:gd name="connsiteX556" fmla="*/ 1824716 w 2396490"/>
              <a:gd name="connsiteY556" fmla="*/ 280812 h 1280007"/>
              <a:gd name="connsiteX557" fmla="*/ 1773967 w 2396490"/>
              <a:gd name="connsiteY557" fmla="*/ 289270 h 1280007"/>
              <a:gd name="connsiteX558" fmla="*/ 1792575 w 2396490"/>
              <a:gd name="connsiteY558" fmla="*/ 270099 h 1280007"/>
              <a:gd name="connsiteX559" fmla="*/ 1779605 w 2396490"/>
              <a:gd name="connsiteY559" fmla="*/ 240213 h 1280007"/>
              <a:gd name="connsiteX560" fmla="*/ 1714195 w 2396490"/>
              <a:gd name="connsiteY560" fmla="*/ 252054 h 1280007"/>
              <a:gd name="connsiteX561" fmla="*/ 1674160 w 2396490"/>
              <a:gd name="connsiteY561" fmla="*/ 275173 h 1280007"/>
              <a:gd name="connsiteX562" fmla="*/ 1672468 w 2396490"/>
              <a:gd name="connsiteY562" fmla="*/ 257129 h 1280007"/>
              <a:gd name="connsiteX563" fmla="*/ 1390528 w 2396490"/>
              <a:gd name="connsiteY563" fmla="*/ 237957 h 1280007"/>
              <a:gd name="connsiteX564" fmla="*/ 1350492 w 2396490"/>
              <a:gd name="connsiteY564" fmla="*/ 251490 h 1280007"/>
              <a:gd name="connsiteX565" fmla="*/ 1355568 w 2396490"/>
              <a:gd name="connsiteY565" fmla="*/ 270662 h 1280007"/>
              <a:gd name="connsiteX566" fmla="*/ 1313840 w 2396490"/>
              <a:gd name="connsiteY566" fmla="*/ 266715 h 1280007"/>
              <a:gd name="connsiteX567" fmla="*/ 1304255 w 2396490"/>
              <a:gd name="connsiteY567" fmla="*/ 276301 h 1280007"/>
              <a:gd name="connsiteX568" fmla="*/ 1336960 w 2396490"/>
              <a:gd name="connsiteY568" fmla="*/ 298293 h 1280007"/>
              <a:gd name="connsiteX569" fmla="*/ 1342034 w 2396490"/>
              <a:gd name="connsiteY569" fmla="*/ 309570 h 1280007"/>
              <a:gd name="connsiteX570" fmla="*/ 1361206 w 2396490"/>
              <a:gd name="connsiteY570" fmla="*/ 312390 h 1280007"/>
              <a:gd name="connsiteX571" fmla="*/ 1408572 w 2396490"/>
              <a:gd name="connsiteY571" fmla="*/ 301112 h 1280007"/>
              <a:gd name="connsiteX572" fmla="*/ 1437330 w 2396490"/>
              <a:gd name="connsiteY572" fmla="*/ 274610 h 1280007"/>
              <a:gd name="connsiteX573" fmla="*/ 1415903 w 2396490"/>
              <a:gd name="connsiteY573" fmla="*/ 262204 h 1280007"/>
              <a:gd name="connsiteX574" fmla="*/ 1449736 w 2396490"/>
              <a:gd name="connsiteY574" fmla="*/ 248671 h 1280007"/>
              <a:gd name="connsiteX575" fmla="*/ 1452555 w 2396490"/>
              <a:gd name="connsiteY575" fmla="*/ 240213 h 1280007"/>
              <a:gd name="connsiteX576" fmla="*/ 1410264 w 2396490"/>
              <a:gd name="connsiteY576" fmla="*/ 243596 h 1280007"/>
              <a:gd name="connsiteX577" fmla="*/ 1390528 w 2396490"/>
              <a:gd name="connsiteY577" fmla="*/ 237957 h 1280007"/>
              <a:gd name="connsiteX578" fmla="*/ 1516273 w 2396490"/>
              <a:gd name="connsiteY578" fmla="*/ 268407 h 1280007"/>
              <a:gd name="connsiteX579" fmla="*/ 1547850 w 2396490"/>
              <a:gd name="connsiteY579" fmla="*/ 262768 h 1280007"/>
              <a:gd name="connsiteX580" fmla="*/ 1604238 w 2396490"/>
              <a:gd name="connsiteY580" fmla="*/ 237393 h 1280007"/>
              <a:gd name="connsiteX581" fmla="*/ 1569842 w 2396490"/>
              <a:gd name="connsiteY581" fmla="*/ 230627 h 1280007"/>
              <a:gd name="connsiteX582" fmla="*/ 1525859 w 2396490"/>
              <a:gd name="connsiteY582" fmla="*/ 229499 h 1280007"/>
              <a:gd name="connsiteX583" fmla="*/ 1496538 w 2396490"/>
              <a:gd name="connsiteY583" fmla="*/ 237393 h 1280007"/>
              <a:gd name="connsiteX584" fmla="*/ 1472855 w 2396490"/>
              <a:gd name="connsiteY584" fmla="*/ 249235 h 1280007"/>
              <a:gd name="connsiteX585" fmla="*/ 1458758 w 2396490"/>
              <a:gd name="connsiteY585" fmla="*/ 263896 h 1280007"/>
              <a:gd name="connsiteX586" fmla="*/ 1448608 w 2396490"/>
              <a:gd name="connsiteY586" fmla="*/ 289270 h 1280007"/>
              <a:gd name="connsiteX587" fmla="*/ 1472855 w 2396490"/>
              <a:gd name="connsiteY587" fmla="*/ 290398 h 1280007"/>
              <a:gd name="connsiteX588" fmla="*/ 1516273 w 2396490"/>
              <a:gd name="connsiteY588" fmla="*/ 268407 h 1280007"/>
              <a:gd name="connsiteX589" fmla="*/ 869503 w 2396490"/>
              <a:gd name="connsiteY589" fmla="*/ 309006 h 1280007"/>
              <a:gd name="connsiteX590" fmla="*/ 884164 w 2396490"/>
              <a:gd name="connsiteY590" fmla="*/ 296037 h 1280007"/>
              <a:gd name="connsiteX591" fmla="*/ 935477 w 2396490"/>
              <a:gd name="connsiteY591" fmla="*/ 275737 h 1280007"/>
              <a:gd name="connsiteX592" fmla="*/ 1013292 w 2396490"/>
              <a:gd name="connsiteY592" fmla="*/ 255438 h 1280007"/>
              <a:gd name="connsiteX593" fmla="*/ 1049381 w 2396490"/>
              <a:gd name="connsiteY593" fmla="*/ 248107 h 1280007"/>
              <a:gd name="connsiteX594" fmla="*/ 1040358 w 2396490"/>
              <a:gd name="connsiteY594" fmla="*/ 236266 h 1280007"/>
              <a:gd name="connsiteX595" fmla="*/ 1029645 w 2396490"/>
              <a:gd name="connsiteY595" fmla="*/ 227808 h 1280007"/>
              <a:gd name="connsiteX596" fmla="*/ 976640 w 2396490"/>
              <a:gd name="connsiteY596" fmla="*/ 226680 h 1280007"/>
              <a:gd name="connsiteX597" fmla="*/ 953521 w 2396490"/>
              <a:gd name="connsiteY597" fmla="*/ 220477 h 1280007"/>
              <a:gd name="connsiteX598" fmla="*/ 874578 w 2396490"/>
              <a:gd name="connsiteY598" fmla="*/ 224988 h 1280007"/>
              <a:gd name="connsiteX599" fmla="*/ 872886 w 2396490"/>
              <a:gd name="connsiteY599" fmla="*/ 242468 h 1280007"/>
              <a:gd name="connsiteX600" fmla="*/ 830031 w 2396490"/>
              <a:gd name="connsiteY600" fmla="*/ 261076 h 1280007"/>
              <a:gd name="connsiteX601" fmla="*/ 788304 w 2396490"/>
              <a:gd name="connsiteY601" fmla="*/ 282504 h 1280007"/>
              <a:gd name="connsiteX602" fmla="*/ 764057 w 2396490"/>
              <a:gd name="connsiteY602" fmla="*/ 294909 h 1280007"/>
              <a:gd name="connsiteX603" fmla="*/ 797326 w 2396490"/>
              <a:gd name="connsiteY603" fmla="*/ 310134 h 1280007"/>
              <a:gd name="connsiteX604" fmla="*/ 793943 w 2396490"/>
              <a:gd name="connsiteY604" fmla="*/ 323103 h 1280007"/>
              <a:gd name="connsiteX605" fmla="*/ 869503 w 2396490"/>
              <a:gd name="connsiteY605" fmla="*/ 309006 h 1280007"/>
              <a:gd name="connsiteX606" fmla="*/ 1569278 w 2396490"/>
              <a:gd name="connsiteY606" fmla="*/ 205816 h 1280007"/>
              <a:gd name="connsiteX607" fmla="*/ 1570970 w 2396490"/>
              <a:gd name="connsiteY607" fmla="*/ 196794 h 1280007"/>
              <a:gd name="connsiteX608" fmla="*/ 1563075 w 2396490"/>
              <a:gd name="connsiteY608" fmla="*/ 187208 h 1280007"/>
              <a:gd name="connsiteX609" fmla="*/ 1524168 w 2396490"/>
              <a:gd name="connsiteY609" fmla="*/ 194539 h 1280007"/>
              <a:gd name="connsiteX610" fmla="*/ 1499357 w 2396490"/>
              <a:gd name="connsiteY610" fmla="*/ 206944 h 1280007"/>
              <a:gd name="connsiteX611" fmla="*/ 1517401 w 2396490"/>
              <a:gd name="connsiteY611" fmla="*/ 214274 h 1280007"/>
              <a:gd name="connsiteX612" fmla="*/ 1546159 w 2396490"/>
              <a:gd name="connsiteY612" fmla="*/ 216530 h 1280007"/>
              <a:gd name="connsiteX613" fmla="*/ 1569278 w 2396490"/>
              <a:gd name="connsiteY613" fmla="*/ 205816 h 1280007"/>
              <a:gd name="connsiteX614" fmla="*/ 1520221 w 2396490"/>
              <a:gd name="connsiteY614" fmla="*/ 157322 h 1280007"/>
              <a:gd name="connsiteX615" fmla="*/ 1514018 w 2396490"/>
              <a:gd name="connsiteY615" fmla="*/ 161270 h 1280007"/>
              <a:gd name="connsiteX616" fmla="*/ 1486952 w 2396490"/>
              <a:gd name="connsiteY616" fmla="*/ 159578 h 1280007"/>
              <a:gd name="connsiteX617" fmla="*/ 1444097 w 2396490"/>
              <a:gd name="connsiteY617" fmla="*/ 168600 h 1280007"/>
              <a:gd name="connsiteX618" fmla="*/ 1422669 w 2396490"/>
              <a:gd name="connsiteY618" fmla="*/ 168036 h 1280007"/>
              <a:gd name="connsiteX619" fmla="*/ 1398422 w 2396490"/>
              <a:gd name="connsiteY619" fmla="*/ 189464 h 1280007"/>
              <a:gd name="connsiteX620" fmla="*/ 1435639 w 2396490"/>
              <a:gd name="connsiteY620" fmla="*/ 187208 h 1280007"/>
              <a:gd name="connsiteX621" fmla="*/ 1416467 w 2396490"/>
              <a:gd name="connsiteY621" fmla="*/ 203561 h 1280007"/>
              <a:gd name="connsiteX622" fmla="*/ 1434511 w 2396490"/>
              <a:gd name="connsiteY622" fmla="*/ 208072 h 1280007"/>
              <a:gd name="connsiteX623" fmla="*/ 1472855 w 2396490"/>
              <a:gd name="connsiteY623" fmla="*/ 205252 h 1280007"/>
              <a:gd name="connsiteX624" fmla="*/ 1505559 w 2396490"/>
              <a:gd name="connsiteY624" fmla="*/ 184389 h 1280007"/>
              <a:gd name="connsiteX625" fmla="*/ 1521348 w 2396490"/>
              <a:gd name="connsiteY625" fmla="*/ 170292 h 1280007"/>
              <a:gd name="connsiteX626" fmla="*/ 1520221 w 2396490"/>
              <a:gd name="connsiteY626" fmla="*/ 157322 h 1280007"/>
              <a:gd name="connsiteX627" fmla="*/ 1299743 w 2396490"/>
              <a:gd name="connsiteY627" fmla="*/ 171419 h 1280007"/>
              <a:gd name="connsiteX628" fmla="*/ 1309893 w 2396490"/>
              <a:gd name="connsiteY628" fmla="*/ 158450 h 1280007"/>
              <a:gd name="connsiteX629" fmla="*/ 1292413 w 2396490"/>
              <a:gd name="connsiteY629" fmla="*/ 155631 h 1280007"/>
              <a:gd name="connsiteX630" fmla="*/ 1260272 w 2396490"/>
              <a:gd name="connsiteY630" fmla="*/ 165217 h 1280007"/>
              <a:gd name="connsiteX631" fmla="*/ 1256325 w 2396490"/>
              <a:gd name="connsiteY631" fmla="*/ 191719 h 1280007"/>
              <a:gd name="connsiteX632" fmla="*/ 1221928 w 2396490"/>
              <a:gd name="connsiteY632" fmla="*/ 189464 h 1280007"/>
              <a:gd name="connsiteX633" fmla="*/ 1206139 w 2396490"/>
              <a:gd name="connsiteY633" fmla="*/ 173111 h 1280007"/>
              <a:gd name="connsiteX634" fmla="*/ 1159901 w 2396490"/>
              <a:gd name="connsiteY634" fmla="*/ 164089 h 1280007"/>
              <a:gd name="connsiteX635" fmla="*/ 1129452 w 2396490"/>
              <a:gd name="connsiteY635" fmla="*/ 171983 h 1280007"/>
              <a:gd name="connsiteX636" fmla="*/ 1064042 w 2396490"/>
              <a:gd name="connsiteY636" fmla="*/ 199050 h 1280007"/>
              <a:gd name="connsiteX637" fmla="*/ 1087161 w 2396490"/>
              <a:gd name="connsiteY637" fmla="*/ 203561 h 1280007"/>
              <a:gd name="connsiteX638" fmla="*/ 1187531 w 2396490"/>
              <a:gd name="connsiteY638" fmla="*/ 200741 h 1280007"/>
              <a:gd name="connsiteX639" fmla="*/ 1127760 w 2396490"/>
              <a:gd name="connsiteY639" fmla="*/ 213147 h 1280007"/>
              <a:gd name="connsiteX640" fmla="*/ 1119302 w 2396490"/>
              <a:gd name="connsiteY640" fmla="*/ 222169 h 1280007"/>
              <a:gd name="connsiteX641" fmla="*/ 1152571 w 2396490"/>
              <a:gd name="connsiteY641" fmla="*/ 221605 h 1280007"/>
              <a:gd name="connsiteX642" fmla="*/ 1221364 w 2396490"/>
              <a:gd name="connsiteY642" fmla="*/ 209199 h 1280007"/>
              <a:gd name="connsiteX643" fmla="*/ 1299180 w 2396490"/>
              <a:gd name="connsiteY643" fmla="*/ 204688 h 1280007"/>
              <a:gd name="connsiteX644" fmla="*/ 1327937 w 2396490"/>
              <a:gd name="connsiteY644" fmla="*/ 191719 h 1280007"/>
              <a:gd name="connsiteX645" fmla="*/ 1340907 w 2396490"/>
              <a:gd name="connsiteY645" fmla="*/ 178186 h 1280007"/>
              <a:gd name="connsiteX646" fmla="*/ 1320043 w 2396490"/>
              <a:gd name="connsiteY646" fmla="*/ 177058 h 1280007"/>
              <a:gd name="connsiteX647" fmla="*/ 1295796 w 2396490"/>
              <a:gd name="connsiteY647" fmla="*/ 181569 h 1280007"/>
              <a:gd name="connsiteX648" fmla="*/ 1299743 w 2396490"/>
              <a:gd name="connsiteY648" fmla="*/ 171419 h 1280007"/>
              <a:gd name="connsiteX649" fmla="*/ 1611005 w 2396490"/>
              <a:gd name="connsiteY649" fmla="*/ 147173 h 1280007"/>
              <a:gd name="connsiteX650" fmla="*/ 1570970 w 2396490"/>
              <a:gd name="connsiteY650" fmla="*/ 145481 h 1280007"/>
              <a:gd name="connsiteX651" fmla="*/ 1549542 w 2396490"/>
              <a:gd name="connsiteY651" fmla="*/ 156759 h 1280007"/>
              <a:gd name="connsiteX652" fmla="*/ 1564203 w 2396490"/>
              <a:gd name="connsiteY652" fmla="*/ 165217 h 1280007"/>
              <a:gd name="connsiteX653" fmla="*/ 1603675 w 2396490"/>
              <a:gd name="connsiteY653" fmla="*/ 168600 h 1280007"/>
              <a:gd name="connsiteX654" fmla="*/ 1611569 w 2396490"/>
              <a:gd name="connsiteY654" fmla="*/ 180442 h 1280007"/>
              <a:gd name="connsiteX655" fmla="*/ 1599164 w 2396490"/>
              <a:gd name="connsiteY655" fmla="*/ 193975 h 1280007"/>
              <a:gd name="connsiteX656" fmla="*/ 1590706 w 2396490"/>
              <a:gd name="connsiteY656" fmla="*/ 209763 h 1280007"/>
              <a:gd name="connsiteX657" fmla="*/ 1638635 w 2396490"/>
              <a:gd name="connsiteY657" fmla="*/ 218785 h 1280007"/>
              <a:gd name="connsiteX658" fmla="*/ 1669649 w 2396490"/>
              <a:gd name="connsiteY658" fmla="*/ 222169 h 1280007"/>
              <a:gd name="connsiteX659" fmla="*/ 1714759 w 2396490"/>
              <a:gd name="connsiteY659" fmla="*/ 221605 h 1280007"/>
              <a:gd name="connsiteX660" fmla="*/ 1780169 w 2396490"/>
              <a:gd name="connsiteY660" fmla="*/ 217094 h 1280007"/>
              <a:gd name="connsiteX661" fmla="*/ 1804416 w 2396490"/>
              <a:gd name="connsiteY661" fmla="*/ 220477 h 1280007"/>
              <a:gd name="connsiteX662" fmla="*/ 1842196 w 2396490"/>
              <a:gd name="connsiteY662" fmla="*/ 214838 h 1280007"/>
              <a:gd name="connsiteX663" fmla="*/ 1861932 w 2396490"/>
              <a:gd name="connsiteY663" fmla="*/ 206944 h 1280007"/>
              <a:gd name="connsiteX664" fmla="*/ 1867571 w 2396490"/>
              <a:gd name="connsiteY664" fmla="*/ 195666 h 1280007"/>
              <a:gd name="connsiteX665" fmla="*/ 1854601 w 2396490"/>
              <a:gd name="connsiteY665" fmla="*/ 184953 h 1280007"/>
              <a:gd name="connsiteX666" fmla="*/ 1821896 w 2396490"/>
              <a:gd name="connsiteY666" fmla="*/ 183261 h 1280007"/>
              <a:gd name="connsiteX667" fmla="*/ 1776786 w 2396490"/>
              <a:gd name="connsiteY667" fmla="*/ 185516 h 1280007"/>
              <a:gd name="connsiteX668" fmla="*/ 1737314 w 2396490"/>
              <a:gd name="connsiteY668" fmla="*/ 191719 h 1280007"/>
              <a:gd name="connsiteX669" fmla="*/ 1708556 w 2396490"/>
              <a:gd name="connsiteY669" fmla="*/ 189464 h 1280007"/>
              <a:gd name="connsiteX670" fmla="*/ 1681490 w 2396490"/>
              <a:gd name="connsiteY670" fmla="*/ 187772 h 1280007"/>
              <a:gd name="connsiteX671" fmla="*/ 1674723 w 2396490"/>
              <a:gd name="connsiteY671" fmla="*/ 181569 h 1280007"/>
              <a:gd name="connsiteX672" fmla="*/ 1657243 w 2396490"/>
              <a:gd name="connsiteY672" fmla="*/ 175367 h 1280007"/>
              <a:gd name="connsiteX673" fmla="*/ 1673032 w 2396490"/>
              <a:gd name="connsiteY673" fmla="*/ 164653 h 1280007"/>
              <a:gd name="connsiteX674" fmla="*/ 1665138 w 2396490"/>
              <a:gd name="connsiteY674" fmla="*/ 155631 h 1280007"/>
              <a:gd name="connsiteX675" fmla="*/ 1623974 w 2396490"/>
              <a:gd name="connsiteY675" fmla="*/ 156195 h 1280007"/>
              <a:gd name="connsiteX676" fmla="*/ 1611005 w 2396490"/>
              <a:gd name="connsiteY676" fmla="*/ 147173 h 1280007"/>
              <a:gd name="connsiteX677" fmla="*/ 1188095 w 2396490"/>
              <a:gd name="connsiteY677" fmla="*/ 132512 h 1280007"/>
              <a:gd name="connsiteX678" fmla="*/ 1154262 w 2396490"/>
              <a:gd name="connsiteY678" fmla="*/ 136459 h 1280007"/>
              <a:gd name="connsiteX679" fmla="*/ 1123249 w 2396490"/>
              <a:gd name="connsiteY679" fmla="*/ 135895 h 1280007"/>
              <a:gd name="connsiteX680" fmla="*/ 1055020 w 2396490"/>
              <a:gd name="connsiteY680" fmla="*/ 153375 h 1280007"/>
              <a:gd name="connsiteX681" fmla="*/ 989609 w 2396490"/>
              <a:gd name="connsiteY681" fmla="*/ 174239 h 1280007"/>
              <a:gd name="connsiteX682" fmla="*/ 989609 w 2396490"/>
              <a:gd name="connsiteY682" fmla="*/ 174239 h 1280007"/>
              <a:gd name="connsiteX683" fmla="*/ 1009909 w 2396490"/>
              <a:gd name="connsiteY683" fmla="*/ 179878 h 1280007"/>
              <a:gd name="connsiteX684" fmla="*/ 1049381 w 2396490"/>
              <a:gd name="connsiteY684" fmla="*/ 175931 h 1280007"/>
              <a:gd name="connsiteX685" fmla="*/ 1104641 w 2396490"/>
              <a:gd name="connsiteY685" fmla="*/ 164089 h 1280007"/>
              <a:gd name="connsiteX686" fmla="*/ 1126068 w 2396490"/>
              <a:gd name="connsiteY686" fmla="*/ 162397 h 1280007"/>
              <a:gd name="connsiteX687" fmla="*/ 1155390 w 2396490"/>
              <a:gd name="connsiteY687" fmla="*/ 153375 h 1280007"/>
              <a:gd name="connsiteX688" fmla="*/ 1188095 w 2396490"/>
              <a:gd name="connsiteY688" fmla="*/ 132512 h 1280007"/>
              <a:gd name="connsiteX689" fmla="*/ 1642019 w 2396490"/>
              <a:gd name="connsiteY689" fmla="*/ 135895 h 1280007"/>
              <a:gd name="connsiteX690" fmla="*/ 1647657 w 2396490"/>
              <a:gd name="connsiteY690" fmla="*/ 133076 h 1280007"/>
              <a:gd name="connsiteX691" fmla="*/ 1639199 w 2396490"/>
              <a:gd name="connsiteY691" fmla="*/ 128001 h 1280007"/>
              <a:gd name="connsiteX692" fmla="*/ 1598600 w 2396490"/>
              <a:gd name="connsiteY692" fmla="*/ 127437 h 1280007"/>
              <a:gd name="connsiteX693" fmla="*/ 1595217 w 2396490"/>
              <a:gd name="connsiteY693" fmla="*/ 134767 h 1280007"/>
              <a:gd name="connsiteX694" fmla="*/ 1631305 w 2396490"/>
              <a:gd name="connsiteY694" fmla="*/ 136459 h 1280007"/>
              <a:gd name="connsiteX695" fmla="*/ 1642019 w 2396490"/>
              <a:gd name="connsiteY695" fmla="*/ 135895 h 1280007"/>
              <a:gd name="connsiteX696" fmla="*/ 1312713 w 2396490"/>
              <a:gd name="connsiteY696" fmla="*/ 131384 h 1280007"/>
              <a:gd name="connsiteX697" fmla="*/ 1330757 w 2396490"/>
              <a:gd name="connsiteY697" fmla="*/ 123490 h 1280007"/>
              <a:gd name="connsiteX698" fmla="*/ 1307638 w 2396490"/>
              <a:gd name="connsiteY698" fmla="*/ 118979 h 1280007"/>
              <a:gd name="connsiteX699" fmla="*/ 1274369 w 2396490"/>
              <a:gd name="connsiteY699" fmla="*/ 121798 h 1280007"/>
              <a:gd name="connsiteX700" fmla="*/ 1245611 w 2396490"/>
              <a:gd name="connsiteY700" fmla="*/ 130256 h 1280007"/>
              <a:gd name="connsiteX701" fmla="*/ 1264219 w 2396490"/>
              <a:gd name="connsiteY701" fmla="*/ 138714 h 1280007"/>
              <a:gd name="connsiteX702" fmla="*/ 1312713 w 2396490"/>
              <a:gd name="connsiteY702" fmla="*/ 131384 h 1280007"/>
              <a:gd name="connsiteX703" fmla="*/ 1356695 w 2396490"/>
              <a:gd name="connsiteY703" fmla="*/ 107701 h 1280007"/>
              <a:gd name="connsiteX704" fmla="*/ 1338087 w 2396490"/>
              <a:gd name="connsiteY704" fmla="*/ 102626 h 1280007"/>
              <a:gd name="connsiteX705" fmla="*/ 1329065 w 2396490"/>
              <a:gd name="connsiteY705" fmla="*/ 101498 h 1280007"/>
              <a:gd name="connsiteX706" fmla="*/ 1296924 w 2396490"/>
              <a:gd name="connsiteY706" fmla="*/ 108829 h 1280007"/>
              <a:gd name="connsiteX707" fmla="*/ 1291285 w 2396490"/>
              <a:gd name="connsiteY707" fmla="*/ 112776 h 1280007"/>
              <a:gd name="connsiteX708" fmla="*/ 1325118 w 2396490"/>
              <a:gd name="connsiteY708" fmla="*/ 112776 h 1280007"/>
              <a:gd name="connsiteX709" fmla="*/ 1356695 w 2396490"/>
              <a:gd name="connsiteY709" fmla="*/ 107701 h 1280007"/>
              <a:gd name="connsiteX710" fmla="*/ 1618335 w 2396490"/>
              <a:gd name="connsiteY710" fmla="*/ 121798 h 1280007"/>
              <a:gd name="connsiteX711" fmla="*/ 1635252 w 2396490"/>
              <a:gd name="connsiteY711" fmla="*/ 112212 h 1280007"/>
              <a:gd name="connsiteX712" fmla="*/ 1622283 w 2396490"/>
              <a:gd name="connsiteY712" fmla="*/ 103190 h 1280007"/>
              <a:gd name="connsiteX713" fmla="*/ 1612697 w 2396490"/>
              <a:gd name="connsiteY713" fmla="*/ 101498 h 1280007"/>
              <a:gd name="connsiteX714" fmla="*/ 1587886 w 2396490"/>
              <a:gd name="connsiteY714" fmla="*/ 100934 h 1280007"/>
              <a:gd name="connsiteX715" fmla="*/ 1576044 w 2396490"/>
              <a:gd name="connsiteY715" fmla="*/ 111084 h 1280007"/>
              <a:gd name="connsiteX716" fmla="*/ 1572098 w 2396490"/>
              <a:gd name="connsiteY716" fmla="*/ 121234 h 1280007"/>
              <a:gd name="connsiteX717" fmla="*/ 1581120 w 2396490"/>
              <a:gd name="connsiteY717" fmla="*/ 127437 h 1280007"/>
              <a:gd name="connsiteX718" fmla="*/ 1618335 w 2396490"/>
              <a:gd name="connsiteY718" fmla="*/ 121798 h 1280007"/>
              <a:gd name="connsiteX719" fmla="*/ 1541084 w 2396490"/>
              <a:gd name="connsiteY719" fmla="*/ 115031 h 1280007"/>
              <a:gd name="connsiteX720" fmla="*/ 1541648 w 2396490"/>
              <a:gd name="connsiteY720" fmla="*/ 102626 h 1280007"/>
              <a:gd name="connsiteX721" fmla="*/ 1499921 w 2396490"/>
              <a:gd name="connsiteY721" fmla="*/ 93040 h 1280007"/>
              <a:gd name="connsiteX722" fmla="*/ 1465524 w 2396490"/>
              <a:gd name="connsiteY722" fmla="*/ 89657 h 1280007"/>
              <a:gd name="connsiteX723" fmla="*/ 1453683 w 2396490"/>
              <a:gd name="connsiteY723" fmla="*/ 99243 h 1280007"/>
              <a:gd name="connsiteX724" fmla="*/ 1469471 w 2396490"/>
              <a:gd name="connsiteY724" fmla="*/ 105446 h 1280007"/>
              <a:gd name="connsiteX725" fmla="*/ 1439586 w 2396490"/>
              <a:gd name="connsiteY725" fmla="*/ 113340 h 1280007"/>
              <a:gd name="connsiteX726" fmla="*/ 1483004 w 2396490"/>
              <a:gd name="connsiteY726" fmla="*/ 114468 h 1280007"/>
              <a:gd name="connsiteX727" fmla="*/ 1505559 w 2396490"/>
              <a:gd name="connsiteY727" fmla="*/ 122926 h 1280007"/>
              <a:gd name="connsiteX728" fmla="*/ 1534881 w 2396490"/>
              <a:gd name="connsiteY728" fmla="*/ 125745 h 1280007"/>
              <a:gd name="connsiteX729" fmla="*/ 1541084 w 2396490"/>
              <a:gd name="connsiteY729" fmla="*/ 115031 h 1280007"/>
              <a:gd name="connsiteX730" fmla="*/ 1843887 w 2396490"/>
              <a:gd name="connsiteY730" fmla="*/ 80635 h 1280007"/>
              <a:gd name="connsiteX731" fmla="*/ 1847271 w 2396490"/>
              <a:gd name="connsiteY731" fmla="*/ 64846 h 1280007"/>
              <a:gd name="connsiteX732" fmla="*/ 1820769 w 2396490"/>
              <a:gd name="connsiteY732" fmla="*/ 60335 h 1280007"/>
              <a:gd name="connsiteX733" fmla="*/ 1794266 w 2396490"/>
              <a:gd name="connsiteY733" fmla="*/ 55260 h 1280007"/>
              <a:gd name="connsiteX734" fmla="*/ 1785244 w 2396490"/>
              <a:gd name="connsiteY734" fmla="*/ 42855 h 1280007"/>
              <a:gd name="connsiteX735" fmla="*/ 1739006 w 2396490"/>
              <a:gd name="connsiteY735" fmla="*/ 43983 h 1280007"/>
              <a:gd name="connsiteX736" fmla="*/ 1740698 w 2396490"/>
              <a:gd name="connsiteY736" fmla="*/ 49058 h 1280007"/>
              <a:gd name="connsiteX737" fmla="*/ 1718706 w 2396490"/>
              <a:gd name="connsiteY737" fmla="*/ 50749 h 1280007"/>
              <a:gd name="connsiteX738" fmla="*/ 1695587 w 2396490"/>
              <a:gd name="connsiteY738" fmla="*/ 58080 h 1280007"/>
              <a:gd name="connsiteX739" fmla="*/ 1667957 w 2396490"/>
              <a:gd name="connsiteY739" fmla="*/ 68793 h 1280007"/>
              <a:gd name="connsiteX740" fmla="*/ 1666265 w 2396490"/>
              <a:gd name="connsiteY740" fmla="*/ 79507 h 1280007"/>
              <a:gd name="connsiteX741" fmla="*/ 1677543 w 2396490"/>
              <a:gd name="connsiteY741" fmla="*/ 87965 h 1280007"/>
              <a:gd name="connsiteX742" fmla="*/ 1714195 w 2396490"/>
              <a:gd name="connsiteY742" fmla="*/ 87965 h 1280007"/>
              <a:gd name="connsiteX743" fmla="*/ 1689948 w 2396490"/>
              <a:gd name="connsiteY743" fmla="*/ 94732 h 1280007"/>
              <a:gd name="connsiteX744" fmla="*/ 1678107 w 2396490"/>
              <a:gd name="connsiteY744" fmla="*/ 103754 h 1280007"/>
              <a:gd name="connsiteX745" fmla="*/ 1687129 w 2396490"/>
              <a:gd name="connsiteY745" fmla="*/ 114468 h 1280007"/>
              <a:gd name="connsiteX746" fmla="*/ 1724909 w 2396490"/>
              <a:gd name="connsiteY746" fmla="*/ 117851 h 1280007"/>
              <a:gd name="connsiteX747" fmla="*/ 1763253 w 2396490"/>
              <a:gd name="connsiteY747" fmla="*/ 115595 h 1280007"/>
              <a:gd name="connsiteX748" fmla="*/ 1822460 w 2396490"/>
              <a:gd name="connsiteY748" fmla="*/ 96423 h 1280007"/>
              <a:gd name="connsiteX749" fmla="*/ 1858549 w 2396490"/>
              <a:gd name="connsiteY749" fmla="*/ 89093 h 1280007"/>
              <a:gd name="connsiteX750" fmla="*/ 1843887 w 2396490"/>
              <a:gd name="connsiteY750" fmla="*/ 80635 h 1280007"/>
              <a:gd name="connsiteX751" fmla="*/ 2286533 w 2396490"/>
              <a:gd name="connsiteY751" fmla="*/ 2819 h 1280007"/>
              <a:gd name="connsiteX752" fmla="*/ 2247062 w 2396490"/>
              <a:gd name="connsiteY752" fmla="*/ 1692 h 1280007"/>
              <a:gd name="connsiteX753" fmla="*/ 2208154 w 2396490"/>
              <a:gd name="connsiteY753" fmla="*/ 0 h 1280007"/>
              <a:gd name="connsiteX754" fmla="*/ 2150638 w 2396490"/>
              <a:gd name="connsiteY754" fmla="*/ 3383 h 1280007"/>
              <a:gd name="connsiteX755" fmla="*/ 2142744 w 2396490"/>
              <a:gd name="connsiteY755" fmla="*/ 1128 h 1280007"/>
              <a:gd name="connsiteX756" fmla="*/ 2084664 w 2396490"/>
              <a:gd name="connsiteY756" fmla="*/ 2255 h 1280007"/>
              <a:gd name="connsiteX757" fmla="*/ 2048576 w 2396490"/>
              <a:gd name="connsiteY757" fmla="*/ 4511 h 1280007"/>
              <a:gd name="connsiteX758" fmla="*/ 2019818 w 2396490"/>
              <a:gd name="connsiteY758" fmla="*/ 7894 h 1280007"/>
              <a:gd name="connsiteX759" fmla="*/ 1991624 w 2396490"/>
              <a:gd name="connsiteY759" fmla="*/ 19172 h 1280007"/>
              <a:gd name="connsiteX760" fmla="*/ 1978655 w 2396490"/>
              <a:gd name="connsiteY760" fmla="*/ 13533 h 1280007"/>
              <a:gd name="connsiteX761" fmla="*/ 1956663 w 2396490"/>
              <a:gd name="connsiteY761" fmla="*/ 12405 h 1280007"/>
              <a:gd name="connsiteX762" fmla="*/ 1918884 w 2396490"/>
              <a:gd name="connsiteY762" fmla="*/ 20300 h 1280007"/>
              <a:gd name="connsiteX763" fmla="*/ 1877157 w 2396490"/>
              <a:gd name="connsiteY763" fmla="*/ 23683 h 1280007"/>
              <a:gd name="connsiteX764" fmla="*/ 1854038 w 2396490"/>
              <a:gd name="connsiteY764" fmla="*/ 24247 h 1280007"/>
              <a:gd name="connsiteX765" fmla="*/ 1820205 w 2396490"/>
              <a:gd name="connsiteY765" fmla="*/ 28758 h 1280007"/>
              <a:gd name="connsiteX766" fmla="*/ 1814002 w 2396490"/>
              <a:gd name="connsiteY766" fmla="*/ 36088 h 1280007"/>
              <a:gd name="connsiteX767" fmla="*/ 1828099 w 2396490"/>
              <a:gd name="connsiteY767" fmla="*/ 42855 h 1280007"/>
              <a:gd name="connsiteX768" fmla="*/ 1832610 w 2396490"/>
              <a:gd name="connsiteY768" fmla="*/ 51877 h 1280007"/>
              <a:gd name="connsiteX769" fmla="*/ 1857421 w 2396490"/>
              <a:gd name="connsiteY769" fmla="*/ 60335 h 1280007"/>
              <a:gd name="connsiteX770" fmla="*/ 1927342 w 2396490"/>
              <a:gd name="connsiteY770" fmla="*/ 58643 h 1280007"/>
              <a:gd name="connsiteX771" fmla="*/ 1967941 w 2396490"/>
              <a:gd name="connsiteY771" fmla="*/ 61463 h 1280007"/>
              <a:gd name="connsiteX772" fmla="*/ 1927342 w 2396490"/>
              <a:gd name="connsiteY772" fmla="*/ 69921 h 1280007"/>
              <a:gd name="connsiteX773" fmla="*/ 1914937 w 2396490"/>
              <a:gd name="connsiteY773" fmla="*/ 67666 h 1280007"/>
              <a:gd name="connsiteX774" fmla="*/ 1862496 w 2396490"/>
              <a:gd name="connsiteY774" fmla="*/ 66538 h 1280007"/>
              <a:gd name="connsiteX775" fmla="*/ 1856293 w 2396490"/>
              <a:gd name="connsiteY775" fmla="*/ 78943 h 1280007"/>
              <a:gd name="connsiteX776" fmla="*/ 1873209 w 2396490"/>
              <a:gd name="connsiteY776" fmla="*/ 88529 h 1280007"/>
              <a:gd name="connsiteX777" fmla="*/ 1857421 w 2396490"/>
              <a:gd name="connsiteY777" fmla="*/ 97551 h 1280007"/>
              <a:gd name="connsiteX778" fmla="*/ 1815130 w 2396490"/>
              <a:gd name="connsiteY778" fmla="*/ 103754 h 1280007"/>
              <a:gd name="connsiteX779" fmla="*/ 1787499 w 2396490"/>
              <a:gd name="connsiteY779" fmla="*/ 113340 h 1280007"/>
              <a:gd name="connsiteX780" fmla="*/ 1814566 w 2396490"/>
              <a:gd name="connsiteY780" fmla="*/ 118415 h 1280007"/>
              <a:gd name="connsiteX781" fmla="*/ 1824152 w 2396490"/>
              <a:gd name="connsiteY781" fmla="*/ 135331 h 1280007"/>
              <a:gd name="connsiteX782" fmla="*/ 1781861 w 2396490"/>
              <a:gd name="connsiteY782" fmla="*/ 124054 h 1280007"/>
              <a:gd name="connsiteX783" fmla="*/ 1767764 w 2396490"/>
              <a:gd name="connsiteY783" fmla="*/ 125745 h 1280007"/>
              <a:gd name="connsiteX784" fmla="*/ 1756486 w 2396490"/>
              <a:gd name="connsiteY784" fmla="*/ 144917 h 1280007"/>
              <a:gd name="connsiteX785" fmla="*/ 1711376 w 2396490"/>
              <a:gd name="connsiteY785" fmla="*/ 151120 h 1280007"/>
              <a:gd name="connsiteX786" fmla="*/ 1700098 w 2396490"/>
              <a:gd name="connsiteY786" fmla="*/ 164089 h 1280007"/>
              <a:gd name="connsiteX787" fmla="*/ 1737878 w 2396490"/>
              <a:gd name="connsiteY787" fmla="*/ 165781 h 1280007"/>
              <a:gd name="connsiteX788" fmla="*/ 1765508 w 2396490"/>
              <a:gd name="connsiteY788" fmla="*/ 169164 h 1280007"/>
              <a:gd name="connsiteX789" fmla="*/ 1831482 w 2396490"/>
              <a:gd name="connsiteY789" fmla="*/ 164653 h 1280007"/>
              <a:gd name="connsiteX790" fmla="*/ 1878848 w 2396490"/>
              <a:gd name="connsiteY790" fmla="*/ 172547 h 1280007"/>
              <a:gd name="connsiteX791" fmla="*/ 1949897 w 2396490"/>
              <a:gd name="connsiteY791" fmla="*/ 155631 h 1280007"/>
              <a:gd name="connsiteX792" fmla="*/ 1955536 w 2396490"/>
              <a:gd name="connsiteY792" fmla="*/ 149428 h 1280007"/>
              <a:gd name="connsiteX793" fmla="*/ 1919448 w 2396490"/>
              <a:gd name="connsiteY793" fmla="*/ 150556 h 1280007"/>
              <a:gd name="connsiteX794" fmla="*/ 1922267 w 2396490"/>
              <a:gd name="connsiteY794" fmla="*/ 144353 h 1280007"/>
              <a:gd name="connsiteX795" fmla="*/ 1958919 w 2396490"/>
              <a:gd name="connsiteY795" fmla="*/ 136459 h 1280007"/>
              <a:gd name="connsiteX796" fmla="*/ 1979219 w 2396490"/>
              <a:gd name="connsiteY796" fmla="*/ 125745 h 1280007"/>
              <a:gd name="connsiteX797" fmla="*/ 2017563 w 2396490"/>
              <a:gd name="connsiteY797" fmla="*/ 118415 h 1280007"/>
              <a:gd name="connsiteX798" fmla="*/ 2045757 w 2396490"/>
              <a:gd name="connsiteY798" fmla="*/ 109393 h 1280007"/>
              <a:gd name="connsiteX799" fmla="*/ 2041245 w 2396490"/>
              <a:gd name="connsiteY799" fmla="*/ 96987 h 1280007"/>
              <a:gd name="connsiteX800" fmla="*/ 2059854 w 2396490"/>
              <a:gd name="connsiteY800" fmla="*/ 92476 h 1280007"/>
              <a:gd name="connsiteX801" fmla="*/ 2035607 w 2396490"/>
              <a:gd name="connsiteY801" fmla="*/ 89093 h 1280007"/>
              <a:gd name="connsiteX802" fmla="*/ 2098198 w 2396490"/>
              <a:gd name="connsiteY802" fmla="*/ 86837 h 1280007"/>
              <a:gd name="connsiteX803" fmla="*/ 2116242 w 2396490"/>
              <a:gd name="connsiteY803" fmla="*/ 81763 h 1280007"/>
              <a:gd name="connsiteX804" fmla="*/ 2160788 w 2396490"/>
              <a:gd name="connsiteY804" fmla="*/ 77252 h 1280007"/>
              <a:gd name="connsiteX805" fmla="*/ 2213229 w 2396490"/>
              <a:gd name="connsiteY805" fmla="*/ 57516 h 1280007"/>
              <a:gd name="connsiteX806" fmla="*/ 2251573 w 2396490"/>
              <a:gd name="connsiteY806" fmla="*/ 51313 h 1280007"/>
              <a:gd name="connsiteX807" fmla="*/ 2309653 w 2396490"/>
              <a:gd name="connsiteY807" fmla="*/ 37216 h 1280007"/>
              <a:gd name="connsiteX808" fmla="*/ 2267925 w 2396490"/>
              <a:gd name="connsiteY808" fmla="*/ 37216 h 1280007"/>
              <a:gd name="connsiteX809" fmla="*/ 2289917 w 2396490"/>
              <a:gd name="connsiteY809" fmla="*/ 32141 h 1280007"/>
              <a:gd name="connsiteX810" fmla="*/ 2340666 w 2396490"/>
              <a:gd name="connsiteY810" fmla="*/ 27630 h 1280007"/>
              <a:gd name="connsiteX811" fmla="*/ 2395362 w 2396490"/>
              <a:gd name="connsiteY811" fmla="*/ 18608 h 1280007"/>
              <a:gd name="connsiteX812" fmla="*/ 2401565 w 2396490"/>
              <a:gd name="connsiteY812" fmla="*/ 12405 h 1280007"/>
              <a:gd name="connsiteX813" fmla="*/ 2372243 w 2396490"/>
              <a:gd name="connsiteY813" fmla="*/ 6767 h 1280007"/>
              <a:gd name="connsiteX814" fmla="*/ 2334463 w 2396490"/>
              <a:gd name="connsiteY814" fmla="*/ 4511 h 1280007"/>
              <a:gd name="connsiteX815" fmla="*/ 2286533 w 2396490"/>
              <a:gd name="connsiteY815" fmla="*/ 2819 h 128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</a:cxnLst>
            <a:rect l="l" t="t" r="r" b="b"/>
            <a:pathLst>
              <a:path w="2396490" h="1280007">
                <a:moveTo>
                  <a:pt x="1775658" y="1124377"/>
                </a:moveTo>
                <a:lnTo>
                  <a:pt x="1771711" y="1107460"/>
                </a:lnTo>
                <a:lnTo>
                  <a:pt x="1757614" y="1118174"/>
                </a:lnTo>
                <a:lnTo>
                  <a:pt x="1760433" y="1130016"/>
                </a:lnTo>
                <a:lnTo>
                  <a:pt x="1792011" y="1144676"/>
                </a:lnTo>
                <a:lnTo>
                  <a:pt x="1802724" y="1142421"/>
                </a:lnTo>
                <a:lnTo>
                  <a:pt x="1821332" y="1128324"/>
                </a:lnTo>
                <a:lnTo>
                  <a:pt x="1794830" y="1128888"/>
                </a:lnTo>
                <a:lnTo>
                  <a:pt x="1775658" y="1124377"/>
                </a:lnTo>
                <a:close/>
                <a:moveTo>
                  <a:pt x="1856857" y="1034720"/>
                </a:moveTo>
                <a:lnTo>
                  <a:pt x="1857984" y="1028517"/>
                </a:lnTo>
                <a:lnTo>
                  <a:pt x="1834866" y="1013856"/>
                </a:lnTo>
                <a:lnTo>
                  <a:pt x="1801596" y="1004834"/>
                </a:lnTo>
                <a:lnTo>
                  <a:pt x="1790883" y="1008218"/>
                </a:lnTo>
                <a:lnTo>
                  <a:pt x="1810619" y="1024570"/>
                </a:lnTo>
                <a:lnTo>
                  <a:pt x="1842760" y="1035284"/>
                </a:lnTo>
                <a:lnTo>
                  <a:pt x="1856857" y="1034720"/>
                </a:lnTo>
                <a:close/>
                <a:moveTo>
                  <a:pt x="135331" y="1055583"/>
                </a:moveTo>
                <a:lnTo>
                  <a:pt x="136459" y="1036412"/>
                </a:lnTo>
                <a:lnTo>
                  <a:pt x="118415" y="1021751"/>
                </a:lnTo>
                <a:lnTo>
                  <a:pt x="116159" y="1005398"/>
                </a:lnTo>
                <a:lnTo>
                  <a:pt x="115595" y="993557"/>
                </a:lnTo>
                <a:lnTo>
                  <a:pt x="92476" y="989609"/>
                </a:lnTo>
                <a:lnTo>
                  <a:pt x="78943" y="984534"/>
                </a:lnTo>
                <a:lnTo>
                  <a:pt x="55824" y="976640"/>
                </a:lnTo>
                <a:lnTo>
                  <a:pt x="47930" y="985098"/>
                </a:lnTo>
                <a:lnTo>
                  <a:pt x="44546" y="1003706"/>
                </a:lnTo>
                <a:lnTo>
                  <a:pt x="68793" y="1009909"/>
                </a:lnTo>
                <a:lnTo>
                  <a:pt x="66538" y="1020059"/>
                </a:lnTo>
                <a:lnTo>
                  <a:pt x="82890" y="1032464"/>
                </a:lnTo>
                <a:lnTo>
                  <a:pt x="82890" y="1044870"/>
                </a:lnTo>
                <a:lnTo>
                  <a:pt x="118415" y="1060658"/>
                </a:lnTo>
                <a:lnTo>
                  <a:pt x="135331" y="1055583"/>
                </a:lnTo>
                <a:close/>
                <a:moveTo>
                  <a:pt x="2030532" y="979460"/>
                </a:moveTo>
                <a:lnTo>
                  <a:pt x="2052523" y="958032"/>
                </a:lnTo>
                <a:lnTo>
                  <a:pt x="2060418" y="948446"/>
                </a:lnTo>
                <a:lnTo>
                  <a:pt x="2048576" y="946755"/>
                </a:lnTo>
                <a:lnTo>
                  <a:pt x="2020946" y="959160"/>
                </a:lnTo>
                <a:lnTo>
                  <a:pt x="1997263" y="978896"/>
                </a:lnTo>
                <a:lnTo>
                  <a:pt x="1951589" y="1034156"/>
                </a:lnTo>
                <a:lnTo>
                  <a:pt x="1921703" y="1055020"/>
                </a:lnTo>
                <a:lnTo>
                  <a:pt x="1930725" y="1064606"/>
                </a:lnTo>
                <a:lnTo>
                  <a:pt x="1909298" y="1077011"/>
                </a:lnTo>
                <a:lnTo>
                  <a:pt x="1910426" y="1087725"/>
                </a:lnTo>
                <a:lnTo>
                  <a:pt x="1964558" y="1088288"/>
                </a:lnTo>
                <a:lnTo>
                  <a:pt x="1995008" y="1086597"/>
                </a:lnTo>
                <a:lnTo>
                  <a:pt x="2019818" y="1095055"/>
                </a:lnTo>
                <a:lnTo>
                  <a:pt x="1995008" y="1111408"/>
                </a:lnTo>
                <a:lnTo>
                  <a:pt x="2011360" y="1112535"/>
                </a:lnTo>
                <a:lnTo>
                  <a:pt x="2052523" y="1082086"/>
                </a:lnTo>
                <a:lnTo>
                  <a:pt x="2059290" y="1086597"/>
                </a:lnTo>
                <a:lnTo>
                  <a:pt x="2045193" y="1115355"/>
                </a:lnTo>
                <a:lnTo>
                  <a:pt x="2062109" y="1122121"/>
                </a:lnTo>
                <a:lnTo>
                  <a:pt x="2075078" y="1120994"/>
                </a:lnTo>
                <a:lnTo>
                  <a:pt x="2094814" y="1089980"/>
                </a:lnTo>
                <a:lnTo>
                  <a:pt x="2091995" y="1067989"/>
                </a:lnTo>
                <a:lnTo>
                  <a:pt x="2093687" y="1049381"/>
                </a:lnTo>
                <a:lnTo>
                  <a:pt x="2072823" y="1055583"/>
                </a:lnTo>
                <a:lnTo>
                  <a:pt x="2088612" y="1029645"/>
                </a:lnTo>
                <a:lnTo>
                  <a:pt x="2064365" y="1018931"/>
                </a:lnTo>
                <a:lnTo>
                  <a:pt x="2049140" y="1027389"/>
                </a:lnTo>
                <a:lnTo>
                  <a:pt x="2027148" y="1017803"/>
                </a:lnTo>
                <a:lnTo>
                  <a:pt x="2040682" y="1005962"/>
                </a:lnTo>
                <a:lnTo>
                  <a:pt x="2024329" y="998631"/>
                </a:lnTo>
                <a:lnTo>
                  <a:pt x="2002902" y="1009909"/>
                </a:lnTo>
                <a:lnTo>
                  <a:pt x="2030532" y="979460"/>
                </a:lnTo>
                <a:close/>
                <a:moveTo>
                  <a:pt x="18608" y="859917"/>
                </a:moveTo>
                <a:lnTo>
                  <a:pt x="7894" y="871195"/>
                </a:lnTo>
                <a:lnTo>
                  <a:pt x="0" y="885855"/>
                </a:lnTo>
                <a:lnTo>
                  <a:pt x="5075" y="896569"/>
                </a:lnTo>
                <a:lnTo>
                  <a:pt x="1692" y="912358"/>
                </a:lnTo>
                <a:lnTo>
                  <a:pt x="5639" y="928146"/>
                </a:lnTo>
                <a:lnTo>
                  <a:pt x="16352" y="928146"/>
                </a:lnTo>
                <a:lnTo>
                  <a:pt x="15225" y="900516"/>
                </a:lnTo>
                <a:lnTo>
                  <a:pt x="55260" y="861609"/>
                </a:lnTo>
                <a:lnTo>
                  <a:pt x="27630" y="864428"/>
                </a:lnTo>
                <a:lnTo>
                  <a:pt x="18608" y="859917"/>
                </a:lnTo>
                <a:close/>
                <a:moveTo>
                  <a:pt x="1602547" y="594893"/>
                </a:moveTo>
                <a:lnTo>
                  <a:pt x="1600292" y="588127"/>
                </a:lnTo>
                <a:lnTo>
                  <a:pt x="1590706" y="587563"/>
                </a:lnTo>
                <a:lnTo>
                  <a:pt x="1574917" y="597149"/>
                </a:lnTo>
                <a:lnTo>
                  <a:pt x="1572661" y="599405"/>
                </a:lnTo>
                <a:lnTo>
                  <a:pt x="1573225" y="608990"/>
                </a:lnTo>
                <a:lnTo>
                  <a:pt x="1582811" y="611810"/>
                </a:lnTo>
                <a:lnTo>
                  <a:pt x="1602547" y="594893"/>
                </a:lnTo>
                <a:close/>
                <a:moveTo>
                  <a:pt x="1548415" y="576849"/>
                </a:moveTo>
                <a:lnTo>
                  <a:pt x="1552926" y="570647"/>
                </a:lnTo>
                <a:lnTo>
                  <a:pt x="1519093" y="570083"/>
                </a:lnTo>
                <a:lnTo>
                  <a:pt x="1491462" y="585308"/>
                </a:lnTo>
                <a:lnTo>
                  <a:pt x="1491462" y="593766"/>
                </a:lnTo>
                <a:lnTo>
                  <a:pt x="1508379" y="594893"/>
                </a:lnTo>
                <a:lnTo>
                  <a:pt x="1548415" y="576849"/>
                </a:lnTo>
                <a:close/>
                <a:moveTo>
                  <a:pt x="1530934" y="483245"/>
                </a:moveTo>
                <a:lnTo>
                  <a:pt x="1515710" y="480426"/>
                </a:lnTo>
                <a:lnTo>
                  <a:pt x="1487516" y="509748"/>
                </a:lnTo>
                <a:lnTo>
                  <a:pt x="1467216" y="534558"/>
                </a:lnTo>
                <a:lnTo>
                  <a:pt x="1435074" y="550347"/>
                </a:lnTo>
                <a:lnTo>
                  <a:pt x="1470599" y="546964"/>
                </a:lnTo>
                <a:lnTo>
                  <a:pt x="1466088" y="566136"/>
                </a:lnTo>
                <a:lnTo>
                  <a:pt x="1512326" y="549219"/>
                </a:lnTo>
                <a:lnTo>
                  <a:pt x="1547287" y="532303"/>
                </a:lnTo>
                <a:lnTo>
                  <a:pt x="1551798" y="546964"/>
                </a:lnTo>
                <a:lnTo>
                  <a:pt x="1585067" y="554294"/>
                </a:lnTo>
                <a:lnTo>
                  <a:pt x="1612697" y="544144"/>
                </a:lnTo>
                <a:lnTo>
                  <a:pt x="1601983" y="533994"/>
                </a:lnTo>
                <a:lnTo>
                  <a:pt x="1582811" y="536250"/>
                </a:lnTo>
                <a:lnTo>
                  <a:pt x="1590141" y="521025"/>
                </a:lnTo>
                <a:lnTo>
                  <a:pt x="1569278" y="511439"/>
                </a:lnTo>
                <a:lnTo>
                  <a:pt x="1550106" y="500725"/>
                </a:lnTo>
                <a:lnTo>
                  <a:pt x="1541648" y="492267"/>
                </a:lnTo>
                <a:lnTo>
                  <a:pt x="1525859" y="497342"/>
                </a:lnTo>
                <a:lnTo>
                  <a:pt x="1530934" y="483245"/>
                </a:lnTo>
                <a:close/>
                <a:moveTo>
                  <a:pt x="1782425" y="437007"/>
                </a:moveTo>
                <a:lnTo>
                  <a:pt x="1803288" y="427421"/>
                </a:lnTo>
                <a:lnTo>
                  <a:pt x="1808927" y="423474"/>
                </a:lnTo>
                <a:lnTo>
                  <a:pt x="1816821" y="410505"/>
                </a:lnTo>
                <a:lnTo>
                  <a:pt x="1803852" y="402046"/>
                </a:lnTo>
                <a:lnTo>
                  <a:pt x="1780169" y="405994"/>
                </a:lnTo>
                <a:lnTo>
                  <a:pt x="1758742" y="423474"/>
                </a:lnTo>
                <a:lnTo>
                  <a:pt x="1754795" y="438135"/>
                </a:lnTo>
                <a:lnTo>
                  <a:pt x="1782425" y="437007"/>
                </a:lnTo>
                <a:close/>
                <a:moveTo>
                  <a:pt x="1366281" y="376672"/>
                </a:moveTo>
                <a:lnTo>
                  <a:pt x="1361770" y="365394"/>
                </a:lnTo>
                <a:lnTo>
                  <a:pt x="1360079" y="359755"/>
                </a:lnTo>
                <a:lnTo>
                  <a:pt x="1351057" y="354117"/>
                </a:lnTo>
                <a:lnTo>
                  <a:pt x="1334140" y="345658"/>
                </a:lnTo>
                <a:lnTo>
                  <a:pt x="1306510" y="358628"/>
                </a:lnTo>
                <a:lnTo>
                  <a:pt x="1278316" y="368214"/>
                </a:lnTo>
                <a:lnTo>
                  <a:pt x="1298052" y="381747"/>
                </a:lnTo>
                <a:lnTo>
                  <a:pt x="1319479" y="378363"/>
                </a:lnTo>
                <a:lnTo>
                  <a:pt x="1342598" y="387386"/>
                </a:lnTo>
                <a:lnTo>
                  <a:pt x="1366281" y="376672"/>
                </a:lnTo>
                <a:close/>
                <a:moveTo>
                  <a:pt x="1492590" y="364830"/>
                </a:moveTo>
                <a:lnTo>
                  <a:pt x="1455374" y="359192"/>
                </a:lnTo>
                <a:lnTo>
                  <a:pt x="1487516" y="344531"/>
                </a:lnTo>
                <a:lnTo>
                  <a:pt x="1485260" y="310698"/>
                </a:lnTo>
                <a:lnTo>
                  <a:pt x="1474546" y="297729"/>
                </a:lnTo>
                <a:lnTo>
                  <a:pt x="1449171" y="293218"/>
                </a:lnTo>
                <a:lnTo>
                  <a:pt x="1403497" y="314645"/>
                </a:lnTo>
                <a:lnTo>
                  <a:pt x="1372484" y="347350"/>
                </a:lnTo>
                <a:lnTo>
                  <a:pt x="1388837" y="359192"/>
                </a:lnTo>
                <a:lnTo>
                  <a:pt x="1397859" y="377800"/>
                </a:lnTo>
                <a:lnTo>
                  <a:pt x="1362334" y="408813"/>
                </a:lnTo>
                <a:lnTo>
                  <a:pt x="1344290" y="407685"/>
                </a:lnTo>
                <a:lnTo>
                  <a:pt x="1309329" y="432496"/>
                </a:lnTo>
                <a:lnTo>
                  <a:pt x="1333012" y="403174"/>
                </a:lnTo>
                <a:lnTo>
                  <a:pt x="1305946" y="393024"/>
                </a:lnTo>
                <a:lnTo>
                  <a:pt x="1280572" y="398099"/>
                </a:lnTo>
                <a:lnTo>
                  <a:pt x="1267038" y="417271"/>
                </a:lnTo>
                <a:lnTo>
                  <a:pt x="1233770" y="416707"/>
                </a:lnTo>
                <a:lnTo>
                  <a:pt x="1193170" y="421218"/>
                </a:lnTo>
                <a:lnTo>
                  <a:pt x="1164412" y="407685"/>
                </a:lnTo>
                <a:lnTo>
                  <a:pt x="1136218" y="409941"/>
                </a:lnTo>
                <a:lnTo>
                  <a:pt x="1127760" y="393588"/>
                </a:lnTo>
                <a:lnTo>
                  <a:pt x="1115919" y="386258"/>
                </a:lnTo>
                <a:lnTo>
                  <a:pt x="1094491" y="389077"/>
                </a:lnTo>
                <a:lnTo>
                  <a:pt x="1065169" y="390769"/>
                </a:lnTo>
                <a:lnTo>
                  <a:pt x="1040358" y="400919"/>
                </a:lnTo>
                <a:lnTo>
                  <a:pt x="1051636" y="413888"/>
                </a:lnTo>
                <a:lnTo>
                  <a:pt x="1012164" y="429677"/>
                </a:lnTo>
                <a:lnTo>
                  <a:pt x="1004270" y="411069"/>
                </a:lnTo>
                <a:lnTo>
                  <a:pt x="979459" y="416707"/>
                </a:lnTo>
                <a:lnTo>
                  <a:pt x="912922" y="420091"/>
                </a:lnTo>
                <a:lnTo>
                  <a:pt x="876833" y="413324"/>
                </a:lnTo>
                <a:lnTo>
                  <a:pt x="924763" y="398663"/>
                </a:lnTo>
                <a:lnTo>
                  <a:pt x="908974" y="382875"/>
                </a:lnTo>
                <a:lnTo>
                  <a:pt x="884164" y="385130"/>
                </a:lnTo>
                <a:lnTo>
                  <a:pt x="857662" y="379491"/>
                </a:lnTo>
                <a:lnTo>
                  <a:pt x="815371" y="368778"/>
                </a:lnTo>
                <a:lnTo>
                  <a:pt x="793943" y="355808"/>
                </a:lnTo>
                <a:lnTo>
                  <a:pt x="768568" y="354117"/>
                </a:lnTo>
                <a:lnTo>
                  <a:pt x="749960" y="363139"/>
                </a:lnTo>
                <a:lnTo>
                  <a:pt x="716692" y="368214"/>
                </a:lnTo>
                <a:lnTo>
                  <a:pt x="738683" y="345095"/>
                </a:lnTo>
                <a:lnTo>
                  <a:pt x="685678" y="365394"/>
                </a:lnTo>
                <a:lnTo>
                  <a:pt x="677784" y="338892"/>
                </a:lnTo>
                <a:lnTo>
                  <a:pt x="665942" y="335509"/>
                </a:lnTo>
                <a:lnTo>
                  <a:pt x="644515" y="349606"/>
                </a:lnTo>
                <a:lnTo>
                  <a:pt x="619140" y="356372"/>
                </a:lnTo>
                <a:lnTo>
                  <a:pt x="618013" y="343967"/>
                </a:lnTo>
                <a:lnTo>
                  <a:pt x="571774" y="351861"/>
                </a:lnTo>
                <a:lnTo>
                  <a:pt x="522153" y="364830"/>
                </a:lnTo>
                <a:lnTo>
                  <a:pt x="492831" y="361447"/>
                </a:lnTo>
                <a:lnTo>
                  <a:pt x="453360" y="370469"/>
                </a:lnTo>
                <a:lnTo>
                  <a:pt x="418399" y="383438"/>
                </a:lnTo>
                <a:lnTo>
                  <a:pt x="397535" y="380619"/>
                </a:lnTo>
                <a:lnTo>
                  <a:pt x="378927" y="365958"/>
                </a:lnTo>
                <a:lnTo>
                  <a:pt x="345658" y="358628"/>
                </a:lnTo>
                <a:lnTo>
                  <a:pt x="345658" y="358628"/>
                </a:lnTo>
                <a:lnTo>
                  <a:pt x="208636" y="472531"/>
                </a:lnTo>
                <a:lnTo>
                  <a:pt x="9022" y="655229"/>
                </a:lnTo>
                <a:lnTo>
                  <a:pt x="32705" y="655793"/>
                </a:lnTo>
                <a:lnTo>
                  <a:pt x="47930" y="664815"/>
                </a:lnTo>
                <a:lnTo>
                  <a:pt x="51313" y="679475"/>
                </a:lnTo>
                <a:lnTo>
                  <a:pt x="52441" y="701467"/>
                </a:lnTo>
                <a:lnTo>
                  <a:pt x="95296" y="682859"/>
                </a:lnTo>
                <a:lnTo>
                  <a:pt x="131384" y="672145"/>
                </a:lnTo>
                <a:lnTo>
                  <a:pt x="128565" y="689061"/>
                </a:lnTo>
                <a:lnTo>
                  <a:pt x="132512" y="702594"/>
                </a:lnTo>
                <a:lnTo>
                  <a:pt x="142098" y="717819"/>
                </a:lnTo>
                <a:lnTo>
                  <a:pt x="135895" y="741502"/>
                </a:lnTo>
                <a:lnTo>
                  <a:pt x="127437" y="779846"/>
                </a:lnTo>
                <a:lnTo>
                  <a:pt x="153375" y="801273"/>
                </a:lnTo>
                <a:lnTo>
                  <a:pt x="135895" y="822137"/>
                </a:lnTo>
                <a:lnTo>
                  <a:pt x="107137" y="838490"/>
                </a:lnTo>
                <a:lnTo>
                  <a:pt x="107137" y="838490"/>
                </a:lnTo>
                <a:lnTo>
                  <a:pt x="93040" y="855970"/>
                </a:lnTo>
                <a:lnTo>
                  <a:pt x="104882" y="880781"/>
                </a:lnTo>
                <a:lnTo>
                  <a:pt x="87401" y="908411"/>
                </a:lnTo>
                <a:lnTo>
                  <a:pt x="110521" y="923072"/>
                </a:lnTo>
                <a:lnTo>
                  <a:pt x="90221" y="943935"/>
                </a:lnTo>
                <a:lnTo>
                  <a:pt x="82890" y="974949"/>
                </a:lnTo>
                <a:lnTo>
                  <a:pt x="121798" y="989046"/>
                </a:lnTo>
                <a:lnTo>
                  <a:pt x="130820" y="1004270"/>
                </a:lnTo>
                <a:lnTo>
                  <a:pt x="161270" y="1038667"/>
                </a:lnTo>
                <a:lnTo>
                  <a:pt x="165217" y="1038667"/>
                </a:lnTo>
                <a:lnTo>
                  <a:pt x="243596" y="1038667"/>
                </a:lnTo>
                <a:lnTo>
                  <a:pt x="325923" y="1038667"/>
                </a:lnTo>
                <a:lnTo>
                  <a:pt x="352989" y="1038667"/>
                </a:lnTo>
                <a:lnTo>
                  <a:pt x="437571" y="1038667"/>
                </a:lnTo>
                <a:lnTo>
                  <a:pt x="519334" y="1038667"/>
                </a:lnTo>
                <a:lnTo>
                  <a:pt x="602224" y="1038667"/>
                </a:lnTo>
                <a:lnTo>
                  <a:pt x="685678" y="1038667"/>
                </a:lnTo>
                <a:lnTo>
                  <a:pt x="779846" y="1038667"/>
                </a:lnTo>
                <a:lnTo>
                  <a:pt x="874578" y="1038667"/>
                </a:lnTo>
                <a:lnTo>
                  <a:pt x="931530" y="1038667"/>
                </a:lnTo>
                <a:lnTo>
                  <a:pt x="938860" y="1025134"/>
                </a:lnTo>
                <a:lnTo>
                  <a:pt x="947882" y="1025134"/>
                </a:lnTo>
                <a:lnTo>
                  <a:pt x="943371" y="1044306"/>
                </a:lnTo>
                <a:lnTo>
                  <a:pt x="949010" y="1049945"/>
                </a:lnTo>
                <a:lnTo>
                  <a:pt x="967054" y="1052200"/>
                </a:lnTo>
                <a:lnTo>
                  <a:pt x="992993" y="1057839"/>
                </a:lnTo>
                <a:lnTo>
                  <a:pt x="1014420" y="1068553"/>
                </a:lnTo>
                <a:lnTo>
                  <a:pt x="1039231" y="1064042"/>
                </a:lnTo>
                <a:lnTo>
                  <a:pt x="1069117" y="1073064"/>
                </a:lnTo>
                <a:lnTo>
                  <a:pt x="1069117" y="1073064"/>
                </a:lnTo>
                <a:lnTo>
                  <a:pt x="1087161" y="1059531"/>
                </a:lnTo>
                <a:lnTo>
                  <a:pt x="1105205" y="1053892"/>
                </a:lnTo>
                <a:lnTo>
                  <a:pt x="1115355" y="1045434"/>
                </a:lnTo>
                <a:lnTo>
                  <a:pt x="1123813" y="1040922"/>
                </a:lnTo>
                <a:lnTo>
                  <a:pt x="1146368" y="1047689"/>
                </a:lnTo>
                <a:lnTo>
                  <a:pt x="1164976" y="1048817"/>
                </a:lnTo>
                <a:lnTo>
                  <a:pt x="1169487" y="1053328"/>
                </a:lnTo>
                <a:lnTo>
                  <a:pt x="1170051" y="1073064"/>
                </a:lnTo>
                <a:lnTo>
                  <a:pt x="1199373" y="1078703"/>
                </a:lnTo>
                <a:lnTo>
                  <a:pt x="1189787" y="1088288"/>
                </a:lnTo>
                <a:lnTo>
                  <a:pt x="1196553" y="1099002"/>
                </a:lnTo>
                <a:lnTo>
                  <a:pt x="1185840" y="1111971"/>
                </a:lnTo>
                <a:lnTo>
                  <a:pt x="1195990" y="1116482"/>
                </a:lnTo>
                <a:lnTo>
                  <a:pt x="1185276" y="1128324"/>
                </a:lnTo>
                <a:lnTo>
                  <a:pt x="1185276" y="1128324"/>
                </a:lnTo>
                <a:lnTo>
                  <a:pt x="1192042" y="1129452"/>
                </a:lnTo>
                <a:lnTo>
                  <a:pt x="1199373" y="1124377"/>
                </a:lnTo>
                <a:lnTo>
                  <a:pt x="1202192" y="1132271"/>
                </a:lnTo>
                <a:lnTo>
                  <a:pt x="1221364" y="1136218"/>
                </a:lnTo>
                <a:lnTo>
                  <a:pt x="1242792" y="1136782"/>
                </a:lnTo>
                <a:lnTo>
                  <a:pt x="1264219" y="1140165"/>
                </a:lnTo>
                <a:lnTo>
                  <a:pt x="1286774" y="1146932"/>
                </a:lnTo>
                <a:lnTo>
                  <a:pt x="1291285" y="1158210"/>
                </a:lnTo>
                <a:lnTo>
                  <a:pt x="1299180" y="1184712"/>
                </a:lnTo>
                <a:lnTo>
                  <a:pt x="1285646" y="1195990"/>
                </a:lnTo>
                <a:lnTo>
                  <a:pt x="1264219" y="1191479"/>
                </a:lnTo>
                <a:lnTo>
                  <a:pt x="1258580" y="1170051"/>
                </a:lnTo>
                <a:lnTo>
                  <a:pt x="1253505" y="1192042"/>
                </a:lnTo>
                <a:lnTo>
                  <a:pt x="1232078" y="1211214"/>
                </a:lnTo>
                <a:lnTo>
                  <a:pt x="1227567" y="1227567"/>
                </a:lnTo>
                <a:lnTo>
                  <a:pt x="1221364" y="1237153"/>
                </a:lnTo>
                <a:lnTo>
                  <a:pt x="1198245" y="1248430"/>
                </a:lnTo>
                <a:lnTo>
                  <a:pt x="1198245" y="1248430"/>
                </a:lnTo>
                <a:lnTo>
                  <a:pt x="1177382" y="1267602"/>
                </a:lnTo>
                <a:lnTo>
                  <a:pt x="1166104" y="1280008"/>
                </a:lnTo>
                <a:lnTo>
                  <a:pt x="1181328" y="1282263"/>
                </a:lnTo>
                <a:lnTo>
                  <a:pt x="1206703" y="1270986"/>
                </a:lnTo>
                <a:lnTo>
                  <a:pt x="1223056" y="1261400"/>
                </a:lnTo>
                <a:lnTo>
                  <a:pt x="1232078" y="1259708"/>
                </a:lnTo>
                <a:lnTo>
                  <a:pt x="1246739" y="1263091"/>
                </a:lnTo>
                <a:lnTo>
                  <a:pt x="1256325" y="1258016"/>
                </a:lnTo>
                <a:lnTo>
                  <a:pt x="1272113" y="1253505"/>
                </a:lnTo>
                <a:lnTo>
                  <a:pt x="1298616" y="1248994"/>
                </a:lnTo>
                <a:lnTo>
                  <a:pt x="1298616" y="1248994"/>
                </a:lnTo>
                <a:lnTo>
                  <a:pt x="1298616" y="1248994"/>
                </a:lnTo>
                <a:lnTo>
                  <a:pt x="1300307" y="1238844"/>
                </a:lnTo>
                <a:lnTo>
                  <a:pt x="1298616" y="1239408"/>
                </a:lnTo>
                <a:lnTo>
                  <a:pt x="1289030" y="1241100"/>
                </a:lnTo>
                <a:lnTo>
                  <a:pt x="1278880" y="1237717"/>
                </a:lnTo>
                <a:lnTo>
                  <a:pt x="1291849" y="1225875"/>
                </a:lnTo>
                <a:lnTo>
                  <a:pt x="1302563" y="1221928"/>
                </a:lnTo>
                <a:lnTo>
                  <a:pt x="1324554" y="1216853"/>
                </a:lnTo>
                <a:lnTo>
                  <a:pt x="1350492" y="1211778"/>
                </a:lnTo>
                <a:lnTo>
                  <a:pt x="1360643" y="1218545"/>
                </a:lnTo>
                <a:lnTo>
                  <a:pt x="1371356" y="1210650"/>
                </a:lnTo>
                <a:lnTo>
                  <a:pt x="1382070" y="1206139"/>
                </a:lnTo>
                <a:lnTo>
                  <a:pt x="1387145" y="1208395"/>
                </a:lnTo>
                <a:lnTo>
                  <a:pt x="1387709" y="1208959"/>
                </a:lnTo>
                <a:lnTo>
                  <a:pt x="1425489" y="1185276"/>
                </a:lnTo>
                <a:lnTo>
                  <a:pt x="1440713" y="1178509"/>
                </a:lnTo>
                <a:lnTo>
                  <a:pt x="1484132" y="1178509"/>
                </a:lnTo>
                <a:lnTo>
                  <a:pt x="1536573" y="1178509"/>
                </a:lnTo>
                <a:lnTo>
                  <a:pt x="1542212" y="1169487"/>
                </a:lnTo>
                <a:lnTo>
                  <a:pt x="1551798" y="1167796"/>
                </a:lnTo>
                <a:lnTo>
                  <a:pt x="1565895" y="1162721"/>
                </a:lnTo>
                <a:lnTo>
                  <a:pt x="1581120" y="1146932"/>
                </a:lnTo>
                <a:lnTo>
                  <a:pt x="1599164" y="1119302"/>
                </a:lnTo>
                <a:lnTo>
                  <a:pt x="1630177" y="1092800"/>
                </a:lnTo>
                <a:lnTo>
                  <a:pt x="1636380" y="1102385"/>
                </a:lnTo>
                <a:lnTo>
                  <a:pt x="1657243" y="1096183"/>
                </a:lnTo>
                <a:lnTo>
                  <a:pt x="1665702" y="1106333"/>
                </a:lnTo>
                <a:lnTo>
                  <a:pt x="1649913" y="1154262"/>
                </a:lnTo>
                <a:lnTo>
                  <a:pt x="1661754" y="1173998"/>
                </a:lnTo>
                <a:lnTo>
                  <a:pt x="1695023" y="1169487"/>
                </a:lnTo>
                <a:lnTo>
                  <a:pt x="1740698" y="1168359"/>
                </a:lnTo>
                <a:lnTo>
                  <a:pt x="1682054" y="1197117"/>
                </a:lnTo>
                <a:lnTo>
                  <a:pt x="1673596" y="1226439"/>
                </a:lnTo>
                <a:lnTo>
                  <a:pt x="1694459" y="1229258"/>
                </a:lnTo>
                <a:lnTo>
                  <a:pt x="1734495" y="1203884"/>
                </a:lnTo>
                <a:lnTo>
                  <a:pt x="1767200" y="1190351"/>
                </a:lnTo>
                <a:lnTo>
                  <a:pt x="1835993" y="1169487"/>
                </a:lnTo>
                <a:lnTo>
                  <a:pt x="1878284" y="1146368"/>
                </a:lnTo>
                <a:lnTo>
                  <a:pt x="1863623" y="1133963"/>
                </a:lnTo>
                <a:lnTo>
                  <a:pt x="1869262" y="1108588"/>
                </a:lnTo>
                <a:lnTo>
                  <a:pt x="1829227" y="1148060"/>
                </a:lnTo>
                <a:lnTo>
                  <a:pt x="1780733" y="1152571"/>
                </a:lnTo>
                <a:lnTo>
                  <a:pt x="1749720" y="1135091"/>
                </a:lnTo>
                <a:lnTo>
                  <a:pt x="1749156" y="1109152"/>
                </a:lnTo>
                <a:lnTo>
                  <a:pt x="1752539" y="1070808"/>
                </a:lnTo>
                <a:lnTo>
                  <a:pt x="1786936" y="1047689"/>
                </a:lnTo>
                <a:lnTo>
                  <a:pt x="1768328" y="1030209"/>
                </a:lnTo>
                <a:lnTo>
                  <a:pt x="1725473" y="1033592"/>
                </a:lnTo>
                <a:lnTo>
                  <a:pt x="1657243" y="1062914"/>
                </a:lnTo>
                <a:lnTo>
                  <a:pt x="1595780" y="1109152"/>
                </a:lnTo>
                <a:lnTo>
                  <a:pt x="1569842" y="1114791"/>
                </a:lnTo>
                <a:lnTo>
                  <a:pt x="1613825" y="1082650"/>
                </a:lnTo>
                <a:lnTo>
                  <a:pt x="1670777" y="1035848"/>
                </a:lnTo>
                <a:lnTo>
                  <a:pt x="1711376" y="1020623"/>
                </a:lnTo>
                <a:lnTo>
                  <a:pt x="1743517" y="995812"/>
                </a:lnTo>
                <a:lnTo>
                  <a:pt x="1772839" y="992993"/>
                </a:lnTo>
                <a:lnTo>
                  <a:pt x="1814002" y="993557"/>
                </a:lnTo>
                <a:lnTo>
                  <a:pt x="1870390" y="1000887"/>
                </a:lnTo>
                <a:lnTo>
                  <a:pt x="1918884" y="995248"/>
                </a:lnTo>
                <a:lnTo>
                  <a:pt x="1962866" y="966490"/>
                </a:lnTo>
                <a:lnTo>
                  <a:pt x="2011924" y="954085"/>
                </a:lnTo>
                <a:lnTo>
                  <a:pt x="2035607" y="942243"/>
                </a:lnTo>
                <a:lnTo>
                  <a:pt x="2059290" y="929274"/>
                </a:lnTo>
                <a:lnTo>
                  <a:pt x="2070567" y="890930"/>
                </a:lnTo>
                <a:lnTo>
                  <a:pt x="2064365" y="877961"/>
                </a:lnTo>
                <a:lnTo>
                  <a:pt x="2045193" y="873450"/>
                </a:lnTo>
                <a:lnTo>
                  <a:pt x="2045193" y="844692"/>
                </a:lnTo>
                <a:lnTo>
                  <a:pt x="2032224" y="833979"/>
                </a:lnTo>
                <a:lnTo>
                  <a:pt x="1993316" y="824957"/>
                </a:lnTo>
                <a:lnTo>
                  <a:pt x="1977527" y="805785"/>
                </a:lnTo>
                <a:lnTo>
                  <a:pt x="1950461" y="786613"/>
                </a:lnTo>
                <a:lnTo>
                  <a:pt x="1969633" y="765749"/>
                </a:lnTo>
                <a:lnTo>
                  <a:pt x="1958355" y="725714"/>
                </a:lnTo>
                <a:lnTo>
                  <a:pt x="1943694" y="683423"/>
                </a:lnTo>
                <a:lnTo>
                  <a:pt x="1938056" y="654101"/>
                </a:lnTo>
                <a:lnTo>
                  <a:pt x="1913809" y="669326"/>
                </a:lnTo>
                <a:lnTo>
                  <a:pt x="1872081" y="705978"/>
                </a:lnTo>
                <a:lnTo>
                  <a:pt x="1826407" y="724022"/>
                </a:lnTo>
                <a:lnTo>
                  <a:pt x="1817385" y="704850"/>
                </a:lnTo>
                <a:lnTo>
                  <a:pt x="1796522" y="699211"/>
                </a:lnTo>
                <a:lnTo>
                  <a:pt x="1808927" y="658048"/>
                </a:lnTo>
                <a:lnTo>
                  <a:pt x="1823588" y="630418"/>
                </a:lnTo>
                <a:lnTo>
                  <a:pt x="1780169" y="627599"/>
                </a:lnTo>
                <a:lnTo>
                  <a:pt x="1779605" y="615193"/>
                </a:lnTo>
                <a:lnTo>
                  <a:pt x="1759305" y="596585"/>
                </a:lnTo>
                <a:lnTo>
                  <a:pt x="1742389" y="585308"/>
                </a:lnTo>
                <a:lnTo>
                  <a:pt x="1717014" y="593766"/>
                </a:lnTo>
                <a:lnTo>
                  <a:pt x="1693332" y="590946"/>
                </a:lnTo>
                <a:lnTo>
                  <a:pt x="1656116" y="581924"/>
                </a:lnTo>
                <a:lnTo>
                  <a:pt x="1634124" y="589255"/>
                </a:lnTo>
                <a:lnTo>
                  <a:pt x="1612697" y="640004"/>
                </a:lnTo>
                <a:lnTo>
                  <a:pt x="1607058" y="669890"/>
                </a:lnTo>
                <a:lnTo>
                  <a:pt x="1557437" y="704286"/>
                </a:lnTo>
                <a:lnTo>
                  <a:pt x="1574917" y="729661"/>
                </a:lnTo>
                <a:lnTo>
                  <a:pt x="1577736" y="757855"/>
                </a:lnTo>
                <a:lnTo>
                  <a:pt x="1568150" y="780410"/>
                </a:lnTo>
                <a:lnTo>
                  <a:pt x="1541648" y="803529"/>
                </a:lnTo>
                <a:lnTo>
                  <a:pt x="1499357" y="827212"/>
                </a:lnTo>
                <a:lnTo>
                  <a:pt x="1448608" y="843001"/>
                </a:lnTo>
                <a:lnTo>
                  <a:pt x="1458194" y="861045"/>
                </a:lnTo>
                <a:lnTo>
                  <a:pt x="1445788" y="915177"/>
                </a:lnTo>
                <a:lnTo>
                  <a:pt x="1414211" y="950702"/>
                </a:lnTo>
                <a:lnTo>
                  <a:pt x="1388273" y="961415"/>
                </a:lnTo>
                <a:lnTo>
                  <a:pt x="1363462" y="928710"/>
                </a:lnTo>
                <a:lnTo>
                  <a:pt x="1362898" y="890367"/>
                </a:lnTo>
                <a:lnTo>
                  <a:pt x="1372484" y="856534"/>
                </a:lnTo>
                <a:lnTo>
                  <a:pt x="1392783" y="827212"/>
                </a:lnTo>
                <a:lnTo>
                  <a:pt x="1365717" y="823829"/>
                </a:lnTo>
                <a:lnTo>
                  <a:pt x="1323426" y="821573"/>
                </a:lnTo>
                <a:lnTo>
                  <a:pt x="1303127" y="807476"/>
                </a:lnTo>
                <a:lnTo>
                  <a:pt x="1276061" y="798454"/>
                </a:lnTo>
                <a:lnTo>
                  <a:pt x="1266475" y="782102"/>
                </a:lnTo>
                <a:lnTo>
                  <a:pt x="1247867" y="769696"/>
                </a:lnTo>
                <a:lnTo>
                  <a:pt x="1208395" y="755035"/>
                </a:lnTo>
                <a:lnTo>
                  <a:pt x="1168359" y="761802"/>
                </a:lnTo>
                <a:lnTo>
                  <a:pt x="1172307" y="736427"/>
                </a:lnTo>
                <a:lnTo>
                  <a:pt x="1180765" y="705414"/>
                </a:lnTo>
                <a:lnTo>
                  <a:pt x="1146932" y="699775"/>
                </a:lnTo>
                <a:lnTo>
                  <a:pt x="1174562" y="661431"/>
                </a:lnTo>
                <a:lnTo>
                  <a:pt x="1202192" y="635493"/>
                </a:lnTo>
                <a:lnTo>
                  <a:pt x="1255197" y="598841"/>
                </a:lnTo>
                <a:lnTo>
                  <a:pt x="1303691" y="572902"/>
                </a:lnTo>
                <a:lnTo>
                  <a:pt x="1335268" y="568955"/>
                </a:lnTo>
                <a:lnTo>
                  <a:pt x="1351620" y="548091"/>
                </a:lnTo>
                <a:lnTo>
                  <a:pt x="1380378" y="534558"/>
                </a:lnTo>
                <a:lnTo>
                  <a:pt x="1416467" y="532303"/>
                </a:lnTo>
                <a:lnTo>
                  <a:pt x="1459885" y="510875"/>
                </a:lnTo>
                <a:lnTo>
                  <a:pt x="1476238" y="497342"/>
                </a:lnTo>
                <a:lnTo>
                  <a:pt x="1517965" y="470840"/>
                </a:lnTo>
                <a:lnTo>
                  <a:pt x="1536009" y="455051"/>
                </a:lnTo>
                <a:lnTo>
                  <a:pt x="1554053" y="464637"/>
                </a:lnTo>
                <a:lnTo>
                  <a:pt x="1590706" y="459562"/>
                </a:lnTo>
                <a:lnTo>
                  <a:pt x="1651605" y="438135"/>
                </a:lnTo>
                <a:lnTo>
                  <a:pt x="1664574" y="422910"/>
                </a:lnTo>
                <a:lnTo>
                  <a:pt x="1660063" y="406557"/>
                </a:lnTo>
                <a:lnTo>
                  <a:pt x="1688257" y="390205"/>
                </a:lnTo>
                <a:lnTo>
                  <a:pt x="1697843" y="374980"/>
                </a:lnTo>
                <a:lnTo>
                  <a:pt x="1678107" y="360319"/>
                </a:lnTo>
                <a:lnTo>
                  <a:pt x="1647657" y="355808"/>
                </a:lnTo>
                <a:lnTo>
                  <a:pt x="1616644" y="353553"/>
                </a:lnTo>
                <a:lnTo>
                  <a:pt x="1590706" y="386822"/>
                </a:lnTo>
                <a:lnTo>
                  <a:pt x="1554053" y="412760"/>
                </a:lnTo>
                <a:lnTo>
                  <a:pt x="1513454" y="435315"/>
                </a:lnTo>
                <a:lnTo>
                  <a:pt x="1506124" y="414452"/>
                </a:lnTo>
                <a:lnTo>
                  <a:pt x="1529807" y="391897"/>
                </a:lnTo>
                <a:lnTo>
                  <a:pt x="1517401" y="372161"/>
                </a:lnTo>
                <a:lnTo>
                  <a:pt x="1468344" y="395844"/>
                </a:lnTo>
                <a:lnTo>
                  <a:pt x="1492590" y="364830"/>
                </a:lnTo>
                <a:close/>
                <a:moveTo>
                  <a:pt x="1066861" y="258257"/>
                </a:moveTo>
                <a:lnTo>
                  <a:pt x="1051072" y="252618"/>
                </a:lnTo>
                <a:lnTo>
                  <a:pt x="971565" y="270662"/>
                </a:lnTo>
                <a:lnTo>
                  <a:pt x="942807" y="281940"/>
                </a:lnTo>
                <a:lnTo>
                  <a:pt x="898825" y="303931"/>
                </a:lnTo>
                <a:lnTo>
                  <a:pt x="929274" y="311826"/>
                </a:lnTo>
                <a:lnTo>
                  <a:pt x="964235" y="311262"/>
                </a:lnTo>
                <a:lnTo>
                  <a:pt x="899389" y="323103"/>
                </a:lnTo>
                <a:lnTo>
                  <a:pt x="899389" y="333817"/>
                </a:lnTo>
                <a:lnTo>
                  <a:pt x="930966" y="334381"/>
                </a:lnTo>
                <a:lnTo>
                  <a:pt x="981715" y="332125"/>
                </a:lnTo>
                <a:lnTo>
                  <a:pt x="1018367" y="338892"/>
                </a:lnTo>
                <a:lnTo>
                  <a:pt x="983407" y="344531"/>
                </a:lnTo>
                <a:lnTo>
                  <a:pt x="952393" y="342839"/>
                </a:lnTo>
                <a:lnTo>
                  <a:pt x="912358" y="347914"/>
                </a:lnTo>
                <a:lnTo>
                  <a:pt x="893750" y="351297"/>
                </a:lnTo>
                <a:lnTo>
                  <a:pt x="897133" y="374980"/>
                </a:lnTo>
                <a:lnTo>
                  <a:pt x="920816" y="371597"/>
                </a:lnTo>
                <a:lnTo>
                  <a:pt x="943935" y="380055"/>
                </a:lnTo>
                <a:lnTo>
                  <a:pt x="942244" y="394152"/>
                </a:lnTo>
                <a:lnTo>
                  <a:pt x="986226" y="391333"/>
                </a:lnTo>
                <a:lnTo>
                  <a:pt x="1049381" y="386822"/>
                </a:lnTo>
                <a:lnTo>
                  <a:pt x="1102385" y="376672"/>
                </a:lnTo>
                <a:lnTo>
                  <a:pt x="1130579" y="374416"/>
                </a:lnTo>
                <a:lnTo>
                  <a:pt x="1162721" y="382875"/>
                </a:lnTo>
                <a:lnTo>
                  <a:pt x="1200501" y="387386"/>
                </a:lnTo>
                <a:lnTo>
                  <a:pt x="1217981" y="376672"/>
                </a:lnTo>
                <a:lnTo>
                  <a:pt x="1214034" y="364830"/>
                </a:lnTo>
                <a:lnTo>
                  <a:pt x="1253505" y="362575"/>
                </a:lnTo>
                <a:lnTo>
                  <a:pt x="1268166" y="349042"/>
                </a:lnTo>
                <a:lnTo>
                  <a:pt x="1239972" y="334945"/>
                </a:lnTo>
                <a:lnTo>
                  <a:pt x="1216289" y="320284"/>
                </a:lnTo>
                <a:lnTo>
                  <a:pt x="1229822" y="299984"/>
                </a:lnTo>
                <a:lnTo>
                  <a:pt x="1245047" y="271226"/>
                </a:lnTo>
                <a:lnTo>
                  <a:pt x="1232642" y="259949"/>
                </a:lnTo>
                <a:lnTo>
                  <a:pt x="1215725" y="254874"/>
                </a:lnTo>
                <a:lnTo>
                  <a:pt x="1192042" y="259385"/>
                </a:lnTo>
                <a:lnTo>
                  <a:pt x="1176254" y="289270"/>
                </a:lnTo>
                <a:lnTo>
                  <a:pt x="1152007" y="301112"/>
                </a:lnTo>
                <a:lnTo>
                  <a:pt x="1164412" y="272354"/>
                </a:lnTo>
                <a:lnTo>
                  <a:pt x="1154826" y="262768"/>
                </a:lnTo>
                <a:lnTo>
                  <a:pt x="1113663" y="277993"/>
                </a:lnTo>
                <a:lnTo>
                  <a:pt x="1099002" y="263332"/>
                </a:lnTo>
                <a:lnTo>
                  <a:pt x="1040358" y="271790"/>
                </a:lnTo>
                <a:lnTo>
                  <a:pt x="1066861" y="258257"/>
                </a:lnTo>
                <a:close/>
                <a:moveTo>
                  <a:pt x="1287338" y="249799"/>
                </a:moveTo>
                <a:lnTo>
                  <a:pt x="1277752" y="243596"/>
                </a:lnTo>
                <a:lnTo>
                  <a:pt x="1247303" y="244724"/>
                </a:lnTo>
                <a:lnTo>
                  <a:pt x="1235461" y="248671"/>
                </a:lnTo>
                <a:lnTo>
                  <a:pt x="1247867" y="268971"/>
                </a:lnTo>
                <a:lnTo>
                  <a:pt x="1287338" y="249799"/>
                </a:lnTo>
                <a:close/>
                <a:moveTo>
                  <a:pt x="1894637" y="258821"/>
                </a:moveTo>
                <a:lnTo>
                  <a:pt x="1869826" y="243032"/>
                </a:lnTo>
                <a:lnTo>
                  <a:pt x="1822460" y="240213"/>
                </a:lnTo>
                <a:lnTo>
                  <a:pt x="1810619" y="241905"/>
                </a:lnTo>
                <a:lnTo>
                  <a:pt x="1801033" y="252054"/>
                </a:lnTo>
                <a:lnTo>
                  <a:pt x="1812310" y="267843"/>
                </a:lnTo>
                <a:lnTo>
                  <a:pt x="1817385" y="269535"/>
                </a:lnTo>
                <a:lnTo>
                  <a:pt x="1844452" y="265587"/>
                </a:lnTo>
                <a:lnTo>
                  <a:pt x="1867571" y="266151"/>
                </a:lnTo>
                <a:lnTo>
                  <a:pt x="1890690" y="266715"/>
                </a:lnTo>
                <a:lnTo>
                  <a:pt x="1894637" y="258821"/>
                </a:lnTo>
                <a:close/>
                <a:moveTo>
                  <a:pt x="1672468" y="257129"/>
                </a:moveTo>
                <a:lnTo>
                  <a:pt x="1704609" y="239085"/>
                </a:lnTo>
                <a:lnTo>
                  <a:pt x="1641455" y="246416"/>
                </a:lnTo>
                <a:lnTo>
                  <a:pt x="1608750" y="258257"/>
                </a:lnTo>
                <a:lnTo>
                  <a:pt x="1568714" y="284196"/>
                </a:lnTo>
                <a:lnTo>
                  <a:pt x="1550106" y="313517"/>
                </a:lnTo>
                <a:lnTo>
                  <a:pt x="1581683" y="314081"/>
                </a:lnTo>
                <a:lnTo>
                  <a:pt x="1547287" y="327050"/>
                </a:lnTo>
                <a:lnTo>
                  <a:pt x="1557437" y="337764"/>
                </a:lnTo>
                <a:lnTo>
                  <a:pt x="1590706" y="342275"/>
                </a:lnTo>
                <a:lnTo>
                  <a:pt x="1631869" y="350733"/>
                </a:lnTo>
                <a:lnTo>
                  <a:pt x="1709684" y="357500"/>
                </a:lnTo>
                <a:lnTo>
                  <a:pt x="1754231" y="354117"/>
                </a:lnTo>
                <a:lnTo>
                  <a:pt x="1772275" y="345095"/>
                </a:lnTo>
                <a:lnTo>
                  <a:pt x="1783553" y="355244"/>
                </a:lnTo>
                <a:lnTo>
                  <a:pt x="1802161" y="356936"/>
                </a:lnTo>
                <a:lnTo>
                  <a:pt x="1813438" y="375544"/>
                </a:lnTo>
                <a:lnTo>
                  <a:pt x="1793702" y="383438"/>
                </a:lnTo>
                <a:lnTo>
                  <a:pt x="1833738" y="393588"/>
                </a:lnTo>
                <a:lnTo>
                  <a:pt x="1859676" y="408249"/>
                </a:lnTo>
                <a:lnTo>
                  <a:pt x="1862496" y="418963"/>
                </a:lnTo>
                <a:lnTo>
                  <a:pt x="1860240" y="432496"/>
                </a:lnTo>
                <a:lnTo>
                  <a:pt x="1811747" y="462945"/>
                </a:lnTo>
                <a:lnTo>
                  <a:pt x="1793702" y="478170"/>
                </a:lnTo>
                <a:lnTo>
                  <a:pt x="1794830" y="489448"/>
                </a:lnTo>
                <a:lnTo>
                  <a:pt x="1742953" y="493395"/>
                </a:lnTo>
                <a:lnTo>
                  <a:pt x="1697843" y="493959"/>
                </a:lnTo>
                <a:lnTo>
                  <a:pt x="1667393" y="517642"/>
                </a:lnTo>
                <a:lnTo>
                  <a:pt x="1680926" y="528356"/>
                </a:lnTo>
                <a:lnTo>
                  <a:pt x="1754231" y="523281"/>
                </a:lnTo>
                <a:lnTo>
                  <a:pt x="1759305" y="514259"/>
                </a:lnTo>
                <a:lnTo>
                  <a:pt x="1785808" y="529483"/>
                </a:lnTo>
                <a:lnTo>
                  <a:pt x="1812310" y="545836"/>
                </a:lnTo>
                <a:lnTo>
                  <a:pt x="1798777" y="554858"/>
                </a:lnTo>
                <a:lnTo>
                  <a:pt x="1820205" y="570647"/>
                </a:lnTo>
                <a:lnTo>
                  <a:pt x="1863060" y="589255"/>
                </a:lnTo>
                <a:lnTo>
                  <a:pt x="1923395" y="602224"/>
                </a:lnTo>
                <a:lnTo>
                  <a:pt x="1925086" y="590946"/>
                </a:lnTo>
                <a:lnTo>
                  <a:pt x="1909298" y="571211"/>
                </a:lnTo>
                <a:lnTo>
                  <a:pt x="1889562" y="543580"/>
                </a:lnTo>
                <a:lnTo>
                  <a:pt x="1937492" y="569519"/>
                </a:lnTo>
                <a:lnTo>
                  <a:pt x="1963994" y="577977"/>
                </a:lnTo>
                <a:lnTo>
                  <a:pt x="1984294" y="554858"/>
                </a:lnTo>
                <a:lnTo>
                  <a:pt x="1984294" y="523281"/>
                </a:lnTo>
                <a:lnTo>
                  <a:pt x="1978655" y="514822"/>
                </a:lnTo>
                <a:lnTo>
                  <a:pt x="1953844" y="500725"/>
                </a:lnTo>
                <a:lnTo>
                  <a:pt x="1938620" y="482117"/>
                </a:lnTo>
                <a:lnTo>
                  <a:pt x="1951589" y="464073"/>
                </a:lnTo>
                <a:lnTo>
                  <a:pt x="1984294" y="460126"/>
                </a:lnTo>
                <a:lnTo>
                  <a:pt x="2005721" y="490576"/>
                </a:lnTo>
                <a:lnTo>
                  <a:pt x="2028276" y="504109"/>
                </a:lnTo>
                <a:lnTo>
                  <a:pt x="2088612" y="467457"/>
                </a:lnTo>
                <a:lnTo>
                  <a:pt x="2107220" y="445465"/>
                </a:lnTo>
                <a:lnTo>
                  <a:pt x="2071131" y="443774"/>
                </a:lnTo>
                <a:lnTo>
                  <a:pt x="2053087" y="415016"/>
                </a:lnTo>
                <a:lnTo>
                  <a:pt x="2019818" y="408249"/>
                </a:lnTo>
                <a:lnTo>
                  <a:pt x="1976399" y="388513"/>
                </a:lnTo>
                <a:lnTo>
                  <a:pt x="2027148" y="374416"/>
                </a:lnTo>
                <a:lnTo>
                  <a:pt x="2022638" y="346222"/>
                </a:lnTo>
                <a:lnTo>
                  <a:pt x="2010232" y="334381"/>
                </a:lnTo>
                <a:lnTo>
                  <a:pt x="1963430" y="322539"/>
                </a:lnTo>
                <a:lnTo>
                  <a:pt x="1952717" y="303931"/>
                </a:lnTo>
                <a:lnTo>
                  <a:pt x="1906478" y="310698"/>
                </a:lnTo>
                <a:lnTo>
                  <a:pt x="1912681" y="297729"/>
                </a:lnTo>
                <a:lnTo>
                  <a:pt x="1892381" y="283632"/>
                </a:lnTo>
                <a:lnTo>
                  <a:pt x="1854038" y="268971"/>
                </a:lnTo>
                <a:lnTo>
                  <a:pt x="1824716" y="280812"/>
                </a:lnTo>
                <a:lnTo>
                  <a:pt x="1773967" y="289270"/>
                </a:lnTo>
                <a:lnTo>
                  <a:pt x="1792575" y="270099"/>
                </a:lnTo>
                <a:lnTo>
                  <a:pt x="1779605" y="240213"/>
                </a:lnTo>
                <a:lnTo>
                  <a:pt x="1714195" y="252054"/>
                </a:lnTo>
                <a:lnTo>
                  <a:pt x="1674160" y="275173"/>
                </a:lnTo>
                <a:lnTo>
                  <a:pt x="1672468" y="257129"/>
                </a:lnTo>
                <a:close/>
                <a:moveTo>
                  <a:pt x="1390528" y="237957"/>
                </a:moveTo>
                <a:lnTo>
                  <a:pt x="1350492" y="251490"/>
                </a:lnTo>
                <a:lnTo>
                  <a:pt x="1355568" y="270662"/>
                </a:lnTo>
                <a:lnTo>
                  <a:pt x="1313840" y="266715"/>
                </a:lnTo>
                <a:lnTo>
                  <a:pt x="1304255" y="276301"/>
                </a:lnTo>
                <a:lnTo>
                  <a:pt x="1336960" y="298293"/>
                </a:lnTo>
                <a:lnTo>
                  <a:pt x="1342034" y="309570"/>
                </a:lnTo>
                <a:lnTo>
                  <a:pt x="1361206" y="312390"/>
                </a:lnTo>
                <a:lnTo>
                  <a:pt x="1408572" y="301112"/>
                </a:lnTo>
                <a:lnTo>
                  <a:pt x="1437330" y="274610"/>
                </a:lnTo>
                <a:lnTo>
                  <a:pt x="1415903" y="262204"/>
                </a:lnTo>
                <a:lnTo>
                  <a:pt x="1449736" y="248671"/>
                </a:lnTo>
                <a:lnTo>
                  <a:pt x="1452555" y="240213"/>
                </a:lnTo>
                <a:lnTo>
                  <a:pt x="1410264" y="243596"/>
                </a:lnTo>
                <a:lnTo>
                  <a:pt x="1390528" y="237957"/>
                </a:lnTo>
                <a:close/>
                <a:moveTo>
                  <a:pt x="1516273" y="268407"/>
                </a:moveTo>
                <a:lnTo>
                  <a:pt x="1547850" y="262768"/>
                </a:lnTo>
                <a:lnTo>
                  <a:pt x="1604238" y="237393"/>
                </a:lnTo>
                <a:lnTo>
                  <a:pt x="1569842" y="230627"/>
                </a:lnTo>
                <a:lnTo>
                  <a:pt x="1525859" y="229499"/>
                </a:lnTo>
                <a:lnTo>
                  <a:pt x="1496538" y="237393"/>
                </a:lnTo>
                <a:lnTo>
                  <a:pt x="1472855" y="249235"/>
                </a:lnTo>
                <a:lnTo>
                  <a:pt x="1458758" y="263896"/>
                </a:lnTo>
                <a:lnTo>
                  <a:pt x="1448608" y="289270"/>
                </a:lnTo>
                <a:lnTo>
                  <a:pt x="1472855" y="290398"/>
                </a:lnTo>
                <a:lnTo>
                  <a:pt x="1516273" y="268407"/>
                </a:lnTo>
                <a:close/>
                <a:moveTo>
                  <a:pt x="869503" y="309006"/>
                </a:moveTo>
                <a:lnTo>
                  <a:pt x="884164" y="296037"/>
                </a:lnTo>
                <a:lnTo>
                  <a:pt x="935477" y="275737"/>
                </a:lnTo>
                <a:lnTo>
                  <a:pt x="1013292" y="255438"/>
                </a:lnTo>
                <a:lnTo>
                  <a:pt x="1049381" y="248107"/>
                </a:lnTo>
                <a:lnTo>
                  <a:pt x="1040358" y="236266"/>
                </a:lnTo>
                <a:lnTo>
                  <a:pt x="1029645" y="227808"/>
                </a:lnTo>
                <a:lnTo>
                  <a:pt x="976640" y="226680"/>
                </a:lnTo>
                <a:lnTo>
                  <a:pt x="953521" y="220477"/>
                </a:lnTo>
                <a:lnTo>
                  <a:pt x="874578" y="224988"/>
                </a:lnTo>
                <a:lnTo>
                  <a:pt x="872886" y="242468"/>
                </a:lnTo>
                <a:lnTo>
                  <a:pt x="830031" y="261076"/>
                </a:lnTo>
                <a:lnTo>
                  <a:pt x="788304" y="282504"/>
                </a:lnTo>
                <a:lnTo>
                  <a:pt x="764057" y="294909"/>
                </a:lnTo>
                <a:lnTo>
                  <a:pt x="797326" y="310134"/>
                </a:lnTo>
                <a:lnTo>
                  <a:pt x="793943" y="323103"/>
                </a:lnTo>
                <a:lnTo>
                  <a:pt x="869503" y="309006"/>
                </a:lnTo>
                <a:close/>
                <a:moveTo>
                  <a:pt x="1569278" y="205816"/>
                </a:moveTo>
                <a:lnTo>
                  <a:pt x="1570970" y="196794"/>
                </a:lnTo>
                <a:lnTo>
                  <a:pt x="1563075" y="187208"/>
                </a:lnTo>
                <a:lnTo>
                  <a:pt x="1524168" y="194539"/>
                </a:lnTo>
                <a:lnTo>
                  <a:pt x="1499357" y="206944"/>
                </a:lnTo>
                <a:lnTo>
                  <a:pt x="1517401" y="214274"/>
                </a:lnTo>
                <a:lnTo>
                  <a:pt x="1546159" y="216530"/>
                </a:lnTo>
                <a:lnTo>
                  <a:pt x="1569278" y="205816"/>
                </a:lnTo>
                <a:close/>
                <a:moveTo>
                  <a:pt x="1520221" y="157322"/>
                </a:moveTo>
                <a:lnTo>
                  <a:pt x="1514018" y="161270"/>
                </a:lnTo>
                <a:lnTo>
                  <a:pt x="1486952" y="159578"/>
                </a:lnTo>
                <a:lnTo>
                  <a:pt x="1444097" y="168600"/>
                </a:lnTo>
                <a:lnTo>
                  <a:pt x="1422669" y="168036"/>
                </a:lnTo>
                <a:lnTo>
                  <a:pt x="1398422" y="189464"/>
                </a:lnTo>
                <a:lnTo>
                  <a:pt x="1435639" y="187208"/>
                </a:lnTo>
                <a:lnTo>
                  <a:pt x="1416467" y="203561"/>
                </a:lnTo>
                <a:lnTo>
                  <a:pt x="1434511" y="208072"/>
                </a:lnTo>
                <a:lnTo>
                  <a:pt x="1472855" y="205252"/>
                </a:lnTo>
                <a:lnTo>
                  <a:pt x="1505559" y="184389"/>
                </a:lnTo>
                <a:lnTo>
                  <a:pt x="1521348" y="170292"/>
                </a:lnTo>
                <a:lnTo>
                  <a:pt x="1520221" y="157322"/>
                </a:lnTo>
                <a:close/>
                <a:moveTo>
                  <a:pt x="1299743" y="171419"/>
                </a:moveTo>
                <a:lnTo>
                  <a:pt x="1309893" y="158450"/>
                </a:lnTo>
                <a:lnTo>
                  <a:pt x="1292413" y="155631"/>
                </a:lnTo>
                <a:lnTo>
                  <a:pt x="1260272" y="165217"/>
                </a:lnTo>
                <a:lnTo>
                  <a:pt x="1256325" y="191719"/>
                </a:lnTo>
                <a:lnTo>
                  <a:pt x="1221928" y="189464"/>
                </a:lnTo>
                <a:lnTo>
                  <a:pt x="1206139" y="173111"/>
                </a:lnTo>
                <a:lnTo>
                  <a:pt x="1159901" y="164089"/>
                </a:lnTo>
                <a:lnTo>
                  <a:pt x="1129452" y="171983"/>
                </a:lnTo>
                <a:lnTo>
                  <a:pt x="1064042" y="199050"/>
                </a:lnTo>
                <a:lnTo>
                  <a:pt x="1087161" y="203561"/>
                </a:lnTo>
                <a:lnTo>
                  <a:pt x="1187531" y="200741"/>
                </a:lnTo>
                <a:lnTo>
                  <a:pt x="1127760" y="213147"/>
                </a:lnTo>
                <a:lnTo>
                  <a:pt x="1119302" y="222169"/>
                </a:lnTo>
                <a:lnTo>
                  <a:pt x="1152571" y="221605"/>
                </a:lnTo>
                <a:lnTo>
                  <a:pt x="1221364" y="209199"/>
                </a:lnTo>
                <a:lnTo>
                  <a:pt x="1299180" y="204688"/>
                </a:lnTo>
                <a:lnTo>
                  <a:pt x="1327937" y="191719"/>
                </a:lnTo>
                <a:lnTo>
                  <a:pt x="1340907" y="178186"/>
                </a:lnTo>
                <a:lnTo>
                  <a:pt x="1320043" y="177058"/>
                </a:lnTo>
                <a:lnTo>
                  <a:pt x="1295796" y="181569"/>
                </a:lnTo>
                <a:lnTo>
                  <a:pt x="1299743" y="171419"/>
                </a:lnTo>
                <a:close/>
                <a:moveTo>
                  <a:pt x="1611005" y="147173"/>
                </a:moveTo>
                <a:lnTo>
                  <a:pt x="1570970" y="145481"/>
                </a:lnTo>
                <a:lnTo>
                  <a:pt x="1549542" y="156759"/>
                </a:lnTo>
                <a:lnTo>
                  <a:pt x="1564203" y="165217"/>
                </a:lnTo>
                <a:lnTo>
                  <a:pt x="1603675" y="168600"/>
                </a:lnTo>
                <a:lnTo>
                  <a:pt x="1611569" y="180442"/>
                </a:lnTo>
                <a:lnTo>
                  <a:pt x="1599164" y="193975"/>
                </a:lnTo>
                <a:lnTo>
                  <a:pt x="1590706" y="209763"/>
                </a:lnTo>
                <a:lnTo>
                  <a:pt x="1638635" y="218785"/>
                </a:lnTo>
                <a:lnTo>
                  <a:pt x="1669649" y="222169"/>
                </a:lnTo>
                <a:lnTo>
                  <a:pt x="1714759" y="221605"/>
                </a:lnTo>
                <a:lnTo>
                  <a:pt x="1780169" y="217094"/>
                </a:lnTo>
                <a:lnTo>
                  <a:pt x="1804416" y="220477"/>
                </a:lnTo>
                <a:lnTo>
                  <a:pt x="1842196" y="214838"/>
                </a:lnTo>
                <a:lnTo>
                  <a:pt x="1861932" y="206944"/>
                </a:lnTo>
                <a:lnTo>
                  <a:pt x="1867571" y="195666"/>
                </a:lnTo>
                <a:lnTo>
                  <a:pt x="1854601" y="184953"/>
                </a:lnTo>
                <a:lnTo>
                  <a:pt x="1821896" y="183261"/>
                </a:lnTo>
                <a:lnTo>
                  <a:pt x="1776786" y="185516"/>
                </a:lnTo>
                <a:lnTo>
                  <a:pt x="1737314" y="191719"/>
                </a:lnTo>
                <a:lnTo>
                  <a:pt x="1708556" y="189464"/>
                </a:lnTo>
                <a:lnTo>
                  <a:pt x="1681490" y="187772"/>
                </a:lnTo>
                <a:lnTo>
                  <a:pt x="1674723" y="181569"/>
                </a:lnTo>
                <a:lnTo>
                  <a:pt x="1657243" y="175367"/>
                </a:lnTo>
                <a:lnTo>
                  <a:pt x="1673032" y="164653"/>
                </a:lnTo>
                <a:lnTo>
                  <a:pt x="1665138" y="155631"/>
                </a:lnTo>
                <a:lnTo>
                  <a:pt x="1623974" y="156195"/>
                </a:lnTo>
                <a:lnTo>
                  <a:pt x="1611005" y="147173"/>
                </a:lnTo>
                <a:close/>
                <a:moveTo>
                  <a:pt x="1188095" y="132512"/>
                </a:moveTo>
                <a:lnTo>
                  <a:pt x="1154262" y="136459"/>
                </a:lnTo>
                <a:lnTo>
                  <a:pt x="1123249" y="135895"/>
                </a:lnTo>
                <a:lnTo>
                  <a:pt x="1055020" y="153375"/>
                </a:lnTo>
                <a:lnTo>
                  <a:pt x="989609" y="174239"/>
                </a:lnTo>
                <a:lnTo>
                  <a:pt x="989609" y="174239"/>
                </a:lnTo>
                <a:lnTo>
                  <a:pt x="1009909" y="179878"/>
                </a:lnTo>
                <a:lnTo>
                  <a:pt x="1049381" y="175931"/>
                </a:lnTo>
                <a:lnTo>
                  <a:pt x="1104641" y="164089"/>
                </a:lnTo>
                <a:lnTo>
                  <a:pt x="1126068" y="162397"/>
                </a:lnTo>
                <a:lnTo>
                  <a:pt x="1155390" y="153375"/>
                </a:lnTo>
                <a:lnTo>
                  <a:pt x="1188095" y="132512"/>
                </a:lnTo>
                <a:close/>
                <a:moveTo>
                  <a:pt x="1642019" y="135895"/>
                </a:moveTo>
                <a:lnTo>
                  <a:pt x="1647657" y="133076"/>
                </a:lnTo>
                <a:lnTo>
                  <a:pt x="1639199" y="128001"/>
                </a:lnTo>
                <a:lnTo>
                  <a:pt x="1598600" y="127437"/>
                </a:lnTo>
                <a:lnTo>
                  <a:pt x="1595217" y="134767"/>
                </a:lnTo>
                <a:lnTo>
                  <a:pt x="1631305" y="136459"/>
                </a:lnTo>
                <a:lnTo>
                  <a:pt x="1642019" y="135895"/>
                </a:lnTo>
                <a:close/>
                <a:moveTo>
                  <a:pt x="1312713" y="131384"/>
                </a:moveTo>
                <a:lnTo>
                  <a:pt x="1330757" y="123490"/>
                </a:lnTo>
                <a:lnTo>
                  <a:pt x="1307638" y="118979"/>
                </a:lnTo>
                <a:lnTo>
                  <a:pt x="1274369" y="121798"/>
                </a:lnTo>
                <a:lnTo>
                  <a:pt x="1245611" y="130256"/>
                </a:lnTo>
                <a:lnTo>
                  <a:pt x="1264219" y="138714"/>
                </a:lnTo>
                <a:lnTo>
                  <a:pt x="1312713" y="131384"/>
                </a:lnTo>
                <a:close/>
                <a:moveTo>
                  <a:pt x="1356695" y="107701"/>
                </a:moveTo>
                <a:lnTo>
                  <a:pt x="1338087" y="102626"/>
                </a:lnTo>
                <a:lnTo>
                  <a:pt x="1329065" y="101498"/>
                </a:lnTo>
                <a:lnTo>
                  <a:pt x="1296924" y="108829"/>
                </a:lnTo>
                <a:lnTo>
                  <a:pt x="1291285" y="112776"/>
                </a:lnTo>
                <a:lnTo>
                  <a:pt x="1325118" y="112776"/>
                </a:lnTo>
                <a:lnTo>
                  <a:pt x="1356695" y="107701"/>
                </a:lnTo>
                <a:close/>
                <a:moveTo>
                  <a:pt x="1618335" y="121798"/>
                </a:moveTo>
                <a:lnTo>
                  <a:pt x="1635252" y="112212"/>
                </a:lnTo>
                <a:lnTo>
                  <a:pt x="1622283" y="103190"/>
                </a:lnTo>
                <a:lnTo>
                  <a:pt x="1612697" y="101498"/>
                </a:lnTo>
                <a:lnTo>
                  <a:pt x="1587886" y="100934"/>
                </a:lnTo>
                <a:lnTo>
                  <a:pt x="1576044" y="111084"/>
                </a:lnTo>
                <a:lnTo>
                  <a:pt x="1572098" y="121234"/>
                </a:lnTo>
                <a:lnTo>
                  <a:pt x="1581120" y="127437"/>
                </a:lnTo>
                <a:lnTo>
                  <a:pt x="1618335" y="121798"/>
                </a:lnTo>
                <a:close/>
                <a:moveTo>
                  <a:pt x="1541084" y="115031"/>
                </a:moveTo>
                <a:lnTo>
                  <a:pt x="1541648" y="102626"/>
                </a:lnTo>
                <a:lnTo>
                  <a:pt x="1499921" y="93040"/>
                </a:lnTo>
                <a:lnTo>
                  <a:pt x="1465524" y="89657"/>
                </a:lnTo>
                <a:lnTo>
                  <a:pt x="1453683" y="99243"/>
                </a:lnTo>
                <a:lnTo>
                  <a:pt x="1469471" y="105446"/>
                </a:lnTo>
                <a:lnTo>
                  <a:pt x="1439586" y="113340"/>
                </a:lnTo>
                <a:lnTo>
                  <a:pt x="1483004" y="114468"/>
                </a:lnTo>
                <a:lnTo>
                  <a:pt x="1505559" y="122926"/>
                </a:lnTo>
                <a:lnTo>
                  <a:pt x="1534881" y="125745"/>
                </a:lnTo>
                <a:lnTo>
                  <a:pt x="1541084" y="115031"/>
                </a:lnTo>
                <a:close/>
                <a:moveTo>
                  <a:pt x="1843887" y="80635"/>
                </a:moveTo>
                <a:lnTo>
                  <a:pt x="1847271" y="64846"/>
                </a:lnTo>
                <a:lnTo>
                  <a:pt x="1820769" y="60335"/>
                </a:lnTo>
                <a:lnTo>
                  <a:pt x="1794266" y="55260"/>
                </a:lnTo>
                <a:lnTo>
                  <a:pt x="1785244" y="42855"/>
                </a:lnTo>
                <a:lnTo>
                  <a:pt x="1739006" y="43983"/>
                </a:lnTo>
                <a:lnTo>
                  <a:pt x="1740698" y="49058"/>
                </a:lnTo>
                <a:lnTo>
                  <a:pt x="1718706" y="50749"/>
                </a:lnTo>
                <a:lnTo>
                  <a:pt x="1695587" y="58080"/>
                </a:lnTo>
                <a:lnTo>
                  <a:pt x="1667957" y="68793"/>
                </a:lnTo>
                <a:lnTo>
                  <a:pt x="1666265" y="79507"/>
                </a:lnTo>
                <a:lnTo>
                  <a:pt x="1677543" y="87965"/>
                </a:lnTo>
                <a:lnTo>
                  <a:pt x="1714195" y="87965"/>
                </a:lnTo>
                <a:lnTo>
                  <a:pt x="1689948" y="94732"/>
                </a:lnTo>
                <a:lnTo>
                  <a:pt x="1678107" y="103754"/>
                </a:lnTo>
                <a:lnTo>
                  <a:pt x="1687129" y="114468"/>
                </a:lnTo>
                <a:lnTo>
                  <a:pt x="1724909" y="117851"/>
                </a:lnTo>
                <a:lnTo>
                  <a:pt x="1763253" y="115595"/>
                </a:lnTo>
                <a:lnTo>
                  <a:pt x="1822460" y="96423"/>
                </a:lnTo>
                <a:lnTo>
                  <a:pt x="1858549" y="89093"/>
                </a:lnTo>
                <a:lnTo>
                  <a:pt x="1843887" y="80635"/>
                </a:lnTo>
                <a:close/>
                <a:moveTo>
                  <a:pt x="2286533" y="2819"/>
                </a:moveTo>
                <a:lnTo>
                  <a:pt x="2247062" y="1692"/>
                </a:lnTo>
                <a:lnTo>
                  <a:pt x="2208154" y="0"/>
                </a:lnTo>
                <a:lnTo>
                  <a:pt x="2150638" y="3383"/>
                </a:lnTo>
                <a:lnTo>
                  <a:pt x="2142744" y="1128"/>
                </a:lnTo>
                <a:lnTo>
                  <a:pt x="2084664" y="2255"/>
                </a:lnTo>
                <a:lnTo>
                  <a:pt x="2048576" y="4511"/>
                </a:lnTo>
                <a:lnTo>
                  <a:pt x="2019818" y="7894"/>
                </a:lnTo>
                <a:lnTo>
                  <a:pt x="1991624" y="19172"/>
                </a:lnTo>
                <a:lnTo>
                  <a:pt x="1978655" y="13533"/>
                </a:lnTo>
                <a:lnTo>
                  <a:pt x="1956663" y="12405"/>
                </a:lnTo>
                <a:lnTo>
                  <a:pt x="1918884" y="20300"/>
                </a:lnTo>
                <a:lnTo>
                  <a:pt x="1877157" y="23683"/>
                </a:lnTo>
                <a:lnTo>
                  <a:pt x="1854038" y="24247"/>
                </a:lnTo>
                <a:lnTo>
                  <a:pt x="1820205" y="28758"/>
                </a:lnTo>
                <a:lnTo>
                  <a:pt x="1814002" y="36088"/>
                </a:lnTo>
                <a:lnTo>
                  <a:pt x="1828099" y="42855"/>
                </a:lnTo>
                <a:lnTo>
                  <a:pt x="1832610" y="51877"/>
                </a:lnTo>
                <a:lnTo>
                  <a:pt x="1857421" y="60335"/>
                </a:lnTo>
                <a:lnTo>
                  <a:pt x="1927342" y="58643"/>
                </a:lnTo>
                <a:lnTo>
                  <a:pt x="1967941" y="61463"/>
                </a:lnTo>
                <a:lnTo>
                  <a:pt x="1927342" y="69921"/>
                </a:lnTo>
                <a:lnTo>
                  <a:pt x="1914937" y="67666"/>
                </a:lnTo>
                <a:lnTo>
                  <a:pt x="1862496" y="66538"/>
                </a:lnTo>
                <a:lnTo>
                  <a:pt x="1856293" y="78943"/>
                </a:lnTo>
                <a:lnTo>
                  <a:pt x="1873209" y="88529"/>
                </a:lnTo>
                <a:lnTo>
                  <a:pt x="1857421" y="97551"/>
                </a:lnTo>
                <a:lnTo>
                  <a:pt x="1815130" y="103754"/>
                </a:lnTo>
                <a:lnTo>
                  <a:pt x="1787499" y="113340"/>
                </a:lnTo>
                <a:lnTo>
                  <a:pt x="1814566" y="118415"/>
                </a:lnTo>
                <a:lnTo>
                  <a:pt x="1824152" y="135331"/>
                </a:lnTo>
                <a:lnTo>
                  <a:pt x="1781861" y="124054"/>
                </a:lnTo>
                <a:lnTo>
                  <a:pt x="1767764" y="125745"/>
                </a:lnTo>
                <a:lnTo>
                  <a:pt x="1756486" y="144917"/>
                </a:lnTo>
                <a:lnTo>
                  <a:pt x="1711376" y="151120"/>
                </a:lnTo>
                <a:lnTo>
                  <a:pt x="1700098" y="164089"/>
                </a:lnTo>
                <a:lnTo>
                  <a:pt x="1737878" y="165781"/>
                </a:lnTo>
                <a:lnTo>
                  <a:pt x="1765508" y="169164"/>
                </a:lnTo>
                <a:lnTo>
                  <a:pt x="1831482" y="164653"/>
                </a:lnTo>
                <a:lnTo>
                  <a:pt x="1878848" y="172547"/>
                </a:lnTo>
                <a:lnTo>
                  <a:pt x="1949897" y="155631"/>
                </a:lnTo>
                <a:lnTo>
                  <a:pt x="1955536" y="149428"/>
                </a:lnTo>
                <a:lnTo>
                  <a:pt x="1919448" y="150556"/>
                </a:lnTo>
                <a:lnTo>
                  <a:pt x="1922267" y="144353"/>
                </a:lnTo>
                <a:lnTo>
                  <a:pt x="1958919" y="136459"/>
                </a:lnTo>
                <a:lnTo>
                  <a:pt x="1979219" y="125745"/>
                </a:lnTo>
                <a:lnTo>
                  <a:pt x="2017563" y="118415"/>
                </a:lnTo>
                <a:lnTo>
                  <a:pt x="2045757" y="109393"/>
                </a:lnTo>
                <a:lnTo>
                  <a:pt x="2041245" y="96987"/>
                </a:lnTo>
                <a:lnTo>
                  <a:pt x="2059854" y="92476"/>
                </a:lnTo>
                <a:lnTo>
                  <a:pt x="2035607" y="89093"/>
                </a:lnTo>
                <a:lnTo>
                  <a:pt x="2098198" y="86837"/>
                </a:lnTo>
                <a:lnTo>
                  <a:pt x="2116242" y="81763"/>
                </a:lnTo>
                <a:lnTo>
                  <a:pt x="2160788" y="77252"/>
                </a:lnTo>
                <a:lnTo>
                  <a:pt x="2213229" y="57516"/>
                </a:lnTo>
                <a:lnTo>
                  <a:pt x="2251573" y="51313"/>
                </a:lnTo>
                <a:lnTo>
                  <a:pt x="2309653" y="37216"/>
                </a:lnTo>
                <a:lnTo>
                  <a:pt x="2267925" y="37216"/>
                </a:lnTo>
                <a:lnTo>
                  <a:pt x="2289917" y="32141"/>
                </a:lnTo>
                <a:lnTo>
                  <a:pt x="2340666" y="27630"/>
                </a:lnTo>
                <a:lnTo>
                  <a:pt x="2395362" y="18608"/>
                </a:lnTo>
                <a:lnTo>
                  <a:pt x="2401565" y="12405"/>
                </a:lnTo>
                <a:lnTo>
                  <a:pt x="2372243" y="6767"/>
                </a:lnTo>
                <a:lnTo>
                  <a:pt x="2334463" y="4511"/>
                </a:lnTo>
                <a:lnTo>
                  <a:pt x="2286533" y="2819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6" name="Freeform: Shape 269">
            <a:extLst>
              <a:ext uri="{FF2B5EF4-FFF2-40B4-BE49-F238E27FC236}">
                <a16:creationId xmlns:a16="http://schemas.microsoft.com/office/drawing/2014/main" id="{D88E257E-AF6F-49B8-BC7E-486702698D70}"/>
              </a:ext>
            </a:extLst>
          </p:cNvPr>
          <p:cNvSpPr/>
          <p:nvPr/>
        </p:nvSpPr>
        <p:spPr>
          <a:xfrm>
            <a:off x="5969584" y="2843998"/>
            <a:ext cx="88490" cy="50566"/>
          </a:xfrm>
          <a:custGeom>
            <a:avLst/>
            <a:gdLst>
              <a:gd name="connsiteX0" fmla="*/ 98679 w 118414"/>
              <a:gd name="connsiteY0" fmla="*/ 10714 h 67665"/>
              <a:gd name="connsiteX1" fmla="*/ 68230 w 118414"/>
              <a:gd name="connsiteY1" fmla="*/ 0 h 67665"/>
              <a:gd name="connsiteX2" fmla="*/ 62591 w 118414"/>
              <a:gd name="connsiteY2" fmla="*/ 7894 h 67665"/>
              <a:gd name="connsiteX3" fmla="*/ 38908 w 118414"/>
              <a:gd name="connsiteY3" fmla="*/ 7894 h 67665"/>
              <a:gd name="connsiteX4" fmla="*/ 31577 w 118414"/>
              <a:gd name="connsiteY4" fmla="*/ 13533 h 67665"/>
              <a:gd name="connsiteX5" fmla="*/ 18608 w 118414"/>
              <a:gd name="connsiteY5" fmla="*/ 10150 h 67665"/>
              <a:gd name="connsiteX6" fmla="*/ 19736 w 118414"/>
              <a:gd name="connsiteY6" fmla="*/ 19172 h 67665"/>
              <a:gd name="connsiteX7" fmla="*/ 0 w 118414"/>
              <a:gd name="connsiteY7" fmla="*/ 38908 h 67665"/>
              <a:gd name="connsiteX8" fmla="*/ 0 w 118414"/>
              <a:gd name="connsiteY8" fmla="*/ 54696 h 67665"/>
              <a:gd name="connsiteX9" fmla="*/ 13533 w 118414"/>
              <a:gd name="connsiteY9" fmla="*/ 49621 h 67665"/>
              <a:gd name="connsiteX10" fmla="*/ 23683 w 118414"/>
              <a:gd name="connsiteY10" fmla="*/ 64846 h 67665"/>
              <a:gd name="connsiteX11" fmla="*/ 36088 w 118414"/>
              <a:gd name="connsiteY11" fmla="*/ 72177 h 67665"/>
              <a:gd name="connsiteX12" fmla="*/ 49621 w 118414"/>
              <a:gd name="connsiteY12" fmla="*/ 70485 h 67665"/>
              <a:gd name="connsiteX13" fmla="*/ 64846 w 118414"/>
              <a:gd name="connsiteY13" fmla="*/ 58643 h 67665"/>
              <a:gd name="connsiteX14" fmla="*/ 69921 w 118414"/>
              <a:gd name="connsiteY14" fmla="*/ 64282 h 67665"/>
              <a:gd name="connsiteX15" fmla="*/ 83454 w 118414"/>
              <a:gd name="connsiteY15" fmla="*/ 63154 h 67665"/>
              <a:gd name="connsiteX16" fmla="*/ 88529 w 118414"/>
              <a:gd name="connsiteY16" fmla="*/ 49057 h 67665"/>
              <a:gd name="connsiteX17" fmla="*/ 109957 w 118414"/>
              <a:gd name="connsiteY17" fmla="*/ 53569 h 67665"/>
              <a:gd name="connsiteX18" fmla="*/ 121798 w 118414"/>
              <a:gd name="connsiteY18" fmla="*/ 47366 h 67665"/>
              <a:gd name="connsiteX19" fmla="*/ 123490 w 118414"/>
              <a:gd name="connsiteY19" fmla="*/ 33269 h 67665"/>
              <a:gd name="connsiteX20" fmla="*/ 108829 w 118414"/>
              <a:gd name="connsiteY20" fmla="*/ 32141 h 67665"/>
              <a:gd name="connsiteX21" fmla="*/ 95860 w 118414"/>
              <a:gd name="connsiteY21" fmla="*/ 25938 h 67665"/>
              <a:gd name="connsiteX22" fmla="*/ 99807 w 118414"/>
              <a:gd name="connsiteY22" fmla="*/ 16916 h 67665"/>
              <a:gd name="connsiteX23" fmla="*/ 98679 w 118414"/>
              <a:gd name="connsiteY23" fmla="*/ 10714 h 676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18414" h="67665">
                <a:moveTo>
                  <a:pt x="98679" y="10714"/>
                </a:moveTo>
                <a:lnTo>
                  <a:pt x="68230" y="0"/>
                </a:lnTo>
                <a:lnTo>
                  <a:pt x="62591" y="7894"/>
                </a:lnTo>
                <a:lnTo>
                  <a:pt x="38908" y="7894"/>
                </a:lnTo>
                <a:lnTo>
                  <a:pt x="31577" y="13533"/>
                </a:lnTo>
                <a:lnTo>
                  <a:pt x="18608" y="10150"/>
                </a:lnTo>
                <a:lnTo>
                  <a:pt x="19736" y="19172"/>
                </a:lnTo>
                <a:lnTo>
                  <a:pt x="0" y="38908"/>
                </a:lnTo>
                <a:lnTo>
                  <a:pt x="0" y="54696"/>
                </a:lnTo>
                <a:lnTo>
                  <a:pt x="13533" y="49621"/>
                </a:lnTo>
                <a:lnTo>
                  <a:pt x="23683" y="64846"/>
                </a:lnTo>
                <a:lnTo>
                  <a:pt x="36088" y="72177"/>
                </a:lnTo>
                <a:lnTo>
                  <a:pt x="49621" y="70485"/>
                </a:lnTo>
                <a:lnTo>
                  <a:pt x="64846" y="58643"/>
                </a:lnTo>
                <a:lnTo>
                  <a:pt x="69921" y="64282"/>
                </a:lnTo>
                <a:lnTo>
                  <a:pt x="83454" y="63154"/>
                </a:lnTo>
                <a:lnTo>
                  <a:pt x="88529" y="49057"/>
                </a:lnTo>
                <a:lnTo>
                  <a:pt x="109957" y="53569"/>
                </a:lnTo>
                <a:lnTo>
                  <a:pt x="121798" y="47366"/>
                </a:lnTo>
                <a:lnTo>
                  <a:pt x="123490" y="33269"/>
                </a:lnTo>
                <a:lnTo>
                  <a:pt x="108829" y="32141"/>
                </a:lnTo>
                <a:lnTo>
                  <a:pt x="95860" y="25938"/>
                </a:lnTo>
                <a:lnTo>
                  <a:pt x="99807" y="16916"/>
                </a:lnTo>
                <a:lnTo>
                  <a:pt x="98679" y="10714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7" name="Freeform: Shape 270">
            <a:extLst>
              <a:ext uri="{FF2B5EF4-FFF2-40B4-BE49-F238E27FC236}">
                <a16:creationId xmlns:a16="http://schemas.microsoft.com/office/drawing/2014/main" id="{69B67DF0-9A4C-4A03-98AB-4034EB2505D1}"/>
              </a:ext>
            </a:extLst>
          </p:cNvPr>
          <p:cNvSpPr/>
          <p:nvPr/>
        </p:nvSpPr>
        <p:spPr>
          <a:xfrm>
            <a:off x="4201057" y="4593984"/>
            <a:ext cx="316034" cy="1007095"/>
          </a:xfrm>
          <a:custGeom>
            <a:avLst/>
            <a:gdLst>
              <a:gd name="connsiteX0" fmla="*/ 345659 w 422910"/>
              <a:gd name="connsiteY0" fmla="*/ 1247303 h 1347673"/>
              <a:gd name="connsiteX1" fmla="*/ 324795 w 422910"/>
              <a:gd name="connsiteY1" fmla="*/ 1243356 h 1347673"/>
              <a:gd name="connsiteX2" fmla="*/ 306187 w 422910"/>
              <a:gd name="connsiteY2" fmla="*/ 1257453 h 1347673"/>
              <a:gd name="connsiteX3" fmla="*/ 307315 w 422910"/>
              <a:gd name="connsiteY3" fmla="*/ 1280571 h 1347673"/>
              <a:gd name="connsiteX4" fmla="*/ 300548 w 422910"/>
              <a:gd name="connsiteY4" fmla="*/ 1296360 h 1347673"/>
              <a:gd name="connsiteX5" fmla="*/ 259949 w 422910"/>
              <a:gd name="connsiteY5" fmla="*/ 1283955 h 1347673"/>
              <a:gd name="connsiteX6" fmla="*/ 211455 w 422910"/>
              <a:gd name="connsiteY6" fmla="*/ 1261400 h 1347673"/>
              <a:gd name="connsiteX7" fmla="*/ 186080 w 422910"/>
              <a:gd name="connsiteY7" fmla="*/ 1254069 h 1347673"/>
              <a:gd name="connsiteX8" fmla="*/ 240777 w 422910"/>
              <a:gd name="connsiteY8" fmla="*/ 1292413 h 1347673"/>
              <a:gd name="connsiteX9" fmla="*/ 276301 w 422910"/>
              <a:gd name="connsiteY9" fmla="*/ 1310457 h 1347673"/>
              <a:gd name="connsiteX10" fmla="*/ 318592 w 422910"/>
              <a:gd name="connsiteY10" fmla="*/ 1329629 h 1347673"/>
              <a:gd name="connsiteX11" fmla="*/ 348478 w 422910"/>
              <a:gd name="connsiteY11" fmla="*/ 1334704 h 1347673"/>
              <a:gd name="connsiteX12" fmla="*/ 372725 w 422910"/>
              <a:gd name="connsiteY12" fmla="*/ 1344854 h 1347673"/>
              <a:gd name="connsiteX13" fmla="*/ 389641 w 422910"/>
              <a:gd name="connsiteY13" fmla="*/ 1347673 h 1347673"/>
              <a:gd name="connsiteX14" fmla="*/ 402610 w 422910"/>
              <a:gd name="connsiteY14" fmla="*/ 1348237 h 1347673"/>
              <a:gd name="connsiteX15" fmla="*/ 420655 w 422910"/>
              <a:gd name="connsiteY15" fmla="*/ 1338087 h 1347673"/>
              <a:gd name="connsiteX16" fmla="*/ 423474 w 422910"/>
              <a:gd name="connsiteY16" fmla="*/ 1324554 h 1347673"/>
              <a:gd name="connsiteX17" fmla="*/ 407121 w 422910"/>
              <a:gd name="connsiteY17" fmla="*/ 1323427 h 1347673"/>
              <a:gd name="connsiteX18" fmla="*/ 378927 w 422910"/>
              <a:gd name="connsiteY18" fmla="*/ 1323427 h 1347673"/>
              <a:gd name="connsiteX19" fmla="*/ 345659 w 422910"/>
              <a:gd name="connsiteY19" fmla="*/ 1247303 h 1347673"/>
              <a:gd name="connsiteX20" fmla="*/ 78943 w 422910"/>
              <a:gd name="connsiteY20" fmla="*/ 140406 h 1347673"/>
              <a:gd name="connsiteX21" fmla="*/ 58080 w 422910"/>
              <a:gd name="connsiteY21" fmla="*/ 100371 h 1347673"/>
              <a:gd name="connsiteX22" fmla="*/ 64282 w 422910"/>
              <a:gd name="connsiteY22" fmla="*/ 65410 h 1347673"/>
              <a:gd name="connsiteX23" fmla="*/ 46238 w 422910"/>
              <a:gd name="connsiteY23" fmla="*/ 50185 h 1347673"/>
              <a:gd name="connsiteX24" fmla="*/ 39472 w 422910"/>
              <a:gd name="connsiteY24" fmla="*/ 24247 h 1347673"/>
              <a:gd name="connsiteX25" fmla="*/ 21991 w 422910"/>
              <a:gd name="connsiteY25" fmla="*/ 0 h 1347673"/>
              <a:gd name="connsiteX26" fmla="*/ 15225 w 422910"/>
              <a:gd name="connsiteY26" fmla="*/ 18608 h 1347673"/>
              <a:gd name="connsiteX27" fmla="*/ 0 w 422910"/>
              <a:gd name="connsiteY27" fmla="*/ 27630 h 1347673"/>
              <a:gd name="connsiteX28" fmla="*/ 11842 w 422910"/>
              <a:gd name="connsiteY28" fmla="*/ 78379 h 1347673"/>
              <a:gd name="connsiteX29" fmla="*/ 20300 w 422910"/>
              <a:gd name="connsiteY29" fmla="*/ 137023 h 1347673"/>
              <a:gd name="connsiteX30" fmla="*/ 19736 w 422910"/>
              <a:gd name="connsiteY30" fmla="*/ 217094 h 1347673"/>
              <a:gd name="connsiteX31" fmla="*/ 19736 w 422910"/>
              <a:gd name="connsiteY31" fmla="*/ 291526 h 1347673"/>
              <a:gd name="connsiteX32" fmla="*/ 24811 w 422910"/>
              <a:gd name="connsiteY32" fmla="*/ 360883 h 1347673"/>
              <a:gd name="connsiteX33" fmla="*/ 14097 w 422910"/>
              <a:gd name="connsiteY33" fmla="*/ 404866 h 1347673"/>
              <a:gd name="connsiteX34" fmla="*/ 25939 w 422910"/>
              <a:gd name="connsiteY34" fmla="*/ 448848 h 1347673"/>
              <a:gd name="connsiteX35" fmla="*/ 23119 w 422910"/>
              <a:gd name="connsiteY35" fmla="*/ 478734 h 1347673"/>
              <a:gd name="connsiteX36" fmla="*/ 41164 w 422910"/>
              <a:gd name="connsiteY36" fmla="*/ 532303 h 1347673"/>
              <a:gd name="connsiteX37" fmla="*/ 40599 w 422910"/>
              <a:gd name="connsiteY37" fmla="*/ 585872 h 1347673"/>
              <a:gd name="connsiteX38" fmla="*/ 33833 w 422910"/>
              <a:gd name="connsiteY38" fmla="*/ 643387 h 1347673"/>
              <a:gd name="connsiteX39" fmla="*/ 30450 w 422910"/>
              <a:gd name="connsiteY39" fmla="*/ 702594 h 1347673"/>
              <a:gd name="connsiteX40" fmla="*/ 18608 w 422910"/>
              <a:gd name="connsiteY40" fmla="*/ 703722 h 1347673"/>
              <a:gd name="connsiteX41" fmla="*/ 32141 w 422910"/>
              <a:gd name="connsiteY41" fmla="*/ 744885 h 1347673"/>
              <a:gd name="connsiteX42" fmla="*/ 50749 w 422910"/>
              <a:gd name="connsiteY42" fmla="*/ 780410 h 1347673"/>
              <a:gd name="connsiteX43" fmla="*/ 44547 w 422910"/>
              <a:gd name="connsiteY43" fmla="*/ 804657 h 1347673"/>
              <a:gd name="connsiteX44" fmla="*/ 55261 w 422910"/>
              <a:gd name="connsiteY44" fmla="*/ 870067 h 1347673"/>
              <a:gd name="connsiteX45" fmla="*/ 63719 w 422910"/>
              <a:gd name="connsiteY45" fmla="*/ 919688 h 1347673"/>
              <a:gd name="connsiteX46" fmla="*/ 83455 w 422910"/>
              <a:gd name="connsiteY46" fmla="*/ 924763 h 1347673"/>
              <a:gd name="connsiteX47" fmla="*/ 77252 w 422910"/>
              <a:gd name="connsiteY47" fmla="*/ 881344 h 1347673"/>
              <a:gd name="connsiteX48" fmla="*/ 99807 w 422910"/>
              <a:gd name="connsiteY48" fmla="*/ 890367 h 1347673"/>
              <a:gd name="connsiteX49" fmla="*/ 109957 w 422910"/>
              <a:gd name="connsiteY49" fmla="*/ 961979 h 1347673"/>
              <a:gd name="connsiteX50" fmla="*/ 73868 w 422910"/>
              <a:gd name="connsiteY50" fmla="*/ 950138 h 1347673"/>
              <a:gd name="connsiteX51" fmla="*/ 85146 w 422910"/>
              <a:gd name="connsiteY51" fmla="*/ 1007654 h 1347673"/>
              <a:gd name="connsiteX52" fmla="*/ 69921 w 422910"/>
              <a:gd name="connsiteY52" fmla="*/ 1038667 h 1347673"/>
              <a:gd name="connsiteX53" fmla="*/ 116159 w 422910"/>
              <a:gd name="connsiteY53" fmla="*/ 1048817 h 1347673"/>
              <a:gd name="connsiteX54" fmla="*/ 96987 w 422910"/>
              <a:gd name="connsiteY54" fmla="*/ 1075883 h 1347673"/>
              <a:gd name="connsiteX55" fmla="*/ 98115 w 422910"/>
              <a:gd name="connsiteY55" fmla="*/ 1109716 h 1347673"/>
              <a:gd name="connsiteX56" fmla="*/ 126309 w 422910"/>
              <a:gd name="connsiteY56" fmla="*/ 1169487 h 1347673"/>
              <a:gd name="connsiteX57" fmla="*/ 149992 w 422910"/>
              <a:gd name="connsiteY57" fmla="*/ 1192606 h 1347673"/>
              <a:gd name="connsiteX58" fmla="*/ 151120 w 422910"/>
              <a:gd name="connsiteY58" fmla="*/ 1212906 h 1347673"/>
              <a:gd name="connsiteX59" fmla="*/ 169728 w 422910"/>
              <a:gd name="connsiteY59" fmla="*/ 1234334 h 1347673"/>
              <a:gd name="connsiteX60" fmla="*/ 212019 w 422910"/>
              <a:gd name="connsiteY60" fmla="*/ 1254069 h 1347673"/>
              <a:gd name="connsiteX61" fmla="*/ 212019 w 422910"/>
              <a:gd name="connsiteY61" fmla="*/ 1254069 h 1347673"/>
              <a:gd name="connsiteX62" fmla="*/ 253746 w 422910"/>
              <a:gd name="connsiteY62" fmla="*/ 1277752 h 1347673"/>
              <a:gd name="connsiteX63" fmla="*/ 288707 w 422910"/>
              <a:gd name="connsiteY63" fmla="*/ 1289030 h 1347673"/>
              <a:gd name="connsiteX64" fmla="*/ 299984 w 422910"/>
              <a:gd name="connsiteY64" fmla="*/ 1288466 h 1347673"/>
              <a:gd name="connsiteX65" fmla="*/ 289834 w 422910"/>
              <a:gd name="connsiteY65" fmla="*/ 1256325 h 1347673"/>
              <a:gd name="connsiteX66" fmla="*/ 309007 w 422910"/>
              <a:gd name="connsiteY66" fmla="*/ 1243919 h 1347673"/>
              <a:gd name="connsiteX67" fmla="*/ 318592 w 422910"/>
              <a:gd name="connsiteY67" fmla="*/ 1235461 h 1347673"/>
              <a:gd name="connsiteX68" fmla="*/ 342275 w 422910"/>
              <a:gd name="connsiteY68" fmla="*/ 1235461 h 1347673"/>
              <a:gd name="connsiteX69" fmla="*/ 315209 w 422910"/>
              <a:gd name="connsiteY69" fmla="*/ 1230386 h 1347673"/>
              <a:gd name="connsiteX70" fmla="*/ 247543 w 422910"/>
              <a:gd name="connsiteY70" fmla="*/ 1225875 h 1347673"/>
              <a:gd name="connsiteX71" fmla="*/ 227808 w 422910"/>
              <a:gd name="connsiteY71" fmla="*/ 1205575 h 1347673"/>
              <a:gd name="connsiteX72" fmla="*/ 217658 w 422910"/>
              <a:gd name="connsiteY72" fmla="*/ 1179637 h 1347673"/>
              <a:gd name="connsiteX73" fmla="*/ 200177 w 422910"/>
              <a:gd name="connsiteY73" fmla="*/ 1181892 h 1347673"/>
              <a:gd name="connsiteX74" fmla="*/ 185517 w 422910"/>
              <a:gd name="connsiteY74" fmla="*/ 1169487 h 1347673"/>
              <a:gd name="connsiteX75" fmla="*/ 168037 w 422910"/>
              <a:gd name="connsiteY75" fmla="*/ 1132271 h 1347673"/>
              <a:gd name="connsiteX76" fmla="*/ 183261 w 422910"/>
              <a:gd name="connsiteY76" fmla="*/ 1117046 h 1347673"/>
              <a:gd name="connsiteX77" fmla="*/ 183825 w 422910"/>
              <a:gd name="connsiteY77" fmla="*/ 1095055 h 1347673"/>
              <a:gd name="connsiteX78" fmla="*/ 173675 w 422910"/>
              <a:gd name="connsiteY78" fmla="*/ 1077011 h 1347673"/>
              <a:gd name="connsiteX79" fmla="*/ 177622 w 422910"/>
              <a:gd name="connsiteY79" fmla="*/ 1047125 h 1347673"/>
              <a:gd name="connsiteX80" fmla="*/ 171420 w 422910"/>
              <a:gd name="connsiteY80" fmla="*/ 1000887 h 1347673"/>
              <a:gd name="connsiteX81" fmla="*/ 161270 w 422910"/>
              <a:gd name="connsiteY81" fmla="*/ 980023 h 1347673"/>
              <a:gd name="connsiteX82" fmla="*/ 171420 w 422910"/>
              <a:gd name="connsiteY82" fmla="*/ 973821 h 1347673"/>
              <a:gd name="connsiteX83" fmla="*/ 164089 w 422910"/>
              <a:gd name="connsiteY83" fmla="*/ 960852 h 1347673"/>
              <a:gd name="connsiteX84" fmla="*/ 148301 w 422910"/>
              <a:gd name="connsiteY84" fmla="*/ 953521 h 1347673"/>
              <a:gd name="connsiteX85" fmla="*/ 152812 w 422910"/>
              <a:gd name="connsiteY85" fmla="*/ 938860 h 1347673"/>
              <a:gd name="connsiteX86" fmla="*/ 135331 w 422910"/>
              <a:gd name="connsiteY86" fmla="*/ 925891 h 1347673"/>
              <a:gd name="connsiteX87" fmla="*/ 115032 w 422910"/>
              <a:gd name="connsiteY87" fmla="*/ 885855 h 1347673"/>
              <a:gd name="connsiteX88" fmla="*/ 124054 w 422910"/>
              <a:gd name="connsiteY88" fmla="*/ 879089 h 1347673"/>
              <a:gd name="connsiteX89" fmla="*/ 105446 w 422910"/>
              <a:gd name="connsiteY89" fmla="*/ 836234 h 1347673"/>
              <a:gd name="connsiteX90" fmla="*/ 101498 w 422910"/>
              <a:gd name="connsiteY90" fmla="*/ 800146 h 1347673"/>
              <a:gd name="connsiteX91" fmla="*/ 99807 w 422910"/>
              <a:gd name="connsiteY91" fmla="*/ 768005 h 1347673"/>
              <a:gd name="connsiteX92" fmla="*/ 113904 w 422910"/>
              <a:gd name="connsiteY92" fmla="*/ 754471 h 1347673"/>
              <a:gd name="connsiteX93" fmla="*/ 95296 w 422910"/>
              <a:gd name="connsiteY93" fmla="*/ 718947 h 1347673"/>
              <a:gd name="connsiteX94" fmla="*/ 86838 w 422910"/>
              <a:gd name="connsiteY94" fmla="*/ 685678 h 1347673"/>
              <a:gd name="connsiteX95" fmla="*/ 103190 w 422910"/>
              <a:gd name="connsiteY95" fmla="*/ 661431 h 1347673"/>
              <a:gd name="connsiteX96" fmla="*/ 95296 w 422910"/>
              <a:gd name="connsiteY96" fmla="*/ 630982 h 1347673"/>
              <a:gd name="connsiteX97" fmla="*/ 104318 w 422910"/>
              <a:gd name="connsiteY97" fmla="*/ 596021 h 1347673"/>
              <a:gd name="connsiteX98" fmla="*/ 96987 w 422910"/>
              <a:gd name="connsiteY98" fmla="*/ 562752 h 1347673"/>
              <a:gd name="connsiteX99" fmla="*/ 87965 w 422910"/>
              <a:gd name="connsiteY99" fmla="*/ 555986 h 1347673"/>
              <a:gd name="connsiteX100" fmla="*/ 60335 w 422910"/>
              <a:gd name="connsiteY100" fmla="*/ 494523 h 1347673"/>
              <a:gd name="connsiteX101" fmla="*/ 72177 w 422910"/>
              <a:gd name="connsiteY101" fmla="*/ 457871 h 1347673"/>
              <a:gd name="connsiteX102" fmla="*/ 62591 w 422910"/>
              <a:gd name="connsiteY102" fmla="*/ 422910 h 1347673"/>
              <a:gd name="connsiteX103" fmla="*/ 67666 w 422910"/>
              <a:gd name="connsiteY103" fmla="*/ 390205 h 1347673"/>
              <a:gd name="connsiteX104" fmla="*/ 82327 w 422910"/>
              <a:gd name="connsiteY104" fmla="*/ 356936 h 1347673"/>
              <a:gd name="connsiteX105" fmla="*/ 100371 w 422910"/>
              <a:gd name="connsiteY105" fmla="*/ 334381 h 1347673"/>
              <a:gd name="connsiteX106" fmla="*/ 89093 w 422910"/>
              <a:gd name="connsiteY106" fmla="*/ 320284 h 1347673"/>
              <a:gd name="connsiteX107" fmla="*/ 94168 w 422910"/>
              <a:gd name="connsiteY107" fmla="*/ 309006 h 1347673"/>
              <a:gd name="connsiteX108" fmla="*/ 85146 w 422910"/>
              <a:gd name="connsiteY108" fmla="*/ 249235 h 1347673"/>
              <a:gd name="connsiteX109" fmla="*/ 116723 w 422910"/>
              <a:gd name="connsiteY109" fmla="*/ 231191 h 1347673"/>
              <a:gd name="connsiteX110" fmla="*/ 122926 w 422910"/>
              <a:gd name="connsiteY110" fmla="*/ 193975 h 1347673"/>
              <a:gd name="connsiteX111" fmla="*/ 117851 w 422910"/>
              <a:gd name="connsiteY111" fmla="*/ 184953 h 1347673"/>
              <a:gd name="connsiteX112" fmla="*/ 96424 w 422910"/>
              <a:gd name="connsiteY112" fmla="*/ 190028 h 1347673"/>
              <a:gd name="connsiteX113" fmla="*/ 78943 w 422910"/>
              <a:gd name="connsiteY113" fmla="*/ 140406 h 13476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</a:cxnLst>
            <a:rect l="l" t="t" r="r" b="b"/>
            <a:pathLst>
              <a:path w="422910" h="1347673">
                <a:moveTo>
                  <a:pt x="345659" y="1247303"/>
                </a:moveTo>
                <a:lnTo>
                  <a:pt x="324795" y="1243356"/>
                </a:lnTo>
                <a:lnTo>
                  <a:pt x="306187" y="1257453"/>
                </a:lnTo>
                <a:lnTo>
                  <a:pt x="307315" y="1280571"/>
                </a:lnTo>
                <a:lnTo>
                  <a:pt x="300548" y="1296360"/>
                </a:lnTo>
                <a:lnTo>
                  <a:pt x="259949" y="1283955"/>
                </a:lnTo>
                <a:lnTo>
                  <a:pt x="211455" y="1261400"/>
                </a:lnTo>
                <a:lnTo>
                  <a:pt x="186080" y="1254069"/>
                </a:lnTo>
                <a:lnTo>
                  <a:pt x="240777" y="1292413"/>
                </a:lnTo>
                <a:lnTo>
                  <a:pt x="276301" y="1310457"/>
                </a:lnTo>
                <a:lnTo>
                  <a:pt x="318592" y="1329629"/>
                </a:lnTo>
                <a:lnTo>
                  <a:pt x="348478" y="1334704"/>
                </a:lnTo>
                <a:lnTo>
                  <a:pt x="372725" y="1344854"/>
                </a:lnTo>
                <a:lnTo>
                  <a:pt x="389641" y="1347673"/>
                </a:lnTo>
                <a:lnTo>
                  <a:pt x="402610" y="1348237"/>
                </a:lnTo>
                <a:lnTo>
                  <a:pt x="420655" y="1338087"/>
                </a:lnTo>
                <a:lnTo>
                  <a:pt x="423474" y="1324554"/>
                </a:lnTo>
                <a:lnTo>
                  <a:pt x="407121" y="1323427"/>
                </a:lnTo>
                <a:lnTo>
                  <a:pt x="378927" y="1323427"/>
                </a:lnTo>
                <a:lnTo>
                  <a:pt x="345659" y="1247303"/>
                </a:lnTo>
                <a:close/>
                <a:moveTo>
                  <a:pt x="78943" y="140406"/>
                </a:moveTo>
                <a:lnTo>
                  <a:pt x="58080" y="100371"/>
                </a:lnTo>
                <a:lnTo>
                  <a:pt x="64282" y="65410"/>
                </a:lnTo>
                <a:lnTo>
                  <a:pt x="46238" y="50185"/>
                </a:lnTo>
                <a:lnTo>
                  <a:pt x="39472" y="24247"/>
                </a:lnTo>
                <a:lnTo>
                  <a:pt x="21991" y="0"/>
                </a:lnTo>
                <a:lnTo>
                  <a:pt x="15225" y="18608"/>
                </a:lnTo>
                <a:lnTo>
                  <a:pt x="0" y="27630"/>
                </a:lnTo>
                <a:lnTo>
                  <a:pt x="11842" y="78379"/>
                </a:lnTo>
                <a:lnTo>
                  <a:pt x="20300" y="137023"/>
                </a:lnTo>
                <a:lnTo>
                  <a:pt x="19736" y="217094"/>
                </a:lnTo>
                <a:lnTo>
                  <a:pt x="19736" y="291526"/>
                </a:lnTo>
                <a:lnTo>
                  <a:pt x="24811" y="360883"/>
                </a:lnTo>
                <a:lnTo>
                  <a:pt x="14097" y="404866"/>
                </a:lnTo>
                <a:lnTo>
                  <a:pt x="25939" y="448848"/>
                </a:lnTo>
                <a:lnTo>
                  <a:pt x="23119" y="478734"/>
                </a:lnTo>
                <a:lnTo>
                  <a:pt x="41164" y="532303"/>
                </a:lnTo>
                <a:lnTo>
                  <a:pt x="40599" y="585872"/>
                </a:lnTo>
                <a:lnTo>
                  <a:pt x="33833" y="643387"/>
                </a:lnTo>
                <a:lnTo>
                  <a:pt x="30450" y="702594"/>
                </a:lnTo>
                <a:lnTo>
                  <a:pt x="18608" y="703722"/>
                </a:lnTo>
                <a:lnTo>
                  <a:pt x="32141" y="744885"/>
                </a:lnTo>
                <a:lnTo>
                  <a:pt x="50749" y="780410"/>
                </a:lnTo>
                <a:lnTo>
                  <a:pt x="44547" y="804657"/>
                </a:lnTo>
                <a:lnTo>
                  <a:pt x="55261" y="870067"/>
                </a:lnTo>
                <a:lnTo>
                  <a:pt x="63719" y="919688"/>
                </a:lnTo>
                <a:lnTo>
                  <a:pt x="83455" y="924763"/>
                </a:lnTo>
                <a:lnTo>
                  <a:pt x="77252" y="881344"/>
                </a:lnTo>
                <a:lnTo>
                  <a:pt x="99807" y="890367"/>
                </a:lnTo>
                <a:lnTo>
                  <a:pt x="109957" y="961979"/>
                </a:lnTo>
                <a:lnTo>
                  <a:pt x="73868" y="950138"/>
                </a:lnTo>
                <a:lnTo>
                  <a:pt x="85146" y="1007654"/>
                </a:lnTo>
                <a:lnTo>
                  <a:pt x="69921" y="1038667"/>
                </a:lnTo>
                <a:lnTo>
                  <a:pt x="116159" y="1048817"/>
                </a:lnTo>
                <a:lnTo>
                  <a:pt x="96987" y="1075883"/>
                </a:lnTo>
                <a:lnTo>
                  <a:pt x="98115" y="1109716"/>
                </a:lnTo>
                <a:lnTo>
                  <a:pt x="126309" y="1169487"/>
                </a:lnTo>
                <a:lnTo>
                  <a:pt x="149992" y="1192606"/>
                </a:lnTo>
                <a:lnTo>
                  <a:pt x="151120" y="1212906"/>
                </a:lnTo>
                <a:lnTo>
                  <a:pt x="169728" y="1234334"/>
                </a:lnTo>
                <a:lnTo>
                  <a:pt x="212019" y="1254069"/>
                </a:lnTo>
                <a:lnTo>
                  <a:pt x="212019" y="1254069"/>
                </a:lnTo>
                <a:lnTo>
                  <a:pt x="253746" y="1277752"/>
                </a:lnTo>
                <a:lnTo>
                  <a:pt x="288707" y="1289030"/>
                </a:lnTo>
                <a:lnTo>
                  <a:pt x="299984" y="1288466"/>
                </a:lnTo>
                <a:lnTo>
                  <a:pt x="289834" y="1256325"/>
                </a:lnTo>
                <a:lnTo>
                  <a:pt x="309007" y="1243919"/>
                </a:lnTo>
                <a:lnTo>
                  <a:pt x="318592" y="1235461"/>
                </a:lnTo>
                <a:lnTo>
                  <a:pt x="342275" y="1235461"/>
                </a:lnTo>
                <a:lnTo>
                  <a:pt x="315209" y="1230386"/>
                </a:lnTo>
                <a:lnTo>
                  <a:pt x="247543" y="1225875"/>
                </a:lnTo>
                <a:lnTo>
                  <a:pt x="227808" y="1205575"/>
                </a:lnTo>
                <a:lnTo>
                  <a:pt x="217658" y="1179637"/>
                </a:lnTo>
                <a:lnTo>
                  <a:pt x="200177" y="1181892"/>
                </a:lnTo>
                <a:lnTo>
                  <a:pt x="185517" y="1169487"/>
                </a:lnTo>
                <a:lnTo>
                  <a:pt x="168037" y="1132271"/>
                </a:lnTo>
                <a:lnTo>
                  <a:pt x="183261" y="1117046"/>
                </a:lnTo>
                <a:lnTo>
                  <a:pt x="183825" y="1095055"/>
                </a:lnTo>
                <a:lnTo>
                  <a:pt x="173675" y="1077011"/>
                </a:lnTo>
                <a:lnTo>
                  <a:pt x="177622" y="1047125"/>
                </a:lnTo>
                <a:lnTo>
                  <a:pt x="171420" y="1000887"/>
                </a:lnTo>
                <a:lnTo>
                  <a:pt x="161270" y="980023"/>
                </a:lnTo>
                <a:lnTo>
                  <a:pt x="171420" y="973821"/>
                </a:lnTo>
                <a:lnTo>
                  <a:pt x="164089" y="960852"/>
                </a:lnTo>
                <a:lnTo>
                  <a:pt x="148301" y="953521"/>
                </a:lnTo>
                <a:lnTo>
                  <a:pt x="152812" y="938860"/>
                </a:lnTo>
                <a:lnTo>
                  <a:pt x="135331" y="925891"/>
                </a:lnTo>
                <a:lnTo>
                  <a:pt x="115032" y="885855"/>
                </a:lnTo>
                <a:lnTo>
                  <a:pt x="124054" y="879089"/>
                </a:lnTo>
                <a:lnTo>
                  <a:pt x="105446" y="836234"/>
                </a:lnTo>
                <a:lnTo>
                  <a:pt x="101498" y="800146"/>
                </a:lnTo>
                <a:lnTo>
                  <a:pt x="99807" y="768005"/>
                </a:lnTo>
                <a:lnTo>
                  <a:pt x="113904" y="754471"/>
                </a:lnTo>
                <a:lnTo>
                  <a:pt x="95296" y="718947"/>
                </a:lnTo>
                <a:lnTo>
                  <a:pt x="86838" y="685678"/>
                </a:lnTo>
                <a:lnTo>
                  <a:pt x="103190" y="661431"/>
                </a:lnTo>
                <a:lnTo>
                  <a:pt x="95296" y="630982"/>
                </a:lnTo>
                <a:lnTo>
                  <a:pt x="104318" y="596021"/>
                </a:lnTo>
                <a:lnTo>
                  <a:pt x="96987" y="562752"/>
                </a:lnTo>
                <a:lnTo>
                  <a:pt x="87965" y="555986"/>
                </a:lnTo>
                <a:lnTo>
                  <a:pt x="60335" y="494523"/>
                </a:lnTo>
                <a:lnTo>
                  <a:pt x="72177" y="457871"/>
                </a:lnTo>
                <a:lnTo>
                  <a:pt x="62591" y="422910"/>
                </a:lnTo>
                <a:lnTo>
                  <a:pt x="67666" y="390205"/>
                </a:lnTo>
                <a:lnTo>
                  <a:pt x="82327" y="356936"/>
                </a:lnTo>
                <a:lnTo>
                  <a:pt x="100371" y="334381"/>
                </a:lnTo>
                <a:lnTo>
                  <a:pt x="89093" y="320284"/>
                </a:lnTo>
                <a:lnTo>
                  <a:pt x="94168" y="309006"/>
                </a:lnTo>
                <a:lnTo>
                  <a:pt x="85146" y="249235"/>
                </a:lnTo>
                <a:lnTo>
                  <a:pt x="116723" y="231191"/>
                </a:lnTo>
                <a:lnTo>
                  <a:pt x="122926" y="193975"/>
                </a:lnTo>
                <a:lnTo>
                  <a:pt x="117851" y="184953"/>
                </a:lnTo>
                <a:lnTo>
                  <a:pt x="96424" y="190028"/>
                </a:lnTo>
                <a:lnTo>
                  <a:pt x="78943" y="140406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8" name="Freeform: Shape 271">
            <a:extLst>
              <a:ext uri="{FF2B5EF4-FFF2-40B4-BE49-F238E27FC236}">
                <a16:creationId xmlns:a16="http://schemas.microsoft.com/office/drawing/2014/main" id="{32EFABFE-1AAD-48FD-9600-78E5D7A07779}"/>
              </a:ext>
            </a:extLst>
          </p:cNvPr>
          <p:cNvSpPr/>
          <p:nvPr/>
        </p:nvSpPr>
        <p:spPr>
          <a:xfrm>
            <a:off x="7454945" y="2698200"/>
            <a:ext cx="1209358" cy="935461"/>
          </a:xfrm>
          <a:custGeom>
            <a:avLst/>
            <a:gdLst>
              <a:gd name="connsiteX0" fmla="*/ 1285082 w 1618335"/>
              <a:gd name="connsiteY0" fmla="*/ 1236025 h 1251813"/>
              <a:gd name="connsiteX1" fmla="*/ 1288466 w 1618335"/>
              <a:gd name="connsiteY1" fmla="*/ 1215725 h 1251813"/>
              <a:gd name="connsiteX2" fmla="*/ 1299743 w 1618335"/>
              <a:gd name="connsiteY2" fmla="*/ 1199937 h 1251813"/>
              <a:gd name="connsiteX3" fmla="*/ 1290721 w 1618335"/>
              <a:gd name="connsiteY3" fmla="*/ 1185840 h 1251813"/>
              <a:gd name="connsiteX4" fmla="*/ 1272677 w 1618335"/>
              <a:gd name="connsiteY4" fmla="*/ 1185276 h 1251813"/>
              <a:gd name="connsiteX5" fmla="*/ 1239972 w 1618335"/>
              <a:gd name="connsiteY5" fmla="*/ 1195426 h 1251813"/>
              <a:gd name="connsiteX6" fmla="*/ 1227567 w 1618335"/>
              <a:gd name="connsiteY6" fmla="*/ 1211214 h 1251813"/>
              <a:gd name="connsiteX7" fmla="*/ 1233205 w 1618335"/>
              <a:gd name="connsiteY7" fmla="*/ 1242228 h 1251813"/>
              <a:gd name="connsiteX8" fmla="*/ 1260836 w 1618335"/>
              <a:gd name="connsiteY8" fmla="*/ 1253505 h 1251813"/>
              <a:gd name="connsiteX9" fmla="*/ 1285082 w 1618335"/>
              <a:gd name="connsiteY9" fmla="*/ 1236025 h 1251813"/>
              <a:gd name="connsiteX10" fmla="*/ 1359515 w 1618335"/>
              <a:gd name="connsiteY10" fmla="*/ 128001 h 1251813"/>
              <a:gd name="connsiteX11" fmla="*/ 1325118 w 1618335"/>
              <a:gd name="connsiteY11" fmla="*/ 93604 h 1251813"/>
              <a:gd name="connsiteX12" fmla="*/ 1300307 w 1618335"/>
              <a:gd name="connsiteY12" fmla="*/ 72740 h 1251813"/>
              <a:gd name="connsiteX13" fmla="*/ 1278879 w 1618335"/>
              <a:gd name="connsiteY13" fmla="*/ 57516 h 1251813"/>
              <a:gd name="connsiteX14" fmla="*/ 1235461 w 1618335"/>
              <a:gd name="connsiteY14" fmla="*/ 23119 h 1251813"/>
              <a:gd name="connsiteX15" fmla="*/ 1202192 w 1618335"/>
              <a:gd name="connsiteY15" fmla="*/ 10150 h 1251813"/>
              <a:gd name="connsiteX16" fmla="*/ 1154262 w 1618335"/>
              <a:gd name="connsiteY16" fmla="*/ 0 h 1251813"/>
              <a:gd name="connsiteX17" fmla="*/ 1119302 w 1618335"/>
              <a:gd name="connsiteY17" fmla="*/ 1128 h 1251813"/>
              <a:gd name="connsiteX18" fmla="*/ 1090543 w 1618335"/>
              <a:gd name="connsiteY18" fmla="*/ 7330 h 1251813"/>
              <a:gd name="connsiteX19" fmla="*/ 1080958 w 1618335"/>
              <a:gd name="connsiteY19" fmla="*/ 24247 h 1251813"/>
              <a:gd name="connsiteX20" fmla="*/ 1101821 w 1618335"/>
              <a:gd name="connsiteY20" fmla="*/ 32705 h 1251813"/>
              <a:gd name="connsiteX21" fmla="*/ 1115918 w 1618335"/>
              <a:gd name="connsiteY21" fmla="*/ 51313 h 1251813"/>
              <a:gd name="connsiteX22" fmla="*/ 1109152 w 1618335"/>
              <a:gd name="connsiteY22" fmla="*/ 62591 h 1251813"/>
              <a:gd name="connsiteX23" fmla="*/ 1109715 w 1618335"/>
              <a:gd name="connsiteY23" fmla="*/ 99243 h 1251813"/>
              <a:gd name="connsiteX24" fmla="*/ 1120429 w 1618335"/>
              <a:gd name="connsiteY24" fmla="*/ 114468 h 1251813"/>
              <a:gd name="connsiteX25" fmla="*/ 1095618 w 1618335"/>
              <a:gd name="connsiteY25" fmla="*/ 136459 h 1251813"/>
              <a:gd name="connsiteX26" fmla="*/ 1054456 w 1618335"/>
              <a:gd name="connsiteY26" fmla="*/ 123490 h 1251813"/>
              <a:gd name="connsiteX27" fmla="*/ 1057839 w 1618335"/>
              <a:gd name="connsiteY27" fmla="*/ 149428 h 1251813"/>
              <a:gd name="connsiteX28" fmla="*/ 1059530 w 1618335"/>
              <a:gd name="connsiteY28" fmla="*/ 184389 h 1251813"/>
              <a:gd name="connsiteX29" fmla="*/ 1074755 w 1618335"/>
              <a:gd name="connsiteY29" fmla="*/ 199050 h 1251813"/>
              <a:gd name="connsiteX30" fmla="*/ 1088288 w 1618335"/>
              <a:gd name="connsiteY30" fmla="*/ 194539 h 1251813"/>
              <a:gd name="connsiteX31" fmla="*/ 1118737 w 1618335"/>
              <a:gd name="connsiteY31" fmla="*/ 200177 h 1251813"/>
              <a:gd name="connsiteX32" fmla="*/ 1132834 w 1618335"/>
              <a:gd name="connsiteY32" fmla="*/ 187208 h 1251813"/>
              <a:gd name="connsiteX33" fmla="*/ 1161593 w 1618335"/>
              <a:gd name="connsiteY33" fmla="*/ 198486 h 1251813"/>
              <a:gd name="connsiteX34" fmla="*/ 1202192 w 1618335"/>
              <a:gd name="connsiteY34" fmla="*/ 222733 h 1251813"/>
              <a:gd name="connsiteX35" fmla="*/ 1206139 w 1618335"/>
              <a:gd name="connsiteY35" fmla="*/ 235138 h 1251813"/>
              <a:gd name="connsiteX36" fmla="*/ 1181892 w 1618335"/>
              <a:gd name="connsiteY36" fmla="*/ 231191 h 1251813"/>
              <a:gd name="connsiteX37" fmla="*/ 1143548 w 1618335"/>
              <a:gd name="connsiteY37" fmla="*/ 235702 h 1251813"/>
              <a:gd name="connsiteX38" fmla="*/ 1130015 w 1618335"/>
              <a:gd name="connsiteY38" fmla="*/ 245852 h 1251813"/>
              <a:gd name="connsiteX39" fmla="*/ 1122121 w 1618335"/>
              <a:gd name="connsiteY39" fmla="*/ 268971 h 1251813"/>
              <a:gd name="connsiteX40" fmla="*/ 1086597 w 1618335"/>
              <a:gd name="connsiteY40" fmla="*/ 282504 h 1251813"/>
              <a:gd name="connsiteX41" fmla="*/ 1069116 w 1618335"/>
              <a:gd name="connsiteY41" fmla="*/ 301112 h 1251813"/>
              <a:gd name="connsiteX42" fmla="*/ 1035847 w 1618335"/>
              <a:gd name="connsiteY42" fmla="*/ 293782 h 1251813"/>
              <a:gd name="connsiteX43" fmla="*/ 1017803 w 1618335"/>
              <a:gd name="connsiteY43" fmla="*/ 290962 h 1251813"/>
              <a:gd name="connsiteX44" fmla="*/ 1015548 w 1618335"/>
              <a:gd name="connsiteY44" fmla="*/ 313517 h 1251813"/>
              <a:gd name="connsiteX45" fmla="*/ 1031900 w 1618335"/>
              <a:gd name="connsiteY45" fmla="*/ 326487 h 1251813"/>
              <a:gd name="connsiteX46" fmla="*/ 1042614 w 1618335"/>
              <a:gd name="connsiteY46" fmla="*/ 338328 h 1251813"/>
              <a:gd name="connsiteX47" fmla="*/ 1028517 w 1618335"/>
              <a:gd name="connsiteY47" fmla="*/ 349606 h 1251813"/>
              <a:gd name="connsiteX48" fmla="*/ 1017803 w 1618335"/>
              <a:gd name="connsiteY48" fmla="*/ 368214 h 1251813"/>
              <a:gd name="connsiteX49" fmla="*/ 990173 w 1618335"/>
              <a:gd name="connsiteY49" fmla="*/ 380619 h 1251813"/>
              <a:gd name="connsiteX50" fmla="*/ 947882 w 1618335"/>
              <a:gd name="connsiteY50" fmla="*/ 381747 h 1251813"/>
              <a:gd name="connsiteX51" fmla="*/ 907282 w 1618335"/>
              <a:gd name="connsiteY51" fmla="*/ 394152 h 1251813"/>
              <a:gd name="connsiteX52" fmla="*/ 882472 w 1618335"/>
              <a:gd name="connsiteY52" fmla="*/ 412760 h 1251813"/>
              <a:gd name="connsiteX53" fmla="*/ 864428 w 1618335"/>
              <a:gd name="connsiteY53" fmla="*/ 401482 h 1251813"/>
              <a:gd name="connsiteX54" fmla="*/ 829467 w 1618335"/>
              <a:gd name="connsiteY54" fmla="*/ 402046 h 1251813"/>
              <a:gd name="connsiteX55" fmla="*/ 777026 w 1618335"/>
              <a:gd name="connsiteY55" fmla="*/ 380619 h 1251813"/>
              <a:gd name="connsiteX56" fmla="*/ 746013 w 1618335"/>
              <a:gd name="connsiteY56" fmla="*/ 375544 h 1251813"/>
              <a:gd name="connsiteX57" fmla="*/ 709924 w 1618335"/>
              <a:gd name="connsiteY57" fmla="*/ 380055 h 1251813"/>
              <a:gd name="connsiteX58" fmla="*/ 646770 w 1618335"/>
              <a:gd name="connsiteY58" fmla="*/ 372725 h 1251813"/>
              <a:gd name="connsiteX59" fmla="*/ 615757 w 1618335"/>
              <a:gd name="connsiteY59" fmla="*/ 373288 h 1251813"/>
              <a:gd name="connsiteX60" fmla="*/ 589255 w 1618335"/>
              <a:gd name="connsiteY60" fmla="*/ 352989 h 1251813"/>
              <a:gd name="connsiteX61" fmla="*/ 561624 w 1618335"/>
              <a:gd name="connsiteY61" fmla="*/ 320848 h 1251813"/>
              <a:gd name="connsiteX62" fmla="*/ 542452 w 1618335"/>
              <a:gd name="connsiteY62" fmla="*/ 316900 h 1251813"/>
              <a:gd name="connsiteX63" fmla="*/ 497906 w 1618335"/>
              <a:gd name="connsiteY63" fmla="*/ 295473 h 1251813"/>
              <a:gd name="connsiteX64" fmla="*/ 457307 w 1618335"/>
              <a:gd name="connsiteY64" fmla="*/ 290398 h 1251813"/>
              <a:gd name="connsiteX65" fmla="*/ 421218 w 1618335"/>
              <a:gd name="connsiteY65" fmla="*/ 284759 h 1251813"/>
              <a:gd name="connsiteX66" fmla="*/ 404302 w 1618335"/>
              <a:gd name="connsiteY66" fmla="*/ 269535 h 1251813"/>
              <a:gd name="connsiteX67" fmla="*/ 396971 w 1618335"/>
              <a:gd name="connsiteY67" fmla="*/ 228371 h 1251813"/>
              <a:gd name="connsiteX68" fmla="*/ 364266 w 1618335"/>
              <a:gd name="connsiteY68" fmla="*/ 200177 h 1251813"/>
              <a:gd name="connsiteX69" fmla="*/ 318592 w 1618335"/>
              <a:gd name="connsiteY69" fmla="*/ 187208 h 1251813"/>
              <a:gd name="connsiteX70" fmla="*/ 286451 w 1618335"/>
              <a:gd name="connsiteY70" fmla="*/ 168600 h 1251813"/>
              <a:gd name="connsiteX71" fmla="*/ 267843 w 1618335"/>
              <a:gd name="connsiteY71" fmla="*/ 143789 h 1251813"/>
              <a:gd name="connsiteX72" fmla="*/ 258257 w 1618335"/>
              <a:gd name="connsiteY72" fmla="*/ 146609 h 1251813"/>
              <a:gd name="connsiteX73" fmla="*/ 248107 w 1618335"/>
              <a:gd name="connsiteY73" fmla="*/ 170292 h 1251813"/>
              <a:gd name="connsiteX74" fmla="*/ 226679 w 1618335"/>
              <a:gd name="connsiteY74" fmla="*/ 173675 h 1251813"/>
              <a:gd name="connsiteX75" fmla="*/ 240776 w 1618335"/>
              <a:gd name="connsiteY75" fmla="*/ 208636 h 1251813"/>
              <a:gd name="connsiteX76" fmla="*/ 231755 w 1618335"/>
              <a:gd name="connsiteY76" fmla="*/ 224424 h 1251813"/>
              <a:gd name="connsiteX77" fmla="*/ 171419 w 1618335"/>
              <a:gd name="connsiteY77" fmla="*/ 213147 h 1251813"/>
              <a:gd name="connsiteX78" fmla="*/ 177058 w 1618335"/>
              <a:gd name="connsiteY78" fmla="*/ 275737 h 1251813"/>
              <a:gd name="connsiteX79" fmla="*/ 165780 w 1618335"/>
              <a:gd name="connsiteY79" fmla="*/ 283632 h 1251813"/>
              <a:gd name="connsiteX80" fmla="*/ 115031 w 1618335"/>
              <a:gd name="connsiteY80" fmla="*/ 297165 h 1251813"/>
              <a:gd name="connsiteX81" fmla="*/ 164089 w 1618335"/>
              <a:gd name="connsiteY81" fmla="*/ 357500 h 1251813"/>
              <a:gd name="connsiteX82" fmla="*/ 147736 w 1618335"/>
              <a:gd name="connsiteY82" fmla="*/ 366522 h 1251813"/>
              <a:gd name="connsiteX83" fmla="*/ 157322 w 1618335"/>
              <a:gd name="connsiteY83" fmla="*/ 386258 h 1251813"/>
              <a:gd name="connsiteX84" fmla="*/ 156194 w 1618335"/>
              <a:gd name="connsiteY84" fmla="*/ 394152 h 1251813"/>
              <a:gd name="connsiteX85" fmla="*/ 117850 w 1618335"/>
              <a:gd name="connsiteY85" fmla="*/ 413324 h 1251813"/>
              <a:gd name="connsiteX86" fmla="*/ 112212 w 1618335"/>
              <a:gd name="connsiteY86" fmla="*/ 426857 h 1251813"/>
              <a:gd name="connsiteX87" fmla="*/ 76124 w 1618335"/>
              <a:gd name="connsiteY87" fmla="*/ 431368 h 1251813"/>
              <a:gd name="connsiteX88" fmla="*/ 72740 w 1618335"/>
              <a:gd name="connsiteY88" fmla="*/ 453923 h 1251813"/>
              <a:gd name="connsiteX89" fmla="*/ 40599 w 1618335"/>
              <a:gd name="connsiteY89" fmla="*/ 448849 h 1251813"/>
              <a:gd name="connsiteX90" fmla="*/ 22555 w 1618335"/>
              <a:gd name="connsiteY90" fmla="*/ 455615 h 1251813"/>
              <a:gd name="connsiteX91" fmla="*/ 0 w 1618335"/>
              <a:gd name="connsiteY91" fmla="*/ 472531 h 1251813"/>
              <a:gd name="connsiteX92" fmla="*/ 6203 w 1618335"/>
              <a:gd name="connsiteY92" fmla="*/ 480990 h 1251813"/>
              <a:gd name="connsiteX93" fmla="*/ 564 w 1618335"/>
              <a:gd name="connsiteY93" fmla="*/ 489448 h 1251813"/>
              <a:gd name="connsiteX94" fmla="*/ 17480 w 1618335"/>
              <a:gd name="connsiteY94" fmla="*/ 522717 h 1251813"/>
              <a:gd name="connsiteX95" fmla="*/ 26502 w 1618335"/>
              <a:gd name="connsiteY95" fmla="*/ 519334 h 1251813"/>
              <a:gd name="connsiteX96" fmla="*/ 46238 w 1618335"/>
              <a:gd name="connsiteY96" fmla="*/ 527228 h 1251813"/>
              <a:gd name="connsiteX97" fmla="*/ 49621 w 1618335"/>
              <a:gd name="connsiteY97" fmla="*/ 541325 h 1251813"/>
              <a:gd name="connsiteX98" fmla="*/ 59771 w 1618335"/>
              <a:gd name="connsiteY98" fmla="*/ 562188 h 1251813"/>
              <a:gd name="connsiteX99" fmla="*/ 67666 w 1618335"/>
              <a:gd name="connsiteY99" fmla="*/ 572902 h 1251813"/>
              <a:gd name="connsiteX100" fmla="*/ 94168 w 1618335"/>
              <a:gd name="connsiteY100" fmla="*/ 589819 h 1251813"/>
              <a:gd name="connsiteX101" fmla="*/ 110520 w 1618335"/>
              <a:gd name="connsiteY101" fmla="*/ 618013 h 1251813"/>
              <a:gd name="connsiteX102" fmla="*/ 163525 w 1618335"/>
              <a:gd name="connsiteY102" fmla="*/ 632673 h 1251813"/>
              <a:gd name="connsiteX103" fmla="*/ 206380 w 1618335"/>
              <a:gd name="connsiteY103" fmla="*/ 674964 h 1251813"/>
              <a:gd name="connsiteX104" fmla="*/ 210891 w 1618335"/>
              <a:gd name="connsiteY104" fmla="*/ 704286 h 1251813"/>
              <a:gd name="connsiteX105" fmla="*/ 227807 w 1618335"/>
              <a:gd name="connsiteY105" fmla="*/ 722894 h 1251813"/>
              <a:gd name="connsiteX106" fmla="*/ 231191 w 1618335"/>
              <a:gd name="connsiteY106" fmla="*/ 741502 h 1251813"/>
              <a:gd name="connsiteX107" fmla="*/ 208071 w 1618335"/>
              <a:gd name="connsiteY107" fmla="*/ 736427 h 1251813"/>
              <a:gd name="connsiteX108" fmla="*/ 226116 w 1618335"/>
              <a:gd name="connsiteY108" fmla="*/ 775899 h 1251813"/>
              <a:gd name="connsiteX109" fmla="*/ 261076 w 1618335"/>
              <a:gd name="connsiteY109" fmla="*/ 798454 h 1251813"/>
              <a:gd name="connsiteX110" fmla="*/ 309006 w 1618335"/>
              <a:gd name="connsiteY110" fmla="*/ 823265 h 1251813"/>
              <a:gd name="connsiteX111" fmla="*/ 319720 w 1618335"/>
              <a:gd name="connsiteY111" fmla="*/ 814807 h 1251813"/>
              <a:gd name="connsiteX112" fmla="*/ 346222 w 1618335"/>
              <a:gd name="connsiteY112" fmla="*/ 826084 h 1251813"/>
              <a:gd name="connsiteX113" fmla="*/ 382310 w 1618335"/>
              <a:gd name="connsiteY113" fmla="*/ 849203 h 1251813"/>
              <a:gd name="connsiteX114" fmla="*/ 400355 w 1618335"/>
              <a:gd name="connsiteY114" fmla="*/ 854278 h 1251813"/>
              <a:gd name="connsiteX115" fmla="*/ 414452 w 1618335"/>
              <a:gd name="connsiteY115" fmla="*/ 871759 h 1251813"/>
              <a:gd name="connsiteX116" fmla="*/ 439826 w 1618335"/>
              <a:gd name="connsiteY116" fmla="*/ 878525 h 1251813"/>
              <a:gd name="connsiteX117" fmla="*/ 468020 w 1618335"/>
              <a:gd name="connsiteY117" fmla="*/ 894314 h 1251813"/>
              <a:gd name="connsiteX118" fmla="*/ 504108 w 1618335"/>
              <a:gd name="connsiteY118" fmla="*/ 902772 h 1251813"/>
              <a:gd name="connsiteX119" fmla="*/ 540760 w 1618335"/>
              <a:gd name="connsiteY119" fmla="*/ 906155 h 1251813"/>
              <a:gd name="connsiteX120" fmla="*/ 557677 w 1618335"/>
              <a:gd name="connsiteY120" fmla="*/ 898261 h 1251813"/>
              <a:gd name="connsiteX121" fmla="*/ 566135 w 1618335"/>
              <a:gd name="connsiteY121" fmla="*/ 927019 h 1251813"/>
              <a:gd name="connsiteX122" fmla="*/ 580796 w 1618335"/>
              <a:gd name="connsiteY122" fmla="*/ 899953 h 1251813"/>
              <a:gd name="connsiteX123" fmla="*/ 595457 w 1618335"/>
              <a:gd name="connsiteY123" fmla="*/ 890930 h 1251813"/>
              <a:gd name="connsiteX124" fmla="*/ 619140 w 1618335"/>
              <a:gd name="connsiteY124" fmla="*/ 899389 h 1251813"/>
              <a:gd name="connsiteX125" fmla="*/ 635493 w 1618335"/>
              <a:gd name="connsiteY125" fmla="*/ 899953 h 1251813"/>
              <a:gd name="connsiteX126" fmla="*/ 650717 w 1618335"/>
              <a:gd name="connsiteY126" fmla="*/ 910102 h 1251813"/>
              <a:gd name="connsiteX127" fmla="*/ 674400 w 1618335"/>
              <a:gd name="connsiteY127" fmla="*/ 905591 h 1251813"/>
              <a:gd name="connsiteX128" fmla="*/ 696392 w 1618335"/>
              <a:gd name="connsiteY128" fmla="*/ 878525 h 1251813"/>
              <a:gd name="connsiteX129" fmla="*/ 726277 w 1618335"/>
              <a:gd name="connsiteY129" fmla="*/ 855970 h 1251813"/>
              <a:gd name="connsiteX130" fmla="*/ 753907 w 1618335"/>
              <a:gd name="connsiteY130" fmla="*/ 864428 h 1251813"/>
              <a:gd name="connsiteX131" fmla="*/ 771951 w 1618335"/>
              <a:gd name="connsiteY131" fmla="*/ 849767 h 1251813"/>
              <a:gd name="connsiteX132" fmla="*/ 791687 w 1618335"/>
              <a:gd name="connsiteY132" fmla="*/ 871759 h 1251813"/>
              <a:gd name="connsiteX133" fmla="*/ 784921 w 1618335"/>
              <a:gd name="connsiteY133" fmla="*/ 886983 h 1251813"/>
              <a:gd name="connsiteX134" fmla="*/ 819317 w 1618335"/>
              <a:gd name="connsiteY134" fmla="*/ 892058 h 1251813"/>
              <a:gd name="connsiteX135" fmla="*/ 836234 w 1618335"/>
              <a:gd name="connsiteY135" fmla="*/ 889803 h 1251813"/>
              <a:gd name="connsiteX136" fmla="*/ 851459 w 1618335"/>
              <a:gd name="connsiteY136" fmla="*/ 910666 h 1251813"/>
              <a:gd name="connsiteX137" fmla="*/ 866683 w 1618335"/>
              <a:gd name="connsiteY137" fmla="*/ 919124 h 1251813"/>
              <a:gd name="connsiteX138" fmla="*/ 874014 w 1618335"/>
              <a:gd name="connsiteY138" fmla="*/ 946755 h 1251813"/>
              <a:gd name="connsiteX139" fmla="*/ 878525 w 1618335"/>
              <a:gd name="connsiteY139" fmla="*/ 976640 h 1251813"/>
              <a:gd name="connsiteX140" fmla="*/ 855406 w 1618335"/>
              <a:gd name="connsiteY140" fmla="*/ 1006526 h 1251813"/>
              <a:gd name="connsiteX141" fmla="*/ 859353 w 1618335"/>
              <a:gd name="connsiteY141" fmla="*/ 1048817 h 1251813"/>
              <a:gd name="connsiteX142" fmla="*/ 890930 w 1618335"/>
              <a:gd name="connsiteY142" fmla="*/ 1043178 h 1251813"/>
              <a:gd name="connsiteX143" fmla="*/ 903899 w 1618335"/>
              <a:gd name="connsiteY143" fmla="*/ 1075883 h 1251813"/>
              <a:gd name="connsiteX144" fmla="*/ 924763 w 1618335"/>
              <a:gd name="connsiteY144" fmla="*/ 1083214 h 1251813"/>
              <a:gd name="connsiteX145" fmla="*/ 920252 w 1618335"/>
              <a:gd name="connsiteY145" fmla="*/ 1112535 h 1251813"/>
              <a:gd name="connsiteX146" fmla="*/ 945627 w 1618335"/>
              <a:gd name="connsiteY146" fmla="*/ 1126068 h 1251813"/>
              <a:gd name="connsiteX147" fmla="*/ 959724 w 1618335"/>
              <a:gd name="connsiteY147" fmla="*/ 1132835 h 1251813"/>
              <a:gd name="connsiteX148" fmla="*/ 981151 w 1618335"/>
              <a:gd name="connsiteY148" fmla="*/ 1122685 h 1251813"/>
              <a:gd name="connsiteX149" fmla="*/ 984534 w 1618335"/>
              <a:gd name="connsiteY149" fmla="*/ 1137346 h 1251813"/>
              <a:gd name="connsiteX150" fmla="*/ 988481 w 1618335"/>
              <a:gd name="connsiteY150" fmla="*/ 1145804 h 1251813"/>
              <a:gd name="connsiteX151" fmla="*/ 1004834 w 1618335"/>
              <a:gd name="connsiteY151" fmla="*/ 1146368 h 1251813"/>
              <a:gd name="connsiteX152" fmla="*/ 994120 w 1618335"/>
              <a:gd name="connsiteY152" fmla="*/ 1105769 h 1251813"/>
              <a:gd name="connsiteX153" fmla="*/ 1009345 w 1618335"/>
              <a:gd name="connsiteY153" fmla="*/ 1100130 h 1251813"/>
              <a:gd name="connsiteX154" fmla="*/ 1024570 w 1618335"/>
              <a:gd name="connsiteY154" fmla="*/ 1091672 h 1251813"/>
              <a:gd name="connsiteX155" fmla="*/ 1048817 w 1618335"/>
              <a:gd name="connsiteY155" fmla="*/ 1091672 h 1251813"/>
              <a:gd name="connsiteX156" fmla="*/ 1078702 w 1618335"/>
              <a:gd name="connsiteY156" fmla="*/ 1087725 h 1251813"/>
              <a:gd name="connsiteX157" fmla="*/ 1101821 w 1618335"/>
              <a:gd name="connsiteY157" fmla="*/ 1068553 h 1251813"/>
              <a:gd name="connsiteX158" fmla="*/ 1118737 w 1618335"/>
              <a:gd name="connsiteY158" fmla="*/ 1082086 h 1251813"/>
              <a:gd name="connsiteX159" fmla="*/ 1148060 w 1618335"/>
              <a:gd name="connsiteY159" fmla="*/ 1088289 h 1251813"/>
              <a:gd name="connsiteX160" fmla="*/ 1146931 w 1618335"/>
              <a:gd name="connsiteY160" fmla="*/ 1109152 h 1251813"/>
              <a:gd name="connsiteX161" fmla="*/ 1163848 w 1618335"/>
              <a:gd name="connsiteY161" fmla="*/ 1123813 h 1251813"/>
              <a:gd name="connsiteX162" fmla="*/ 1197117 w 1618335"/>
              <a:gd name="connsiteY162" fmla="*/ 1132835 h 1251813"/>
              <a:gd name="connsiteX163" fmla="*/ 1210650 w 1618335"/>
              <a:gd name="connsiteY163" fmla="*/ 1127196 h 1251813"/>
              <a:gd name="connsiteX164" fmla="*/ 1254069 w 1618335"/>
              <a:gd name="connsiteY164" fmla="*/ 1138474 h 1251813"/>
              <a:gd name="connsiteX165" fmla="*/ 1248994 w 1618335"/>
              <a:gd name="connsiteY165" fmla="*/ 1152571 h 1251813"/>
              <a:gd name="connsiteX166" fmla="*/ 1261399 w 1618335"/>
              <a:gd name="connsiteY166" fmla="*/ 1178509 h 1251813"/>
              <a:gd name="connsiteX167" fmla="*/ 1278316 w 1618335"/>
              <a:gd name="connsiteY167" fmla="*/ 1176254 h 1251813"/>
              <a:gd name="connsiteX168" fmla="*/ 1282827 w 1618335"/>
              <a:gd name="connsiteY168" fmla="*/ 1138474 h 1251813"/>
              <a:gd name="connsiteX169" fmla="*/ 1314404 w 1618335"/>
              <a:gd name="connsiteY169" fmla="*/ 1133399 h 1251813"/>
              <a:gd name="connsiteX170" fmla="*/ 1355003 w 1618335"/>
              <a:gd name="connsiteY170" fmla="*/ 1115355 h 1251813"/>
              <a:gd name="connsiteX171" fmla="*/ 1369100 w 1618335"/>
              <a:gd name="connsiteY171" fmla="*/ 1097311 h 1251813"/>
              <a:gd name="connsiteX172" fmla="*/ 1382070 w 1618335"/>
              <a:gd name="connsiteY172" fmla="*/ 1109152 h 1251813"/>
              <a:gd name="connsiteX173" fmla="*/ 1397858 w 1618335"/>
              <a:gd name="connsiteY173" fmla="*/ 1092799 h 1251813"/>
              <a:gd name="connsiteX174" fmla="*/ 1432255 w 1618335"/>
              <a:gd name="connsiteY174" fmla="*/ 1088852 h 1251813"/>
              <a:gd name="connsiteX175" fmla="*/ 1469471 w 1618335"/>
              <a:gd name="connsiteY175" fmla="*/ 1058967 h 1251813"/>
              <a:gd name="connsiteX176" fmla="*/ 1504995 w 1618335"/>
              <a:gd name="connsiteY176" fmla="*/ 1025698 h 1251813"/>
              <a:gd name="connsiteX177" fmla="*/ 1523604 w 1618335"/>
              <a:gd name="connsiteY177" fmla="*/ 982843 h 1251813"/>
              <a:gd name="connsiteX178" fmla="*/ 1536573 w 1618335"/>
              <a:gd name="connsiteY178" fmla="*/ 935477 h 1251813"/>
              <a:gd name="connsiteX179" fmla="*/ 1548414 w 1618335"/>
              <a:gd name="connsiteY179" fmla="*/ 896569 h 1251813"/>
              <a:gd name="connsiteX180" fmla="*/ 1564203 w 1618335"/>
              <a:gd name="connsiteY180" fmla="*/ 893750 h 1251813"/>
              <a:gd name="connsiteX181" fmla="*/ 1563639 w 1618335"/>
              <a:gd name="connsiteY181" fmla="*/ 864992 h 1251813"/>
              <a:gd name="connsiteX182" fmla="*/ 1559128 w 1618335"/>
              <a:gd name="connsiteY182" fmla="*/ 836234 h 1251813"/>
              <a:gd name="connsiteX183" fmla="*/ 1537701 w 1618335"/>
              <a:gd name="connsiteY183" fmla="*/ 824956 h 1251813"/>
              <a:gd name="connsiteX184" fmla="*/ 1523604 w 1618335"/>
              <a:gd name="connsiteY184" fmla="*/ 805785 h 1251813"/>
              <a:gd name="connsiteX185" fmla="*/ 1539392 w 1618335"/>
              <a:gd name="connsiteY185" fmla="*/ 796199 h 1251813"/>
              <a:gd name="connsiteX186" fmla="*/ 1530370 w 1618335"/>
              <a:gd name="connsiteY186" fmla="*/ 769696 h 1251813"/>
              <a:gd name="connsiteX187" fmla="*/ 1499921 w 1618335"/>
              <a:gd name="connsiteY187" fmla="*/ 742066 h 1251813"/>
              <a:gd name="connsiteX188" fmla="*/ 1469471 w 1618335"/>
              <a:gd name="connsiteY188" fmla="*/ 709361 h 1251813"/>
              <a:gd name="connsiteX189" fmla="*/ 1443533 w 1618335"/>
              <a:gd name="connsiteY189" fmla="*/ 673837 h 1251813"/>
              <a:gd name="connsiteX190" fmla="*/ 1403497 w 1618335"/>
              <a:gd name="connsiteY190" fmla="*/ 654101 h 1251813"/>
              <a:gd name="connsiteX191" fmla="*/ 1408572 w 1618335"/>
              <a:gd name="connsiteY191" fmla="*/ 628162 h 1251813"/>
              <a:gd name="connsiteX192" fmla="*/ 1430000 w 1618335"/>
              <a:gd name="connsiteY192" fmla="*/ 610118 h 1251813"/>
              <a:gd name="connsiteX193" fmla="*/ 1435638 w 1618335"/>
              <a:gd name="connsiteY193" fmla="*/ 590382 h 1251813"/>
              <a:gd name="connsiteX194" fmla="*/ 1473418 w 1618335"/>
              <a:gd name="connsiteY194" fmla="*/ 580233 h 1251813"/>
              <a:gd name="connsiteX195" fmla="*/ 1459885 w 1618335"/>
              <a:gd name="connsiteY195" fmla="*/ 561061 h 1251813"/>
              <a:gd name="connsiteX196" fmla="*/ 1440713 w 1618335"/>
              <a:gd name="connsiteY196" fmla="*/ 559933 h 1251813"/>
              <a:gd name="connsiteX197" fmla="*/ 1408008 w 1618335"/>
              <a:gd name="connsiteY197" fmla="*/ 545836 h 1251813"/>
              <a:gd name="connsiteX198" fmla="*/ 1386017 w 1618335"/>
              <a:gd name="connsiteY198" fmla="*/ 571774 h 1251813"/>
              <a:gd name="connsiteX199" fmla="*/ 1358386 w 1618335"/>
              <a:gd name="connsiteY199" fmla="*/ 561061 h 1251813"/>
              <a:gd name="connsiteX200" fmla="*/ 1349928 w 1618335"/>
              <a:gd name="connsiteY200" fmla="*/ 544708 h 1251813"/>
              <a:gd name="connsiteX201" fmla="*/ 1323426 w 1618335"/>
              <a:gd name="connsiteY201" fmla="*/ 539069 h 1251813"/>
              <a:gd name="connsiteX202" fmla="*/ 1296924 w 1618335"/>
              <a:gd name="connsiteY202" fmla="*/ 514258 h 1251813"/>
              <a:gd name="connsiteX203" fmla="*/ 1303690 w 1618335"/>
              <a:gd name="connsiteY203" fmla="*/ 497342 h 1251813"/>
              <a:gd name="connsiteX204" fmla="*/ 1331884 w 1618335"/>
              <a:gd name="connsiteY204" fmla="*/ 495651 h 1251813"/>
              <a:gd name="connsiteX205" fmla="*/ 1338651 w 1618335"/>
              <a:gd name="connsiteY205" fmla="*/ 472531 h 1251813"/>
              <a:gd name="connsiteX206" fmla="*/ 1358951 w 1618335"/>
              <a:gd name="connsiteY206" fmla="*/ 447721 h 1251813"/>
              <a:gd name="connsiteX207" fmla="*/ 1378122 w 1618335"/>
              <a:gd name="connsiteY207" fmla="*/ 435315 h 1251813"/>
              <a:gd name="connsiteX208" fmla="*/ 1402933 w 1618335"/>
              <a:gd name="connsiteY208" fmla="*/ 453923 h 1251813"/>
              <a:gd name="connsiteX209" fmla="*/ 1392219 w 1618335"/>
              <a:gd name="connsiteY209" fmla="*/ 477606 h 1251813"/>
              <a:gd name="connsiteX210" fmla="*/ 1405189 w 1618335"/>
              <a:gd name="connsiteY210" fmla="*/ 491703 h 1251813"/>
              <a:gd name="connsiteX211" fmla="*/ 1397294 w 1618335"/>
              <a:gd name="connsiteY211" fmla="*/ 508620 h 1251813"/>
              <a:gd name="connsiteX212" fmla="*/ 1424361 w 1618335"/>
              <a:gd name="connsiteY212" fmla="*/ 498470 h 1251813"/>
              <a:gd name="connsiteX213" fmla="*/ 1437894 w 1618335"/>
              <a:gd name="connsiteY213" fmla="*/ 482117 h 1251813"/>
              <a:gd name="connsiteX214" fmla="*/ 1473418 w 1618335"/>
              <a:gd name="connsiteY214" fmla="*/ 471404 h 1251813"/>
              <a:gd name="connsiteX215" fmla="*/ 1485259 w 1618335"/>
              <a:gd name="connsiteY215" fmla="*/ 448849 h 1251813"/>
              <a:gd name="connsiteX216" fmla="*/ 1506687 w 1618335"/>
              <a:gd name="connsiteY216" fmla="*/ 429676 h 1251813"/>
              <a:gd name="connsiteX217" fmla="*/ 1512326 w 1618335"/>
              <a:gd name="connsiteY217" fmla="*/ 404866 h 1251813"/>
              <a:gd name="connsiteX218" fmla="*/ 1532625 w 1618335"/>
              <a:gd name="connsiteY218" fmla="*/ 416143 h 1251813"/>
              <a:gd name="connsiteX219" fmla="*/ 1558564 w 1618335"/>
              <a:gd name="connsiteY219" fmla="*/ 417271 h 1251813"/>
              <a:gd name="connsiteX220" fmla="*/ 1543339 w 1618335"/>
              <a:gd name="connsiteY220" fmla="*/ 398663 h 1251813"/>
              <a:gd name="connsiteX221" fmla="*/ 1578864 w 1618335"/>
              <a:gd name="connsiteY221" fmla="*/ 384002 h 1251813"/>
              <a:gd name="connsiteX222" fmla="*/ 1578300 w 1618335"/>
              <a:gd name="connsiteY222" fmla="*/ 364267 h 1251813"/>
              <a:gd name="connsiteX223" fmla="*/ 1609313 w 1618335"/>
              <a:gd name="connsiteY223" fmla="*/ 384566 h 1251813"/>
              <a:gd name="connsiteX224" fmla="*/ 1609313 w 1618335"/>
              <a:gd name="connsiteY224" fmla="*/ 384566 h 1251813"/>
              <a:gd name="connsiteX225" fmla="*/ 1598600 w 1618335"/>
              <a:gd name="connsiteY225" fmla="*/ 367086 h 1251813"/>
              <a:gd name="connsiteX226" fmla="*/ 1612697 w 1618335"/>
              <a:gd name="connsiteY226" fmla="*/ 366522 h 1251813"/>
              <a:gd name="connsiteX227" fmla="*/ 1591269 w 1618335"/>
              <a:gd name="connsiteY227" fmla="*/ 325359 h 1251813"/>
              <a:gd name="connsiteX228" fmla="*/ 1564767 w 1618335"/>
              <a:gd name="connsiteY228" fmla="*/ 295473 h 1251813"/>
              <a:gd name="connsiteX229" fmla="*/ 1581119 w 1618335"/>
              <a:gd name="connsiteY229" fmla="*/ 283068 h 1251813"/>
              <a:gd name="connsiteX230" fmla="*/ 1619463 w 1618335"/>
              <a:gd name="connsiteY230" fmla="*/ 289270 h 1251813"/>
              <a:gd name="connsiteX231" fmla="*/ 1616080 w 1618335"/>
              <a:gd name="connsiteY231" fmla="*/ 255438 h 1251813"/>
              <a:gd name="connsiteX232" fmla="*/ 1600291 w 1618335"/>
              <a:gd name="connsiteY232" fmla="*/ 217094 h 1251813"/>
              <a:gd name="connsiteX233" fmla="*/ 1602547 w 1618335"/>
              <a:gd name="connsiteY233" fmla="*/ 204124 h 1251813"/>
              <a:gd name="connsiteX234" fmla="*/ 1595216 w 1618335"/>
              <a:gd name="connsiteY234" fmla="*/ 172547 h 1251813"/>
              <a:gd name="connsiteX235" fmla="*/ 1556309 w 1618335"/>
              <a:gd name="connsiteY235" fmla="*/ 182697 h 1251813"/>
              <a:gd name="connsiteX236" fmla="*/ 1541647 w 1618335"/>
              <a:gd name="connsiteY236" fmla="*/ 196794 h 1251813"/>
              <a:gd name="connsiteX237" fmla="*/ 1499356 w 1618335"/>
              <a:gd name="connsiteY237" fmla="*/ 196794 h 1251813"/>
              <a:gd name="connsiteX238" fmla="*/ 1465524 w 1618335"/>
              <a:gd name="connsiteY238" fmla="*/ 164089 h 1251813"/>
              <a:gd name="connsiteX239" fmla="*/ 1415339 w 1618335"/>
              <a:gd name="connsiteY239" fmla="*/ 138715 h 1251813"/>
              <a:gd name="connsiteX240" fmla="*/ 1359515 w 1618335"/>
              <a:gd name="connsiteY240" fmla="*/ 128001 h 12518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</a:cxnLst>
            <a:rect l="l" t="t" r="r" b="b"/>
            <a:pathLst>
              <a:path w="1618335" h="1251813">
                <a:moveTo>
                  <a:pt x="1285082" y="1236025"/>
                </a:moveTo>
                <a:lnTo>
                  <a:pt x="1288466" y="1215725"/>
                </a:lnTo>
                <a:lnTo>
                  <a:pt x="1299743" y="1199937"/>
                </a:lnTo>
                <a:lnTo>
                  <a:pt x="1290721" y="1185840"/>
                </a:lnTo>
                <a:lnTo>
                  <a:pt x="1272677" y="1185276"/>
                </a:lnTo>
                <a:lnTo>
                  <a:pt x="1239972" y="1195426"/>
                </a:lnTo>
                <a:lnTo>
                  <a:pt x="1227567" y="1211214"/>
                </a:lnTo>
                <a:lnTo>
                  <a:pt x="1233205" y="1242228"/>
                </a:lnTo>
                <a:lnTo>
                  <a:pt x="1260836" y="1253505"/>
                </a:lnTo>
                <a:lnTo>
                  <a:pt x="1285082" y="1236025"/>
                </a:lnTo>
                <a:close/>
                <a:moveTo>
                  <a:pt x="1359515" y="128001"/>
                </a:moveTo>
                <a:lnTo>
                  <a:pt x="1325118" y="93604"/>
                </a:lnTo>
                <a:lnTo>
                  <a:pt x="1300307" y="72740"/>
                </a:lnTo>
                <a:lnTo>
                  <a:pt x="1278879" y="57516"/>
                </a:lnTo>
                <a:lnTo>
                  <a:pt x="1235461" y="23119"/>
                </a:lnTo>
                <a:lnTo>
                  <a:pt x="1202192" y="10150"/>
                </a:lnTo>
                <a:lnTo>
                  <a:pt x="1154262" y="0"/>
                </a:lnTo>
                <a:lnTo>
                  <a:pt x="1119302" y="1128"/>
                </a:lnTo>
                <a:lnTo>
                  <a:pt x="1090543" y="7330"/>
                </a:lnTo>
                <a:lnTo>
                  <a:pt x="1080958" y="24247"/>
                </a:lnTo>
                <a:lnTo>
                  <a:pt x="1101821" y="32705"/>
                </a:lnTo>
                <a:lnTo>
                  <a:pt x="1115918" y="51313"/>
                </a:lnTo>
                <a:lnTo>
                  <a:pt x="1109152" y="62591"/>
                </a:lnTo>
                <a:lnTo>
                  <a:pt x="1109715" y="99243"/>
                </a:lnTo>
                <a:lnTo>
                  <a:pt x="1120429" y="114468"/>
                </a:lnTo>
                <a:lnTo>
                  <a:pt x="1095618" y="136459"/>
                </a:lnTo>
                <a:lnTo>
                  <a:pt x="1054456" y="123490"/>
                </a:lnTo>
                <a:lnTo>
                  <a:pt x="1057839" y="149428"/>
                </a:lnTo>
                <a:lnTo>
                  <a:pt x="1059530" y="184389"/>
                </a:lnTo>
                <a:lnTo>
                  <a:pt x="1074755" y="199050"/>
                </a:lnTo>
                <a:lnTo>
                  <a:pt x="1088288" y="194539"/>
                </a:lnTo>
                <a:lnTo>
                  <a:pt x="1118737" y="200177"/>
                </a:lnTo>
                <a:lnTo>
                  <a:pt x="1132834" y="187208"/>
                </a:lnTo>
                <a:lnTo>
                  <a:pt x="1161593" y="198486"/>
                </a:lnTo>
                <a:lnTo>
                  <a:pt x="1202192" y="222733"/>
                </a:lnTo>
                <a:lnTo>
                  <a:pt x="1206139" y="235138"/>
                </a:lnTo>
                <a:lnTo>
                  <a:pt x="1181892" y="231191"/>
                </a:lnTo>
                <a:lnTo>
                  <a:pt x="1143548" y="235702"/>
                </a:lnTo>
                <a:lnTo>
                  <a:pt x="1130015" y="245852"/>
                </a:lnTo>
                <a:lnTo>
                  <a:pt x="1122121" y="268971"/>
                </a:lnTo>
                <a:lnTo>
                  <a:pt x="1086597" y="282504"/>
                </a:lnTo>
                <a:lnTo>
                  <a:pt x="1069116" y="301112"/>
                </a:lnTo>
                <a:lnTo>
                  <a:pt x="1035847" y="293782"/>
                </a:lnTo>
                <a:lnTo>
                  <a:pt x="1017803" y="290962"/>
                </a:lnTo>
                <a:lnTo>
                  <a:pt x="1015548" y="313517"/>
                </a:lnTo>
                <a:lnTo>
                  <a:pt x="1031900" y="326487"/>
                </a:lnTo>
                <a:lnTo>
                  <a:pt x="1042614" y="338328"/>
                </a:lnTo>
                <a:lnTo>
                  <a:pt x="1028517" y="349606"/>
                </a:lnTo>
                <a:lnTo>
                  <a:pt x="1017803" y="368214"/>
                </a:lnTo>
                <a:lnTo>
                  <a:pt x="990173" y="380619"/>
                </a:lnTo>
                <a:lnTo>
                  <a:pt x="947882" y="381747"/>
                </a:lnTo>
                <a:lnTo>
                  <a:pt x="907282" y="394152"/>
                </a:lnTo>
                <a:lnTo>
                  <a:pt x="882472" y="412760"/>
                </a:lnTo>
                <a:lnTo>
                  <a:pt x="864428" y="401482"/>
                </a:lnTo>
                <a:lnTo>
                  <a:pt x="829467" y="402046"/>
                </a:lnTo>
                <a:lnTo>
                  <a:pt x="777026" y="380619"/>
                </a:lnTo>
                <a:lnTo>
                  <a:pt x="746013" y="375544"/>
                </a:lnTo>
                <a:lnTo>
                  <a:pt x="709924" y="380055"/>
                </a:lnTo>
                <a:lnTo>
                  <a:pt x="646770" y="372725"/>
                </a:lnTo>
                <a:lnTo>
                  <a:pt x="615757" y="373288"/>
                </a:lnTo>
                <a:lnTo>
                  <a:pt x="589255" y="352989"/>
                </a:lnTo>
                <a:lnTo>
                  <a:pt x="561624" y="320848"/>
                </a:lnTo>
                <a:lnTo>
                  <a:pt x="542452" y="316900"/>
                </a:lnTo>
                <a:lnTo>
                  <a:pt x="497906" y="295473"/>
                </a:lnTo>
                <a:lnTo>
                  <a:pt x="457307" y="290398"/>
                </a:lnTo>
                <a:lnTo>
                  <a:pt x="421218" y="284759"/>
                </a:lnTo>
                <a:lnTo>
                  <a:pt x="404302" y="269535"/>
                </a:lnTo>
                <a:lnTo>
                  <a:pt x="396971" y="228371"/>
                </a:lnTo>
                <a:lnTo>
                  <a:pt x="364266" y="200177"/>
                </a:lnTo>
                <a:lnTo>
                  <a:pt x="318592" y="187208"/>
                </a:lnTo>
                <a:lnTo>
                  <a:pt x="286451" y="168600"/>
                </a:lnTo>
                <a:lnTo>
                  <a:pt x="267843" y="143789"/>
                </a:lnTo>
                <a:lnTo>
                  <a:pt x="258257" y="146609"/>
                </a:lnTo>
                <a:lnTo>
                  <a:pt x="248107" y="170292"/>
                </a:lnTo>
                <a:lnTo>
                  <a:pt x="226679" y="173675"/>
                </a:lnTo>
                <a:lnTo>
                  <a:pt x="240776" y="208636"/>
                </a:lnTo>
                <a:lnTo>
                  <a:pt x="231755" y="224424"/>
                </a:lnTo>
                <a:lnTo>
                  <a:pt x="171419" y="213147"/>
                </a:lnTo>
                <a:lnTo>
                  <a:pt x="177058" y="275737"/>
                </a:lnTo>
                <a:lnTo>
                  <a:pt x="165780" y="283632"/>
                </a:lnTo>
                <a:lnTo>
                  <a:pt x="115031" y="297165"/>
                </a:lnTo>
                <a:lnTo>
                  <a:pt x="164089" y="357500"/>
                </a:lnTo>
                <a:lnTo>
                  <a:pt x="147736" y="366522"/>
                </a:lnTo>
                <a:lnTo>
                  <a:pt x="157322" y="386258"/>
                </a:lnTo>
                <a:lnTo>
                  <a:pt x="156194" y="394152"/>
                </a:lnTo>
                <a:lnTo>
                  <a:pt x="117850" y="413324"/>
                </a:lnTo>
                <a:lnTo>
                  <a:pt x="112212" y="426857"/>
                </a:lnTo>
                <a:lnTo>
                  <a:pt x="76124" y="431368"/>
                </a:lnTo>
                <a:lnTo>
                  <a:pt x="72740" y="453923"/>
                </a:lnTo>
                <a:lnTo>
                  <a:pt x="40599" y="448849"/>
                </a:lnTo>
                <a:lnTo>
                  <a:pt x="22555" y="455615"/>
                </a:lnTo>
                <a:lnTo>
                  <a:pt x="0" y="472531"/>
                </a:lnTo>
                <a:lnTo>
                  <a:pt x="6203" y="480990"/>
                </a:lnTo>
                <a:lnTo>
                  <a:pt x="564" y="489448"/>
                </a:lnTo>
                <a:lnTo>
                  <a:pt x="17480" y="522717"/>
                </a:lnTo>
                <a:lnTo>
                  <a:pt x="26502" y="519334"/>
                </a:lnTo>
                <a:lnTo>
                  <a:pt x="46238" y="527228"/>
                </a:lnTo>
                <a:lnTo>
                  <a:pt x="49621" y="541325"/>
                </a:lnTo>
                <a:lnTo>
                  <a:pt x="59771" y="562188"/>
                </a:lnTo>
                <a:lnTo>
                  <a:pt x="67666" y="572902"/>
                </a:lnTo>
                <a:lnTo>
                  <a:pt x="94168" y="589819"/>
                </a:lnTo>
                <a:lnTo>
                  <a:pt x="110520" y="618013"/>
                </a:lnTo>
                <a:lnTo>
                  <a:pt x="163525" y="632673"/>
                </a:lnTo>
                <a:lnTo>
                  <a:pt x="206380" y="674964"/>
                </a:lnTo>
                <a:lnTo>
                  <a:pt x="210891" y="704286"/>
                </a:lnTo>
                <a:lnTo>
                  <a:pt x="227807" y="722894"/>
                </a:lnTo>
                <a:lnTo>
                  <a:pt x="231191" y="741502"/>
                </a:lnTo>
                <a:lnTo>
                  <a:pt x="208071" y="736427"/>
                </a:lnTo>
                <a:lnTo>
                  <a:pt x="226116" y="775899"/>
                </a:lnTo>
                <a:lnTo>
                  <a:pt x="261076" y="798454"/>
                </a:lnTo>
                <a:lnTo>
                  <a:pt x="309006" y="823265"/>
                </a:lnTo>
                <a:lnTo>
                  <a:pt x="319720" y="814807"/>
                </a:lnTo>
                <a:lnTo>
                  <a:pt x="346222" y="826084"/>
                </a:lnTo>
                <a:lnTo>
                  <a:pt x="382310" y="849203"/>
                </a:lnTo>
                <a:lnTo>
                  <a:pt x="400355" y="854278"/>
                </a:lnTo>
                <a:lnTo>
                  <a:pt x="414452" y="871759"/>
                </a:lnTo>
                <a:lnTo>
                  <a:pt x="439826" y="878525"/>
                </a:lnTo>
                <a:lnTo>
                  <a:pt x="468020" y="894314"/>
                </a:lnTo>
                <a:lnTo>
                  <a:pt x="504108" y="902772"/>
                </a:lnTo>
                <a:lnTo>
                  <a:pt x="540760" y="906155"/>
                </a:lnTo>
                <a:lnTo>
                  <a:pt x="557677" y="898261"/>
                </a:lnTo>
                <a:lnTo>
                  <a:pt x="566135" y="927019"/>
                </a:lnTo>
                <a:lnTo>
                  <a:pt x="580796" y="899953"/>
                </a:lnTo>
                <a:lnTo>
                  <a:pt x="595457" y="890930"/>
                </a:lnTo>
                <a:lnTo>
                  <a:pt x="619140" y="899389"/>
                </a:lnTo>
                <a:lnTo>
                  <a:pt x="635493" y="899953"/>
                </a:lnTo>
                <a:lnTo>
                  <a:pt x="650717" y="910102"/>
                </a:lnTo>
                <a:lnTo>
                  <a:pt x="674400" y="905591"/>
                </a:lnTo>
                <a:lnTo>
                  <a:pt x="696392" y="878525"/>
                </a:lnTo>
                <a:lnTo>
                  <a:pt x="726277" y="855970"/>
                </a:lnTo>
                <a:lnTo>
                  <a:pt x="753907" y="864428"/>
                </a:lnTo>
                <a:lnTo>
                  <a:pt x="771951" y="849767"/>
                </a:lnTo>
                <a:lnTo>
                  <a:pt x="791687" y="871759"/>
                </a:lnTo>
                <a:lnTo>
                  <a:pt x="784921" y="886983"/>
                </a:lnTo>
                <a:lnTo>
                  <a:pt x="819317" y="892058"/>
                </a:lnTo>
                <a:lnTo>
                  <a:pt x="836234" y="889803"/>
                </a:lnTo>
                <a:lnTo>
                  <a:pt x="851459" y="910666"/>
                </a:lnTo>
                <a:lnTo>
                  <a:pt x="866683" y="919124"/>
                </a:lnTo>
                <a:lnTo>
                  <a:pt x="874014" y="946755"/>
                </a:lnTo>
                <a:lnTo>
                  <a:pt x="878525" y="976640"/>
                </a:lnTo>
                <a:lnTo>
                  <a:pt x="855406" y="1006526"/>
                </a:lnTo>
                <a:lnTo>
                  <a:pt x="859353" y="1048817"/>
                </a:lnTo>
                <a:lnTo>
                  <a:pt x="890930" y="1043178"/>
                </a:lnTo>
                <a:lnTo>
                  <a:pt x="903899" y="1075883"/>
                </a:lnTo>
                <a:lnTo>
                  <a:pt x="924763" y="1083214"/>
                </a:lnTo>
                <a:lnTo>
                  <a:pt x="920252" y="1112535"/>
                </a:lnTo>
                <a:lnTo>
                  <a:pt x="945627" y="1126068"/>
                </a:lnTo>
                <a:lnTo>
                  <a:pt x="959724" y="1132835"/>
                </a:lnTo>
                <a:lnTo>
                  <a:pt x="981151" y="1122685"/>
                </a:lnTo>
                <a:lnTo>
                  <a:pt x="984534" y="1137346"/>
                </a:lnTo>
                <a:lnTo>
                  <a:pt x="988481" y="1145804"/>
                </a:lnTo>
                <a:lnTo>
                  <a:pt x="1004834" y="1146368"/>
                </a:lnTo>
                <a:lnTo>
                  <a:pt x="994120" y="1105769"/>
                </a:lnTo>
                <a:lnTo>
                  <a:pt x="1009345" y="1100130"/>
                </a:lnTo>
                <a:lnTo>
                  <a:pt x="1024570" y="1091672"/>
                </a:lnTo>
                <a:lnTo>
                  <a:pt x="1048817" y="1091672"/>
                </a:lnTo>
                <a:lnTo>
                  <a:pt x="1078702" y="1087725"/>
                </a:lnTo>
                <a:lnTo>
                  <a:pt x="1101821" y="1068553"/>
                </a:lnTo>
                <a:lnTo>
                  <a:pt x="1118737" y="1082086"/>
                </a:lnTo>
                <a:lnTo>
                  <a:pt x="1148060" y="1088289"/>
                </a:lnTo>
                <a:lnTo>
                  <a:pt x="1146931" y="1109152"/>
                </a:lnTo>
                <a:lnTo>
                  <a:pt x="1163848" y="1123813"/>
                </a:lnTo>
                <a:lnTo>
                  <a:pt x="1197117" y="1132835"/>
                </a:lnTo>
                <a:lnTo>
                  <a:pt x="1210650" y="1127196"/>
                </a:lnTo>
                <a:lnTo>
                  <a:pt x="1254069" y="1138474"/>
                </a:lnTo>
                <a:lnTo>
                  <a:pt x="1248994" y="1152571"/>
                </a:lnTo>
                <a:lnTo>
                  <a:pt x="1261399" y="1178509"/>
                </a:lnTo>
                <a:lnTo>
                  <a:pt x="1278316" y="1176254"/>
                </a:lnTo>
                <a:lnTo>
                  <a:pt x="1282827" y="1138474"/>
                </a:lnTo>
                <a:lnTo>
                  <a:pt x="1314404" y="1133399"/>
                </a:lnTo>
                <a:lnTo>
                  <a:pt x="1355003" y="1115355"/>
                </a:lnTo>
                <a:lnTo>
                  <a:pt x="1369100" y="1097311"/>
                </a:lnTo>
                <a:lnTo>
                  <a:pt x="1382070" y="1109152"/>
                </a:lnTo>
                <a:lnTo>
                  <a:pt x="1397858" y="1092799"/>
                </a:lnTo>
                <a:lnTo>
                  <a:pt x="1432255" y="1088852"/>
                </a:lnTo>
                <a:lnTo>
                  <a:pt x="1469471" y="1058967"/>
                </a:lnTo>
                <a:lnTo>
                  <a:pt x="1504995" y="1025698"/>
                </a:lnTo>
                <a:lnTo>
                  <a:pt x="1523604" y="982843"/>
                </a:lnTo>
                <a:lnTo>
                  <a:pt x="1536573" y="935477"/>
                </a:lnTo>
                <a:lnTo>
                  <a:pt x="1548414" y="896569"/>
                </a:lnTo>
                <a:lnTo>
                  <a:pt x="1564203" y="893750"/>
                </a:lnTo>
                <a:lnTo>
                  <a:pt x="1563639" y="864992"/>
                </a:lnTo>
                <a:lnTo>
                  <a:pt x="1559128" y="836234"/>
                </a:lnTo>
                <a:lnTo>
                  <a:pt x="1537701" y="824956"/>
                </a:lnTo>
                <a:lnTo>
                  <a:pt x="1523604" y="805785"/>
                </a:lnTo>
                <a:lnTo>
                  <a:pt x="1539392" y="796199"/>
                </a:lnTo>
                <a:lnTo>
                  <a:pt x="1530370" y="769696"/>
                </a:lnTo>
                <a:lnTo>
                  <a:pt x="1499921" y="742066"/>
                </a:lnTo>
                <a:lnTo>
                  <a:pt x="1469471" y="709361"/>
                </a:lnTo>
                <a:lnTo>
                  <a:pt x="1443533" y="673837"/>
                </a:lnTo>
                <a:lnTo>
                  <a:pt x="1403497" y="654101"/>
                </a:lnTo>
                <a:lnTo>
                  <a:pt x="1408572" y="628162"/>
                </a:lnTo>
                <a:lnTo>
                  <a:pt x="1430000" y="610118"/>
                </a:lnTo>
                <a:lnTo>
                  <a:pt x="1435638" y="590382"/>
                </a:lnTo>
                <a:lnTo>
                  <a:pt x="1473418" y="580233"/>
                </a:lnTo>
                <a:lnTo>
                  <a:pt x="1459885" y="561061"/>
                </a:lnTo>
                <a:lnTo>
                  <a:pt x="1440713" y="559933"/>
                </a:lnTo>
                <a:lnTo>
                  <a:pt x="1408008" y="545836"/>
                </a:lnTo>
                <a:lnTo>
                  <a:pt x="1386017" y="571774"/>
                </a:lnTo>
                <a:lnTo>
                  <a:pt x="1358386" y="561061"/>
                </a:lnTo>
                <a:lnTo>
                  <a:pt x="1349928" y="544708"/>
                </a:lnTo>
                <a:lnTo>
                  <a:pt x="1323426" y="539069"/>
                </a:lnTo>
                <a:lnTo>
                  <a:pt x="1296924" y="514258"/>
                </a:lnTo>
                <a:lnTo>
                  <a:pt x="1303690" y="497342"/>
                </a:lnTo>
                <a:lnTo>
                  <a:pt x="1331884" y="495651"/>
                </a:lnTo>
                <a:lnTo>
                  <a:pt x="1338651" y="472531"/>
                </a:lnTo>
                <a:lnTo>
                  <a:pt x="1358951" y="447721"/>
                </a:lnTo>
                <a:lnTo>
                  <a:pt x="1378122" y="435315"/>
                </a:lnTo>
                <a:lnTo>
                  <a:pt x="1402933" y="453923"/>
                </a:lnTo>
                <a:lnTo>
                  <a:pt x="1392219" y="477606"/>
                </a:lnTo>
                <a:lnTo>
                  <a:pt x="1405189" y="491703"/>
                </a:lnTo>
                <a:lnTo>
                  <a:pt x="1397294" y="508620"/>
                </a:lnTo>
                <a:lnTo>
                  <a:pt x="1424361" y="498470"/>
                </a:lnTo>
                <a:lnTo>
                  <a:pt x="1437894" y="482117"/>
                </a:lnTo>
                <a:lnTo>
                  <a:pt x="1473418" y="471404"/>
                </a:lnTo>
                <a:lnTo>
                  <a:pt x="1485259" y="448849"/>
                </a:lnTo>
                <a:lnTo>
                  <a:pt x="1506687" y="429676"/>
                </a:lnTo>
                <a:lnTo>
                  <a:pt x="1512326" y="404866"/>
                </a:lnTo>
                <a:lnTo>
                  <a:pt x="1532625" y="416143"/>
                </a:lnTo>
                <a:lnTo>
                  <a:pt x="1558564" y="417271"/>
                </a:lnTo>
                <a:lnTo>
                  <a:pt x="1543339" y="398663"/>
                </a:lnTo>
                <a:lnTo>
                  <a:pt x="1578864" y="384002"/>
                </a:lnTo>
                <a:lnTo>
                  <a:pt x="1578300" y="364267"/>
                </a:lnTo>
                <a:lnTo>
                  <a:pt x="1609313" y="384566"/>
                </a:lnTo>
                <a:lnTo>
                  <a:pt x="1609313" y="384566"/>
                </a:lnTo>
                <a:lnTo>
                  <a:pt x="1598600" y="367086"/>
                </a:lnTo>
                <a:lnTo>
                  <a:pt x="1612697" y="366522"/>
                </a:lnTo>
                <a:lnTo>
                  <a:pt x="1591269" y="325359"/>
                </a:lnTo>
                <a:lnTo>
                  <a:pt x="1564767" y="295473"/>
                </a:lnTo>
                <a:lnTo>
                  <a:pt x="1581119" y="283068"/>
                </a:lnTo>
                <a:lnTo>
                  <a:pt x="1619463" y="289270"/>
                </a:lnTo>
                <a:lnTo>
                  <a:pt x="1616080" y="255438"/>
                </a:lnTo>
                <a:lnTo>
                  <a:pt x="1600291" y="217094"/>
                </a:lnTo>
                <a:lnTo>
                  <a:pt x="1602547" y="204124"/>
                </a:lnTo>
                <a:lnTo>
                  <a:pt x="1595216" y="172547"/>
                </a:lnTo>
                <a:lnTo>
                  <a:pt x="1556309" y="182697"/>
                </a:lnTo>
                <a:lnTo>
                  <a:pt x="1541647" y="196794"/>
                </a:lnTo>
                <a:lnTo>
                  <a:pt x="1499356" y="196794"/>
                </a:lnTo>
                <a:lnTo>
                  <a:pt x="1465524" y="164089"/>
                </a:lnTo>
                <a:lnTo>
                  <a:pt x="1415339" y="138715"/>
                </a:lnTo>
                <a:lnTo>
                  <a:pt x="1359515" y="128001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9" name="Freeform: Shape 272">
            <a:extLst>
              <a:ext uri="{FF2B5EF4-FFF2-40B4-BE49-F238E27FC236}">
                <a16:creationId xmlns:a16="http://schemas.microsoft.com/office/drawing/2014/main" id="{29CF7062-D7A8-41B9-9409-0015560A8629}"/>
              </a:ext>
            </a:extLst>
          </p:cNvPr>
          <p:cNvSpPr/>
          <p:nvPr/>
        </p:nvSpPr>
        <p:spPr>
          <a:xfrm>
            <a:off x="5639644" y="3840559"/>
            <a:ext cx="139054" cy="164337"/>
          </a:xfrm>
          <a:custGeom>
            <a:avLst/>
            <a:gdLst>
              <a:gd name="connsiteX0" fmla="*/ 101498 w 186080"/>
              <a:gd name="connsiteY0" fmla="*/ 5639 h 219913"/>
              <a:gd name="connsiteX1" fmla="*/ 88529 w 186080"/>
              <a:gd name="connsiteY1" fmla="*/ 10714 h 219913"/>
              <a:gd name="connsiteX2" fmla="*/ 81199 w 186080"/>
              <a:gd name="connsiteY2" fmla="*/ 15225 h 219913"/>
              <a:gd name="connsiteX3" fmla="*/ 76124 w 186080"/>
              <a:gd name="connsiteY3" fmla="*/ 0 h 219913"/>
              <a:gd name="connsiteX4" fmla="*/ 67102 w 186080"/>
              <a:gd name="connsiteY4" fmla="*/ 3947 h 219913"/>
              <a:gd name="connsiteX5" fmla="*/ 61463 w 186080"/>
              <a:gd name="connsiteY5" fmla="*/ 3383 h 219913"/>
              <a:gd name="connsiteX6" fmla="*/ 55824 w 186080"/>
              <a:gd name="connsiteY6" fmla="*/ 14097 h 219913"/>
              <a:gd name="connsiteX7" fmla="*/ 31577 w 186080"/>
              <a:gd name="connsiteY7" fmla="*/ 13533 h 219913"/>
              <a:gd name="connsiteX8" fmla="*/ 22555 w 186080"/>
              <a:gd name="connsiteY8" fmla="*/ 7894 h 219913"/>
              <a:gd name="connsiteX9" fmla="*/ 18608 w 186080"/>
              <a:gd name="connsiteY9" fmla="*/ 11278 h 219913"/>
              <a:gd name="connsiteX10" fmla="*/ 12405 w 186080"/>
              <a:gd name="connsiteY10" fmla="*/ 14097 h 219913"/>
              <a:gd name="connsiteX11" fmla="*/ 9586 w 186080"/>
              <a:gd name="connsiteY11" fmla="*/ 26502 h 219913"/>
              <a:gd name="connsiteX12" fmla="*/ 16916 w 186080"/>
              <a:gd name="connsiteY12" fmla="*/ 41163 h 219913"/>
              <a:gd name="connsiteX13" fmla="*/ 24247 w 186080"/>
              <a:gd name="connsiteY13" fmla="*/ 69921 h 219913"/>
              <a:gd name="connsiteX14" fmla="*/ 12969 w 186080"/>
              <a:gd name="connsiteY14" fmla="*/ 74432 h 219913"/>
              <a:gd name="connsiteX15" fmla="*/ 9586 w 186080"/>
              <a:gd name="connsiteY15" fmla="*/ 79507 h 219913"/>
              <a:gd name="connsiteX16" fmla="*/ 11841 w 186080"/>
              <a:gd name="connsiteY16" fmla="*/ 86274 h 219913"/>
              <a:gd name="connsiteX17" fmla="*/ 10150 w 186080"/>
              <a:gd name="connsiteY17" fmla="*/ 102062 h 219913"/>
              <a:gd name="connsiteX18" fmla="*/ 5075 w 186080"/>
              <a:gd name="connsiteY18" fmla="*/ 102062 h 219913"/>
              <a:gd name="connsiteX19" fmla="*/ 3383 w 186080"/>
              <a:gd name="connsiteY19" fmla="*/ 112212 h 219913"/>
              <a:gd name="connsiteX20" fmla="*/ 6767 w 186080"/>
              <a:gd name="connsiteY20" fmla="*/ 129692 h 219913"/>
              <a:gd name="connsiteX21" fmla="*/ 0 w 186080"/>
              <a:gd name="connsiteY21" fmla="*/ 145481 h 219913"/>
              <a:gd name="connsiteX22" fmla="*/ 9022 w 186080"/>
              <a:gd name="connsiteY22" fmla="*/ 155631 h 219913"/>
              <a:gd name="connsiteX23" fmla="*/ 19172 w 186080"/>
              <a:gd name="connsiteY23" fmla="*/ 157886 h 219913"/>
              <a:gd name="connsiteX24" fmla="*/ 32141 w 186080"/>
              <a:gd name="connsiteY24" fmla="*/ 173111 h 219913"/>
              <a:gd name="connsiteX25" fmla="*/ 33269 w 186080"/>
              <a:gd name="connsiteY25" fmla="*/ 187208 h 219913"/>
              <a:gd name="connsiteX26" fmla="*/ 30450 w 186080"/>
              <a:gd name="connsiteY26" fmla="*/ 191719 h 219913"/>
              <a:gd name="connsiteX27" fmla="*/ 27630 w 186080"/>
              <a:gd name="connsiteY27" fmla="*/ 221041 h 219913"/>
              <a:gd name="connsiteX28" fmla="*/ 33833 w 186080"/>
              <a:gd name="connsiteY28" fmla="*/ 222169 h 219913"/>
              <a:gd name="connsiteX29" fmla="*/ 65410 w 186080"/>
              <a:gd name="connsiteY29" fmla="*/ 208636 h 219913"/>
              <a:gd name="connsiteX30" fmla="*/ 87401 w 186080"/>
              <a:gd name="connsiteY30" fmla="*/ 198486 h 219913"/>
              <a:gd name="connsiteX31" fmla="*/ 124617 w 186080"/>
              <a:gd name="connsiteY31" fmla="*/ 192283 h 219913"/>
              <a:gd name="connsiteX32" fmla="*/ 144917 w 186080"/>
              <a:gd name="connsiteY32" fmla="*/ 191719 h 219913"/>
              <a:gd name="connsiteX33" fmla="*/ 166908 w 186080"/>
              <a:gd name="connsiteY33" fmla="*/ 199050 h 219913"/>
              <a:gd name="connsiteX34" fmla="*/ 181569 w 186080"/>
              <a:gd name="connsiteY34" fmla="*/ 198486 h 219913"/>
              <a:gd name="connsiteX35" fmla="*/ 182697 w 186080"/>
              <a:gd name="connsiteY35" fmla="*/ 184389 h 219913"/>
              <a:gd name="connsiteX36" fmla="*/ 169164 w 186080"/>
              <a:gd name="connsiteY36" fmla="*/ 153375 h 219913"/>
              <a:gd name="connsiteX37" fmla="*/ 177622 w 186080"/>
              <a:gd name="connsiteY37" fmla="*/ 112776 h 219913"/>
              <a:gd name="connsiteX38" fmla="*/ 190591 w 186080"/>
              <a:gd name="connsiteY38" fmla="*/ 82890 h 219913"/>
              <a:gd name="connsiteX39" fmla="*/ 182697 w 186080"/>
              <a:gd name="connsiteY39" fmla="*/ 31577 h 219913"/>
              <a:gd name="connsiteX40" fmla="*/ 161270 w 186080"/>
              <a:gd name="connsiteY40" fmla="*/ 22555 h 219913"/>
              <a:gd name="connsiteX41" fmla="*/ 146045 w 186080"/>
              <a:gd name="connsiteY41" fmla="*/ 23683 h 219913"/>
              <a:gd name="connsiteX42" fmla="*/ 135331 w 186080"/>
              <a:gd name="connsiteY42" fmla="*/ 32705 h 219913"/>
              <a:gd name="connsiteX43" fmla="*/ 121234 w 186080"/>
              <a:gd name="connsiteY43" fmla="*/ 25375 h 219913"/>
              <a:gd name="connsiteX44" fmla="*/ 115595 w 186080"/>
              <a:gd name="connsiteY44" fmla="*/ 13533 h 219913"/>
              <a:gd name="connsiteX45" fmla="*/ 101498 w 186080"/>
              <a:gd name="connsiteY45" fmla="*/ 5639 h 2199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186080" h="219913">
                <a:moveTo>
                  <a:pt x="101498" y="5639"/>
                </a:moveTo>
                <a:lnTo>
                  <a:pt x="88529" y="10714"/>
                </a:lnTo>
                <a:lnTo>
                  <a:pt x="81199" y="15225"/>
                </a:lnTo>
                <a:lnTo>
                  <a:pt x="76124" y="0"/>
                </a:lnTo>
                <a:lnTo>
                  <a:pt x="67102" y="3947"/>
                </a:lnTo>
                <a:lnTo>
                  <a:pt x="61463" y="3383"/>
                </a:lnTo>
                <a:lnTo>
                  <a:pt x="55824" y="14097"/>
                </a:lnTo>
                <a:lnTo>
                  <a:pt x="31577" y="13533"/>
                </a:lnTo>
                <a:lnTo>
                  <a:pt x="22555" y="7894"/>
                </a:lnTo>
                <a:lnTo>
                  <a:pt x="18608" y="11278"/>
                </a:lnTo>
                <a:lnTo>
                  <a:pt x="12405" y="14097"/>
                </a:lnTo>
                <a:lnTo>
                  <a:pt x="9586" y="26502"/>
                </a:lnTo>
                <a:lnTo>
                  <a:pt x="16916" y="41163"/>
                </a:lnTo>
                <a:lnTo>
                  <a:pt x="24247" y="69921"/>
                </a:lnTo>
                <a:lnTo>
                  <a:pt x="12969" y="74432"/>
                </a:lnTo>
                <a:lnTo>
                  <a:pt x="9586" y="79507"/>
                </a:lnTo>
                <a:lnTo>
                  <a:pt x="11841" y="86274"/>
                </a:lnTo>
                <a:lnTo>
                  <a:pt x="10150" y="102062"/>
                </a:lnTo>
                <a:lnTo>
                  <a:pt x="5075" y="102062"/>
                </a:lnTo>
                <a:lnTo>
                  <a:pt x="3383" y="112212"/>
                </a:lnTo>
                <a:lnTo>
                  <a:pt x="6767" y="129692"/>
                </a:lnTo>
                <a:lnTo>
                  <a:pt x="0" y="145481"/>
                </a:lnTo>
                <a:lnTo>
                  <a:pt x="9022" y="155631"/>
                </a:lnTo>
                <a:lnTo>
                  <a:pt x="19172" y="157886"/>
                </a:lnTo>
                <a:lnTo>
                  <a:pt x="32141" y="173111"/>
                </a:lnTo>
                <a:lnTo>
                  <a:pt x="33269" y="187208"/>
                </a:lnTo>
                <a:lnTo>
                  <a:pt x="30450" y="191719"/>
                </a:lnTo>
                <a:lnTo>
                  <a:pt x="27630" y="221041"/>
                </a:lnTo>
                <a:lnTo>
                  <a:pt x="33833" y="222169"/>
                </a:lnTo>
                <a:lnTo>
                  <a:pt x="65410" y="208636"/>
                </a:lnTo>
                <a:lnTo>
                  <a:pt x="87401" y="198486"/>
                </a:lnTo>
                <a:lnTo>
                  <a:pt x="124617" y="192283"/>
                </a:lnTo>
                <a:lnTo>
                  <a:pt x="144917" y="191719"/>
                </a:lnTo>
                <a:lnTo>
                  <a:pt x="166908" y="199050"/>
                </a:lnTo>
                <a:lnTo>
                  <a:pt x="181569" y="198486"/>
                </a:lnTo>
                <a:lnTo>
                  <a:pt x="182697" y="184389"/>
                </a:lnTo>
                <a:lnTo>
                  <a:pt x="169164" y="153375"/>
                </a:lnTo>
                <a:lnTo>
                  <a:pt x="177622" y="112776"/>
                </a:lnTo>
                <a:lnTo>
                  <a:pt x="190591" y="82890"/>
                </a:lnTo>
                <a:lnTo>
                  <a:pt x="182697" y="31577"/>
                </a:lnTo>
                <a:lnTo>
                  <a:pt x="161270" y="22555"/>
                </a:lnTo>
                <a:lnTo>
                  <a:pt x="146045" y="23683"/>
                </a:lnTo>
                <a:lnTo>
                  <a:pt x="135331" y="32705"/>
                </a:lnTo>
                <a:lnTo>
                  <a:pt x="121234" y="25375"/>
                </a:lnTo>
                <a:lnTo>
                  <a:pt x="115595" y="13533"/>
                </a:lnTo>
                <a:lnTo>
                  <a:pt x="101498" y="5639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0" name="Freeform: Shape 273">
            <a:extLst>
              <a:ext uri="{FF2B5EF4-FFF2-40B4-BE49-F238E27FC236}">
                <a16:creationId xmlns:a16="http://schemas.microsoft.com/office/drawing/2014/main" id="{DBD284E4-CEB8-4DC6-9BB2-7186FB4319F6}"/>
              </a:ext>
            </a:extLst>
          </p:cNvPr>
          <p:cNvSpPr/>
          <p:nvPr/>
        </p:nvSpPr>
        <p:spPr>
          <a:xfrm>
            <a:off x="6043747" y="3777773"/>
            <a:ext cx="176979" cy="294965"/>
          </a:xfrm>
          <a:custGeom>
            <a:avLst/>
            <a:gdLst>
              <a:gd name="connsiteX0" fmla="*/ 201305 w 236829"/>
              <a:gd name="connsiteY0" fmla="*/ 71049 h 394716"/>
              <a:gd name="connsiteX1" fmla="*/ 202433 w 236829"/>
              <a:gd name="connsiteY1" fmla="*/ 46802 h 394716"/>
              <a:gd name="connsiteX2" fmla="*/ 199614 w 236829"/>
              <a:gd name="connsiteY2" fmla="*/ 23119 h 394716"/>
              <a:gd name="connsiteX3" fmla="*/ 187208 w 236829"/>
              <a:gd name="connsiteY3" fmla="*/ 0 h 394716"/>
              <a:gd name="connsiteX4" fmla="*/ 178186 w 236829"/>
              <a:gd name="connsiteY4" fmla="*/ 2256 h 394716"/>
              <a:gd name="connsiteX5" fmla="*/ 177058 w 236829"/>
              <a:gd name="connsiteY5" fmla="*/ 13533 h 394716"/>
              <a:gd name="connsiteX6" fmla="*/ 190027 w 236829"/>
              <a:gd name="connsiteY6" fmla="*/ 28194 h 394716"/>
              <a:gd name="connsiteX7" fmla="*/ 186644 w 236829"/>
              <a:gd name="connsiteY7" fmla="*/ 34397 h 394716"/>
              <a:gd name="connsiteX8" fmla="*/ 184952 w 236829"/>
              <a:gd name="connsiteY8" fmla="*/ 46238 h 394716"/>
              <a:gd name="connsiteX9" fmla="*/ 159014 w 236829"/>
              <a:gd name="connsiteY9" fmla="*/ 74432 h 394716"/>
              <a:gd name="connsiteX10" fmla="*/ 150556 w 236829"/>
              <a:gd name="connsiteY10" fmla="*/ 96987 h 394716"/>
              <a:gd name="connsiteX11" fmla="*/ 146609 w 236829"/>
              <a:gd name="connsiteY11" fmla="*/ 115595 h 394716"/>
              <a:gd name="connsiteX12" fmla="*/ 139842 w 236829"/>
              <a:gd name="connsiteY12" fmla="*/ 123490 h 394716"/>
              <a:gd name="connsiteX13" fmla="*/ 133639 w 236829"/>
              <a:gd name="connsiteY13" fmla="*/ 148864 h 394716"/>
              <a:gd name="connsiteX14" fmla="*/ 116723 w 236829"/>
              <a:gd name="connsiteY14" fmla="*/ 163525 h 394716"/>
              <a:gd name="connsiteX15" fmla="*/ 112212 w 236829"/>
              <a:gd name="connsiteY15" fmla="*/ 181569 h 394716"/>
              <a:gd name="connsiteX16" fmla="*/ 105445 w 236829"/>
              <a:gd name="connsiteY16" fmla="*/ 196230 h 394716"/>
              <a:gd name="connsiteX17" fmla="*/ 102626 w 236829"/>
              <a:gd name="connsiteY17" fmla="*/ 210891 h 394716"/>
              <a:gd name="connsiteX18" fmla="*/ 80634 w 236829"/>
              <a:gd name="connsiteY18" fmla="*/ 223297 h 394716"/>
              <a:gd name="connsiteX19" fmla="*/ 62591 w 236829"/>
              <a:gd name="connsiteY19" fmla="*/ 208636 h 394716"/>
              <a:gd name="connsiteX20" fmla="*/ 50749 w 236829"/>
              <a:gd name="connsiteY20" fmla="*/ 209200 h 394716"/>
              <a:gd name="connsiteX21" fmla="*/ 32141 w 236829"/>
              <a:gd name="connsiteY21" fmla="*/ 230063 h 394716"/>
              <a:gd name="connsiteX22" fmla="*/ 23119 w 236829"/>
              <a:gd name="connsiteY22" fmla="*/ 230627 h 394716"/>
              <a:gd name="connsiteX23" fmla="*/ 7894 w 236829"/>
              <a:gd name="connsiteY23" fmla="*/ 265024 h 394716"/>
              <a:gd name="connsiteX24" fmla="*/ 0 w 236829"/>
              <a:gd name="connsiteY24" fmla="*/ 290398 h 394716"/>
              <a:gd name="connsiteX25" fmla="*/ 0 w 236829"/>
              <a:gd name="connsiteY25" fmla="*/ 300548 h 394716"/>
              <a:gd name="connsiteX26" fmla="*/ 7894 w 236829"/>
              <a:gd name="connsiteY26" fmla="*/ 305623 h 394716"/>
              <a:gd name="connsiteX27" fmla="*/ 14097 w 236829"/>
              <a:gd name="connsiteY27" fmla="*/ 321412 h 394716"/>
              <a:gd name="connsiteX28" fmla="*/ 28758 w 236829"/>
              <a:gd name="connsiteY28" fmla="*/ 327615 h 394716"/>
              <a:gd name="connsiteX29" fmla="*/ 41163 w 236829"/>
              <a:gd name="connsiteY29" fmla="*/ 351297 h 394716"/>
              <a:gd name="connsiteX30" fmla="*/ 36652 w 236829"/>
              <a:gd name="connsiteY30" fmla="*/ 379491 h 394716"/>
              <a:gd name="connsiteX31" fmla="*/ 88529 w 236829"/>
              <a:gd name="connsiteY31" fmla="*/ 380619 h 394716"/>
              <a:gd name="connsiteX32" fmla="*/ 103190 w 236829"/>
              <a:gd name="connsiteY32" fmla="*/ 378364 h 394716"/>
              <a:gd name="connsiteX33" fmla="*/ 122362 w 236829"/>
              <a:gd name="connsiteY33" fmla="*/ 382875 h 394716"/>
              <a:gd name="connsiteX34" fmla="*/ 141534 w 236829"/>
              <a:gd name="connsiteY34" fmla="*/ 378364 h 394716"/>
              <a:gd name="connsiteX35" fmla="*/ 145481 w 236829"/>
              <a:gd name="connsiteY35" fmla="*/ 380055 h 394716"/>
              <a:gd name="connsiteX36" fmla="*/ 185517 w 236829"/>
              <a:gd name="connsiteY36" fmla="*/ 381747 h 394716"/>
              <a:gd name="connsiteX37" fmla="*/ 210891 w 236829"/>
              <a:gd name="connsiteY37" fmla="*/ 391333 h 394716"/>
              <a:gd name="connsiteX38" fmla="*/ 236266 w 236829"/>
              <a:gd name="connsiteY38" fmla="*/ 399791 h 394716"/>
              <a:gd name="connsiteX39" fmla="*/ 238521 w 236829"/>
              <a:gd name="connsiteY39" fmla="*/ 380055 h 394716"/>
              <a:gd name="connsiteX40" fmla="*/ 235138 w 236829"/>
              <a:gd name="connsiteY40" fmla="*/ 369906 h 394716"/>
              <a:gd name="connsiteX41" fmla="*/ 233446 w 236829"/>
              <a:gd name="connsiteY41" fmla="*/ 353553 h 394716"/>
              <a:gd name="connsiteX42" fmla="*/ 218785 w 236829"/>
              <a:gd name="connsiteY42" fmla="*/ 341712 h 394716"/>
              <a:gd name="connsiteX43" fmla="*/ 206944 w 236829"/>
              <a:gd name="connsiteY43" fmla="*/ 323667 h 394716"/>
              <a:gd name="connsiteX44" fmla="*/ 204124 w 236829"/>
              <a:gd name="connsiteY44" fmla="*/ 310698 h 394716"/>
              <a:gd name="connsiteX45" fmla="*/ 189464 w 236829"/>
              <a:gd name="connsiteY45" fmla="*/ 292090 h 394716"/>
              <a:gd name="connsiteX46" fmla="*/ 191719 w 236829"/>
              <a:gd name="connsiteY46" fmla="*/ 281376 h 394716"/>
              <a:gd name="connsiteX47" fmla="*/ 188336 w 236829"/>
              <a:gd name="connsiteY47" fmla="*/ 266151 h 394716"/>
              <a:gd name="connsiteX48" fmla="*/ 190591 w 236829"/>
              <a:gd name="connsiteY48" fmla="*/ 237957 h 394716"/>
              <a:gd name="connsiteX49" fmla="*/ 198485 w 236829"/>
              <a:gd name="connsiteY49" fmla="*/ 231755 h 394716"/>
              <a:gd name="connsiteX50" fmla="*/ 213711 w 236829"/>
              <a:gd name="connsiteY50" fmla="*/ 195103 h 394716"/>
              <a:gd name="connsiteX51" fmla="*/ 218785 w 236829"/>
              <a:gd name="connsiteY51" fmla="*/ 185517 h 394716"/>
              <a:gd name="connsiteX52" fmla="*/ 208636 w 236829"/>
              <a:gd name="connsiteY52" fmla="*/ 160706 h 394716"/>
              <a:gd name="connsiteX53" fmla="*/ 204124 w 236829"/>
              <a:gd name="connsiteY53" fmla="*/ 146045 h 394716"/>
              <a:gd name="connsiteX54" fmla="*/ 190027 w 236829"/>
              <a:gd name="connsiteY54" fmla="*/ 139842 h 394716"/>
              <a:gd name="connsiteX55" fmla="*/ 171420 w 236829"/>
              <a:gd name="connsiteY55" fmla="*/ 118979 h 394716"/>
              <a:gd name="connsiteX56" fmla="*/ 178186 w 236829"/>
              <a:gd name="connsiteY56" fmla="*/ 102062 h 394716"/>
              <a:gd name="connsiteX57" fmla="*/ 192283 w 236829"/>
              <a:gd name="connsiteY57" fmla="*/ 105446 h 394716"/>
              <a:gd name="connsiteX58" fmla="*/ 201305 w 236829"/>
              <a:gd name="connsiteY58" fmla="*/ 103190 h 394716"/>
              <a:gd name="connsiteX59" fmla="*/ 218785 w 236829"/>
              <a:gd name="connsiteY59" fmla="*/ 103754 h 394716"/>
              <a:gd name="connsiteX60" fmla="*/ 201305 w 236829"/>
              <a:gd name="connsiteY60" fmla="*/ 71049 h 3947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</a:cxnLst>
            <a:rect l="l" t="t" r="r" b="b"/>
            <a:pathLst>
              <a:path w="236829" h="394716">
                <a:moveTo>
                  <a:pt x="201305" y="71049"/>
                </a:moveTo>
                <a:lnTo>
                  <a:pt x="202433" y="46802"/>
                </a:lnTo>
                <a:lnTo>
                  <a:pt x="199614" y="23119"/>
                </a:lnTo>
                <a:lnTo>
                  <a:pt x="187208" y="0"/>
                </a:lnTo>
                <a:lnTo>
                  <a:pt x="178186" y="2256"/>
                </a:lnTo>
                <a:lnTo>
                  <a:pt x="177058" y="13533"/>
                </a:lnTo>
                <a:lnTo>
                  <a:pt x="190027" y="28194"/>
                </a:lnTo>
                <a:lnTo>
                  <a:pt x="186644" y="34397"/>
                </a:lnTo>
                <a:lnTo>
                  <a:pt x="184952" y="46238"/>
                </a:lnTo>
                <a:lnTo>
                  <a:pt x="159014" y="74432"/>
                </a:lnTo>
                <a:lnTo>
                  <a:pt x="150556" y="96987"/>
                </a:lnTo>
                <a:lnTo>
                  <a:pt x="146609" y="115595"/>
                </a:lnTo>
                <a:lnTo>
                  <a:pt x="139842" y="123490"/>
                </a:lnTo>
                <a:lnTo>
                  <a:pt x="133639" y="148864"/>
                </a:lnTo>
                <a:lnTo>
                  <a:pt x="116723" y="163525"/>
                </a:lnTo>
                <a:lnTo>
                  <a:pt x="112212" y="181569"/>
                </a:lnTo>
                <a:lnTo>
                  <a:pt x="105445" y="196230"/>
                </a:lnTo>
                <a:lnTo>
                  <a:pt x="102626" y="210891"/>
                </a:lnTo>
                <a:lnTo>
                  <a:pt x="80634" y="223297"/>
                </a:lnTo>
                <a:lnTo>
                  <a:pt x="62591" y="208636"/>
                </a:lnTo>
                <a:lnTo>
                  <a:pt x="50749" y="209200"/>
                </a:lnTo>
                <a:lnTo>
                  <a:pt x="32141" y="230063"/>
                </a:lnTo>
                <a:lnTo>
                  <a:pt x="23119" y="230627"/>
                </a:lnTo>
                <a:lnTo>
                  <a:pt x="7894" y="265024"/>
                </a:lnTo>
                <a:lnTo>
                  <a:pt x="0" y="290398"/>
                </a:lnTo>
                <a:lnTo>
                  <a:pt x="0" y="300548"/>
                </a:lnTo>
                <a:lnTo>
                  <a:pt x="7894" y="305623"/>
                </a:lnTo>
                <a:lnTo>
                  <a:pt x="14097" y="321412"/>
                </a:lnTo>
                <a:lnTo>
                  <a:pt x="28758" y="327615"/>
                </a:lnTo>
                <a:lnTo>
                  <a:pt x="41163" y="351297"/>
                </a:lnTo>
                <a:lnTo>
                  <a:pt x="36652" y="379491"/>
                </a:lnTo>
                <a:lnTo>
                  <a:pt x="88529" y="380619"/>
                </a:lnTo>
                <a:lnTo>
                  <a:pt x="103190" y="378364"/>
                </a:lnTo>
                <a:lnTo>
                  <a:pt x="122362" y="382875"/>
                </a:lnTo>
                <a:lnTo>
                  <a:pt x="141534" y="378364"/>
                </a:lnTo>
                <a:lnTo>
                  <a:pt x="145481" y="380055"/>
                </a:lnTo>
                <a:lnTo>
                  <a:pt x="185517" y="381747"/>
                </a:lnTo>
                <a:lnTo>
                  <a:pt x="210891" y="391333"/>
                </a:lnTo>
                <a:lnTo>
                  <a:pt x="236266" y="399791"/>
                </a:lnTo>
                <a:lnTo>
                  <a:pt x="238521" y="380055"/>
                </a:lnTo>
                <a:lnTo>
                  <a:pt x="235138" y="369906"/>
                </a:lnTo>
                <a:lnTo>
                  <a:pt x="233446" y="353553"/>
                </a:lnTo>
                <a:lnTo>
                  <a:pt x="218785" y="341712"/>
                </a:lnTo>
                <a:lnTo>
                  <a:pt x="206944" y="323667"/>
                </a:lnTo>
                <a:lnTo>
                  <a:pt x="204124" y="310698"/>
                </a:lnTo>
                <a:lnTo>
                  <a:pt x="189464" y="292090"/>
                </a:lnTo>
                <a:lnTo>
                  <a:pt x="191719" y="281376"/>
                </a:lnTo>
                <a:lnTo>
                  <a:pt x="188336" y="266151"/>
                </a:lnTo>
                <a:lnTo>
                  <a:pt x="190591" y="237957"/>
                </a:lnTo>
                <a:lnTo>
                  <a:pt x="198485" y="231755"/>
                </a:lnTo>
                <a:lnTo>
                  <a:pt x="213711" y="195103"/>
                </a:lnTo>
                <a:lnTo>
                  <a:pt x="218785" y="185517"/>
                </a:lnTo>
                <a:lnTo>
                  <a:pt x="208636" y="160706"/>
                </a:lnTo>
                <a:lnTo>
                  <a:pt x="204124" y="146045"/>
                </a:lnTo>
                <a:lnTo>
                  <a:pt x="190027" y="139842"/>
                </a:lnTo>
                <a:lnTo>
                  <a:pt x="171420" y="118979"/>
                </a:lnTo>
                <a:lnTo>
                  <a:pt x="178186" y="102062"/>
                </a:lnTo>
                <a:lnTo>
                  <a:pt x="192283" y="105446"/>
                </a:lnTo>
                <a:lnTo>
                  <a:pt x="201305" y="103190"/>
                </a:lnTo>
                <a:lnTo>
                  <a:pt x="218785" y="103754"/>
                </a:lnTo>
                <a:lnTo>
                  <a:pt x="201305" y="71049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1" name="Freeform: Shape 274">
            <a:extLst>
              <a:ext uri="{FF2B5EF4-FFF2-40B4-BE49-F238E27FC236}">
                <a16:creationId xmlns:a16="http://schemas.microsoft.com/office/drawing/2014/main" id="{1997F398-6650-42D8-808D-47FA9A4F4464}"/>
              </a:ext>
            </a:extLst>
          </p:cNvPr>
          <p:cNvSpPr/>
          <p:nvPr/>
        </p:nvSpPr>
        <p:spPr>
          <a:xfrm>
            <a:off x="6130551" y="3981720"/>
            <a:ext cx="446662" cy="493014"/>
          </a:xfrm>
          <a:custGeom>
            <a:avLst/>
            <a:gdLst>
              <a:gd name="connsiteX0" fmla="*/ 450540 w 597712"/>
              <a:gd name="connsiteY0" fmla="*/ 3947 h 659739"/>
              <a:gd name="connsiteX1" fmla="*/ 426293 w 597712"/>
              <a:gd name="connsiteY1" fmla="*/ 0 h 659739"/>
              <a:gd name="connsiteX2" fmla="*/ 415016 w 597712"/>
              <a:gd name="connsiteY2" fmla="*/ 3383 h 659739"/>
              <a:gd name="connsiteX3" fmla="*/ 409941 w 597712"/>
              <a:gd name="connsiteY3" fmla="*/ 11841 h 659739"/>
              <a:gd name="connsiteX4" fmla="*/ 399791 w 597712"/>
              <a:gd name="connsiteY4" fmla="*/ 12969 h 659739"/>
              <a:gd name="connsiteX5" fmla="*/ 387385 w 597712"/>
              <a:gd name="connsiteY5" fmla="*/ 5639 h 659739"/>
              <a:gd name="connsiteX6" fmla="*/ 352425 w 597712"/>
              <a:gd name="connsiteY6" fmla="*/ 23119 h 659739"/>
              <a:gd name="connsiteX7" fmla="*/ 337764 w 597712"/>
              <a:gd name="connsiteY7" fmla="*/ 19736 h 659739"/>
              <a:gd name="connsiteX8" fmla="*/ 333253 w 597712"/>
              <a:gd name="connsiteY8" fmla="*/ 22555 h 659739"/>
              <a:gd name="connsiteX9" fmla="*/ 324231 w 597712"/>
              <a:gd name="connsiteY9" fmla="*/ 43983 h 659739"/>
              <a:gd name="connsiteX10" fmla="*/ 300548 w 597712"/>
              <a:gd name="connsiteY10" fmla="*/ 37216 h 659739"/>
              <a:gd name="connsiteX11" fmla="*/ 277429 w 597712"/>
              <a:gd name="connsiteY11" fmla="*/ 33833 h 659739"/>
              <a:gd name="connsiteX12" fmla="*/ 257129 w 597712"/>
              <a:gd name="connsiteY12" fmla="*/ 20300 h 659739"/>
              <a:gd name="connsiteX13" fmla="*/ 231191 w 597712"/>
              <a:gd name="connsiteY13" fmla="*/ 8458 h 659739"/>
              <a:gd name="connsiteX14" fmla="*/ 214274 w 597712"/>
              <a:gd name="connsiteY14" fmla="*/ 19736 h 659739"/>
              <a:gd name="connsiteX15" fmla="*/ 201869 w 597712"/>
              <a:gd name="connsiteY15" fmla="*/ 37780 h 659739"/>
              <a:gd name="connsiteX16" fmla="*/ 199050 w 597712"/>
              <a:gd name="connsiteY16" fmla="*/ 63155 h 659739"/>
              <a:gd name="connsiteX17" fmla="*/ 197358 w 597712"/>
              <a:gd name="connsiteY17" fmla="*/ 84582 h 659739"/>
              <a:gd name="connsiteX18" fmla="*/ 188336 w 597712"/>
              <a:gd name="connsiteY18" fmla="*/ 103754 h 659739"/>
              <a:gd name="connsiteX19" fmla="*/ 182134 w 597712"/>
              <a:gd name="connsiteY19" fmla="*/ 126309 h 659739"/>
              <a:gd name="connsiteX20" fmla="*/ 178186 w 597712"/>
              <a:gd name="connsiteY20" fmla="*/ 157886 h 659739"/>
              <a:gd name="connsiteX21" fmla="*/ 179878 w 597712"/>
              <a:gd name="connsiteY21" fmla="*/ 178186 h 659739"/>
              <a:gd name="connsiteX22" fmla="*/ 174803 w 597712"/>
              <a:gd name="connsiteY22" fmla="*/ 190591 h 659739"/>
              <a:gd name="connsiteX23" fmla="*/ 173675 w 597712"/>
              <a:gd name="connsiteY23" fmla="*/ 204125 h 659739"/>
              <a:gd name="connsiteX24" fmla="*/ 170291 w 597712"/>
              <a:gd name="connsiteY24" fmla="*/ 215402 h 659739"/>
              <a:gd name="connsiteX25" fmla="*/ 149428 w 597712"/>
              <a:gd name="connsiteY25" fmla="*/ 232882 h 659739"/>
              <a:gd name="connsiteX26" fmla="*/ 134767 w 597712"/>
              <a:gd name="connsiteY26" fmla="*/ 250927 h 659739"/>
              <a:gd name="connsiteX27" fmla="*/ 120670 w 597712"/>
              <a:gd name="connsiteY27" fmla="*/ 285887 h 659739"/>
              <a:gd name="connsiteX28" fmla="*/ 121798 w 597712"/>
              <a:gd name="connsiteY28" fmla="*/ 315773 h 659739"/>
              <a:gd name="connsiteX29" fmla="*/ 113903 w 597712"/>
              <a:gd name="connsiteY29" fmla="*/ 327050 h 659739"/>
              <a:gd name="connsiteX30" fmla="*/ 95296 w 597712"/>
              <a:gd name="connsiteY30" fmla="*/ 344531 h 659739"/>
              <a:gd name="connsiteX31" fmla="*/ 76124 w 597712"/>
              <a:gd name="connsiteY31" fmla="*/ 367086 h 659739"/>
              <a:gd name="connsiteX32" fmla="*/ 64846 w 597712"/>
              <a:gd name="connsiteY32" fmla="*/ 360883 h 659739"/>
              <a:gd name="connsiteX33" fmla="*/ 62591 w 597712"/>
              <a:gd name="connsiteY33" fmla="*/ 350733 h 659739"/>
              <a:gd name="connsiteX34" fmla="*/ 45110 w 597712"/>
              <a:gd name="connsiteY34" fmla="*/ 350169 h 659739"/>
              <a:gd name="connsiteX35" fmla="*/ 34397 w 597712"/>
              <a:gd name="connsiteY35" fmla="*/ 363703 h 659739"/>
              <a:gd name="connsiteX36" fmla="*/ 25938 w 597712"/>
              <a:gd name="connsiteY36" fmla="*/ 360319 h 659739"/>
              <a:gd name="connsiteX37" fmla="*/ 14661 w 597712"/>
              <a:gd name="connsiteY37" fmla="*/ 367650 h 659739"/>
              <a:gd name="connsiteX38" fmla="*/ 9586 w 597712"/>
              <a:gd name="connsiteY38" fmla="*/ 377236 h 659739"/>
              <a:gd name="connsiteX39" fmla="*/ 8458 w 597712"/>
              <a:gd name="connsiteY39" fmla="*/ 392460 h 659739"/>
              <a:gd name="connsiteX40" fmla="*/ 0 w 597712"/>
              <a:gd name="connsiteY40" fmla="*/ 396408 h 659739"/>
              <a:gd name="connsiteX41" fmla="*/ 4511 w 597712"/>
              <a:gd name="connsiteY41" fmla="*/ 407685 h 659739"/>
              <a:gd name="connsiteX42" fmla="*/ 17480 w 597712"/>
              <a:gd name="connsiteY42" fmla="*/ 402610 h 659739"/>
              <a:gd name="connsiteX43" fmla="*/ 27067 w 597712"/>
              <a:gd name="connsiteY43" fmla="*/ 403174 h 659739"/>
              <a:gd name="connsiteX44" fmla="*/ 37780 w 597712"/>
              <a:gd name="connsiteY44" fmla="*/ 399227 h 659739"/>
              <a:gd name="connsiteX45" fmla="*/ 131384 w 597712"/>
              <a:gd name="connsiteY45" fmla="*/ 399791 h 659739"/>
              <a:gd name="connsiteX46" fmla="*/ 138714 w 597712"/>
              <a:gd name="connsiteY46" fmla="*/ 426293 h 659739"/>
              <a:gd name="connsiteX47" fmla="*/ 147736 w 597712"/>
              <a:gd name="connsiteY47" fmla="*/ 447721 h 659739"/>
              <a:gd name="connsiteX48" fmla="*/ 155067 w 597712"/>
              <a:gd name="connsiteY48" fmla="*/ 459562 h 659739"/>
              <a:gd name="connsiteX49" fmla="*/ 166908 w 597712"/>
              <a:gd name="connsiteY49" fmla="*/ 478170 h 659739"/>
              <a:gd name="connsiteX50" fmla="*/ 187772 w 597712"/>
              <a:gd name="connsiteY50" fmla="*/ 475351 h 659739"/>
              <a:gd name="connsiteX51" fmla="*/ 198485 w 597712"/>
              <a:gd name="connsiteY51" fmla="*/ 470276 h 659739"/>
              <a:gd name="connsiteX52" fmla="*/ 215402 w 597712"/>
              <a:gd name="connsiteY52" fmla="*/ 475351 h 659739"/>
              <a:gd name="connsiteX53" fmla="*/ 220477 w 597712"/>
              <a:gd name="connsiteY53" fmla="*/ 466329 h 659739"/>
              <a:gd name="connsiteX54" fmla="*/ 228935 w 597712"/>
              <a:gd name="connsiteY54" fmla="*/ 445465 h 659739"/>
              <a:gd name="connsiteX55" fmla="*/ 248107 w 597712"/>
              <a:gd name="connsiteY55" fmla="*/ 443774 h 659739"/>
              <a:gd name="connsiteX56" fmla="*/ 249799 w 597712"/>
              <a:gd name="connsiteY56" fmla="*/ 437571 h 659739"/>
              <a:gd name="connsiteX57" fmla="*/ 266151 w 597712"/>
              <a:gd name="connsiteY57" fmla="*/ 437571 h 659739"/>
              <a:gd name="connsiteX58" fmla="*/ 263332 w 597712"/>
              <a:gd name="connsiteY58" fmla="*/ 450540 h 659739"/>
              <a:gd name="connsiteX59" fmla="*/ 301676 w 597712"/>
              <a:gd name="connsiteY59" fmla="*/ 450540 h 659739"/>
              <a:gd name="connsiteX60" fmla="*/ 301676 w 597712"/>
              <a:gd name="connsiteY60" fmla="*/ 473095 h 659739"/>
              <a:gd name="connsiteX61" fmla="*/ 308442 w 597712"/>
              <a:gd name="connsiteY61" fmla="*/ 486628 h 659739"/>
              <a:gd name="connsiteX62" fmla="*/ 303368 w 597712"/>
              <a:gd name="connsiteY62" fmla="*/ 508056 h 659739"/>
              <a:gd name="connsiteX63" fmla="*/ 305059 w 597712"/>
              <a:gd name="connsiteY63" fmla="*/ 530611 h 659739"/>
              <a:gd name="connsiteX64" fmla="*/ 315773 w 597712"/>
              <a:gd name="connsiteY64" fmla="*/ 543580 h 659739"/>
              <a:gd name="connsiteX65" fmla="*/ 312953 w 597712"/>
              <a:gd name="connsiteY65" fmla="*/ 586435 h 659739"/>
              <a:gd name="connsiteX66" fmla="*/ 320848 w 597712"/>
              <a:gd name="connsiteY66" fmla="*/ 583052 h 659739"/>
              <a:gd name="connsiteX67" fmla="*/ 334381 w 597712"/>
              <a:gd name="connsiteY67" fmla="*/ 584180 h 659739"/>
              <a:gd name="connsiteX68" fmla="*/ 354117 w 597712"/>
              <a:gd name="connsiteY68" fmla="*/ 578541 h 659739"/>
              <a:gd name="connsiteX69" fmla="*/ 368778 w 597712"/>
              <a:gd name="connsiteY69" fmla="*/ 580796 h 659739"/>
              <a:gd name="connsiteX70" fmla="*/ 379492 w 597712"/>
              <a:gd name="connsiteY70" fmla="*/ 581360 h 659739"/>
              <a:gd name="connsiteX71" fmla="*/ 381183 w 597712"/>
              <a:gd name="connsiteY71" fmla="*/ 592638 h 659739"/>
              <a:gd name="connsiteX72" fmla="*/ 395844 w 597712"/>
              <a:gd name="connsiteY72" fmla="*/ 592074 h 659739"/>
              <a:gd name="connsiteX73" fmla="*/ 415579 w 597712"/>
              <a:gd name="connsiteY73" fmla="*/ 595457 h 659739"/>
              <a:gd name="connsiteX74" fmla="*/ 425729 w 597712"/>
              <a:gd name="connsiteY74" fmla="*/ 611246 h 659739"/>
              <a:gd name="connsiteX75" fmla="*/ 451104 w 597712"/>
              <a:gd name="connsiteY75" fmla="*/ 616321 h 659739"/>
              <a:gd name="connsiteX76" fmla="*/ 470276 w 597712"/>
              <a:gd name="connsiteY76" fmla="*/ 605043 h 659739"/>
              <a:gd name="connsiteX77" fmla="*/ 477042 w 597712"/>
              <a:gd name="connsiteY77" fmla="*/ 624215 h 659739"/>
              <a:gd name="connsiteX78" fmla="*/ 501289 w 597712"/>
              <a:gd name="connsiteY78" fmla="*/ 628726 h 659739"/>
              <a:gd name="connsiteX79" fmla="*/ 512567 w 597712"/>
              <a:gd name="connsiteY79" fmla="*/ 644515 h 659739"/>
              <a:gd name="connsiteX80" fmla="*/ 524408 w 597712"/>
              <a:gd name="connsiteY80" fmla="*/ 664251 h 659739"/>
              <a:gd name="connsiteX81" fmla="*/ 548656 w 597712"/>
              <a:gd name="connsiteY81" fmla="*/ 664251 h 659739"/>
              <a:gd name="connsiteX82" fmla="*/ 546964 w 597712"/>
              <a:gd name="connsiteY82" fmla="*/ 625343 h 659739"/>
              <a:gd name="connsiteX83" fmla="*/ 538505 w 597712"/>
              <a:gd name="connsiteY83" fmla="*/ 632109 h 659739"/>
              <a:gd name="connsiteX84" fmla="*/ 516514 w 597712"/>
              <a:gd name="connsiteY84" fmla="*/ 618012 h 659739"/>
              <a:gd name="connsiteX85" fmla="*/ 508620 w 597712"/>
              <a:gd name="connsiteY85" fmla="*/ 611810 h 659739"/>
              <a:gd name="connsiteX86" fmla="*/ 513131 w 597712"/>
              <a:gd name="connsiteY86" fmla="*/ 575721 h 659739"/>
              <a:gd name="connsiteX87" fmla="*/ 519897 w 597712"/>
              <a:gd name="connsiteY87" fmla="*/ 533430 h 659739"/>
              <a:gd name="connsiteX88" fmla="*/ 513131 w 597712"/>
              <a:gd name="connsiteY88" fmla="*/ 517642 h 659739"/>
              <a:gd name="connsiteX89" fmla="*/ 522153 w 597712"/>
              <a:gd name="connsiteY89" fmla="*/ 494523 h 659739"/>
              <a:gd name="connsiteX90" fmla="*/ 531175 w 597712"/>
              <a:gd name="connsiteY90" fmla="*/ 490576 h 659739"/>
              <a:gd name="connsiteX91" fmla="*/ 573466 w 597712"/>
              <a:gd name="connsiteY91" fmla="*/ 484373 h 659739"/>
              <a:gd name="connsiteX92" fmla="*/ 579105 w 597712"/>
              <a:gd name="connsiteY92" fmla="*/ 486065 h 659739"/>
              <a:gd name="connsiteX93" fmla="*/ 580233 w 597712"/>
              <a:gd name="connsiteY93" fmla="*/ 479862 h 659739"/>
              <a:gd name="connsiteX94" fmla="*/ 571774 w 597712"/>
              <a:gd name="connsiteY94" fmla="*/ 470276 h 659739"/>
              <a:gd name="connsiteX95" fmla="*/ 567827 w 597712"/>
              <a:gd name="connsiteY95" fmla="*/ 450540 h 659739"/>
              <a:gd name="connsiteX96" fmla="*/ 548656 w 597712"/>
              <a:gd name="connsiteY96" fmla="*/ 430804 h 659739"/>
              <a:gd name="connsiteX97" fmla="*/ 538505 w 597712"/>
              <a:gd name="connsiteY97" fmla="*/ 405430 h 659739"/>
              <a:gd name="connsiteX98" fmla="*/ 544144 w 597712"/>
              <a:gd name="connsiteY98" fmla="*/ 390205 h 659739"/>
              <a:gd name="connsiteX99" fmla="*/ 535686 w 597712"/>
              <a:gd name="connsiteY99" fmla="*/ 369905 h 659739"/>
              <a:gd name="connsiteX100" fmla="*/ 541889 w 597712"/>
              <a:gd name="connsiteY100" fmla="*/ 312389 h 659739"/>
              <a:gd name="connsiteX101" fmla="*/ 542452 w 597712"/>
              <a:gd name="connsiteY101" fmla="*/ 312953 h 659739"/>
              <a:gd name="connsiteX102" fmla="*/ 541889 w 597712"/>
              <a:gd name="connsiteY102" fmla="*/ 306751 h 659739"/>
              <a:gd name="connsiteX103" fmla="*/ 533994 w 597712"/>
              <a:gd name="connsiteY103" fmla="*/ 290398 h 659739"/>
              <a:gd name="connsiteX104" fmla="*/ 537378 w 597712"/>
              <a:gd name="connsiteY104" fmla="*/ 270662 h 659739"/>
              <a:gd name="connsiteX105" fmla="*/ 541889 w 597712"/>
              <a:gd name="connsiteY105" fmla="*/ 268407 h 659739"/>
              <a:gd name="connsiteX106" fmla="*/ 543017 w 597712"/>
              <a:gd name="connsiteY106" fmla="*/ 246979 h 659739"/>
              <a:gd name="connsiteX107" fmla="*/ 552039 w 597712"/>
              <a:gd name="connsiteY107" fmla="*/ 236830 h 659739"/>
              <a:gd name="connsiteX108" fmla="*/ 552602 w 597712"/>
              <a:gd name="connsiteY108" fmla="*/ 209763 h 659739"/>
              <a:gd name="connsiteX109" fmla="*/ 559933 w 597712"/>
              <a:gd name="connsiteY109" fmla="*/ 196230 h 659739"/>
              <a:gd name="connsiteX110" fmla="*/ 561624 w 597712"/>
              <a:gd name="connsiteY110" fmla="*/ 167472 h 659739"/>
              <a:gd name="connsiteX111" fmla="*/ 568391 w 597712"/>
              <a:gd name="connsiteY111" fmla="*/ 150556 h 659739"/>
              <a:gd name="connsiteX112" fmla="*/ 580233 w 597712"/>
              <a:gd name="connsiteY112" fmla="*/ 131948 h 659739"/>
              <a:gd name="connsiteX113" fmla="*/ 592638 w 597712"/>
              <a:gd name="connsiteY113" fmla="*/ 122362 h 659739"/>
              <a:gd name="connsiteX114" fmla="*/ 602788 w 597712"/>
              <a:gd name="connsiteY114" fmla="*/ 109393 h 659739"/>
              <a:gd name="connsiteX115" fmla="*/ 589818 w 597712"/>
              <a:gd name="connsiteY115" fmla="*/ 104882 h 659739"/>
              <a:gd name="connsiteX116" fmla="*/ 591510 w 597712"/>
              <a:gd name="connsiteY116" fmla="*/ 62591 h 659739"/>
              <a:gd name="connsiteX117" fmla="*/ 591510 w 597712"/>
              <a:gd name="connsiteY117" fmla="*/ 62591 h 659739"/>
              <a:gd name="connsiteX118" fmla="*/ 563316 w 597712"/>
              <a:gd name="connsiteY118" fmla="*/ 38908 h 659739"/>
              <a:gd name="connsiteX119" fmla="*/ 555422 w 597712"/>
              <a:gd name="connsiteY119" fmla="*/ 23683 h 659739"/>
              <a:gd name="connsiteX120" fmla="*/ 537942 w 597712"/>
              <a:gd name="connsiteY120" fmla="*/ 31013 h 659739"/>
              <a:gd name="connsiteX121" fmla="*/ 523281 w 597712"/>
              <a:gd name="connsiteY121" fmla="*/ 28758 h 659739"/>
              <a:gd name="connsiteX122" fmla="*/ 514823 w 597712"/>
              <a:gd name="connsiteY122" fmla="*/ 34961 h 659739"/>
              <a:gd name="connsiteX123" fmla="*/ 500726 w 597712"/>
              <a:gd name="connsiteY123" fmla="*/ 30449 h 659739"/>
              <a:gd name="connsiteX124" fmla="*/ 480990 w 597712"/>
              <a:gd name="connsiteY124" fmla="*/ 1128 h 659739"/>
              <a:gd name="connsiteX125" fmla="*/ 470840 w 597712"/>
              <a:gd name="connsiteY125" fmla="*/ 4511 h 659739"/>
              <a:gd name="connsiteX126" fmla="*/ 450540 w 597712"/>
              <a:gd name="connsiteY126" fmla="*/ 3947 h 6597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</a:cxnLst>
            <a:rect l="l" t="t" r="r" b="b"/>
            <a:pathLst>
              <a:path w="597712" h="659739">
                <a:moveTo>
                  <a:pt x="450540" y="3947"/>
                </a:moveTo>
                <a:lnTo>
                  <a:pt x="426293" y="0"/>
                </a:lnTo>
                <a:lnTo>
                  <a:pt x="415016" y="3383"/>
                </a:lnTo>
                <a:lnTo>
                  <a:pt x="409941" y="11841"/>
                </a:lnTo>
                <a:lnTo>
                  <a:pt x="399791" y="12969"/>
                </a:lnTo>
                <a:lnTo>
                  <a:pt x="387385" y="5639"/>
                </a:lnTo>
                <a:lnTo>
                  <a:pt x="352425" y="23119"/>
                </a:lnTo>
                <a:lnTo>
                  <a:pt x="337764" y="19736"/>
                </a:lnTo>
                <a:lnTo>
                  <a:pt x="333253" y="22555"/>
                </a:lnTo>
                <a:lnTo>
                  <a:pt x="324231" y="43983"/>
                </a:lnTo>
                <a:lnTo>
                  <a:pt x="300548" y="37216"/>
                </a:lnTo>
                <a:lnTo>
                  <a:pt x="277429" y="33833"/>
                </a:lnTo>
                <a:lnTo>
                  <a:pt x="257129" y="20300"/>
                </a:lnTo>
                <a:lnTo>
                  <a:pt x="231191" y="8458"/>
                </a:lnTo>
                <a:lnTo>
                  <a:pt x="214274" y="19736"/>
                </a:lnTo>
                <a:lnTo>
                  <a:pt x="201869" y="37780"/>
                </a:lnTo>
                <a:lnTo>
                  <a:pt x="199050" y="63155"/>
                </a:lnTo>
                <a:lnTo>
                  <a:pt x="197358" y="84582"/>
                </a:lnTo>
                <a:lnTo>
                  <a:pt x="188336" y="103754"/>
                </a:lnTo>
                <a:lnTo>
                  <a:pt x="182134" y="126309"/>
                </a:lnTo>
                <a:lnTo>
                  <a:pt x="178186" y="157886"/>
                </a:lnTo>
                <a:lnTo>
                  <a:pt x="179878" y="178186"/>
                </a:lnTo>
                <a:lnTo>
                  <a:pt x="174803" y="190591"/>
                </a:lnTo>
                <a:lnTo>
                  <a:pt x="173675" y="204125"/>
                </a:lnTo>
                <a:lnTo>
                  <a:pt x="170291" y="215402"/>
                </a:lnTo>
                <a:lnTo>
                  <a:pt x="149428" y="232882"/>
                </a:lnTo>
                <a:lnTo>
                  <a:pt x="134767" y="250927"/>
                </a:lnTo>
                <a:lnTo>
                  <a:pt x="120670" y="285887"/>
                </a:lnTo>
                <a:lnTo>
                  <a:pt x="121798" y="315773"/>
                </a:lnTo>
                <a:lnTo>
                  <a:pt x="113903" y="327050"/>
                </a:lnTo>
                <a:lnTo>
                  <a:pt x="95296" y="344531"/>
                </a:lnTo>
                <a:lnTo>
                  <a:pt x="76124" y="367086"/>
                </a:lnTo>
                <a:lnTo>
                  <a:pt x="64846" y="360883"/>
                </a:lnTo>
                <a:lnTo>
                  <a:pt x="62591" y="350733"/>
                </a:lnTo>
                <a:lnTo>
                  <a:pt x="45110" y="350169"/>
                </a:lnTo>
                <a:lnTo>
                  <a:pt x="34397" y="363703"/>
                </a:lnTo>
                <a:lnTo>
                  <a:pt x="25938" y="360319"/>
                </a:lnTo>
                <a:lnTo>
                  <a:pt x="14661" y="367650"/>
                </a:lnTo>
                <a:lnTo>
                  <a:pt x="9586" y="377236"/>
                </a:lnTo>
                <a:lnTo>
                  <a:pt x="8458" y="392460"/>
                </a:lnTo>
                <a:lnTo>
                  <a:pt x="0" y="396408"/>
                </a:lnTo>
                <a:lnTo>
                  <a:pt x="4511" y="407685"/>
                </a:lnTo>
                <a:lnTo>
                  <a:pt x="17480" y="402610"/>
                </a:lnTo>
                <a:lnTo>
                  <a:pt x="27067" y="403174"/>
                </a:lnTo>
                <a:lnTo>
                  <a:pt x="37780" y="399227"/>
                </a:lnTo>
                <a:lnTo>
                  <a:pt x="131384" y="399791"/>
                </a:lnTo>
                <a:lnTo>
                  <a:pt x="138714" y="426293"/>
                </a:lnTo>
                <a:lnTo>
                  <a:pt x="147736" y="447721"/>
                </a:lnTo>
                <a:lnTo>
                  <a:pt x="155067" y="459562"/>
                </a:lnTo>
                <a:lnTo>
                  <a:pt x="166908" y="478170"/>
                </a:lnTo>
                <a:lnTo>
                  <a:pt x="187772" y="475351"/>
                </a:lnTo>
                <a:lnTo>
                  <a:pt x="198485" y="470276"/>
                </a:lnTo>
                <a:lnTo>
                  <a:pt x="215402" y="475351"/>
                </a:lnTo>
                <a:lnTo>
                  <a:pt x="220477" y="466329"/>
                </a:lnTo>
                <a:lnTo>
                  <a:pt x="228935" y="445465"/>
                </a:lnTo>
                <a:lnTo>
                  <a:pt x="248107" y="443774"/>
                </a:lnTo>
                <a:lnTo>
                  <a:pt x="249799" y="437571"/>
                </a:lnTo>
                <a:lnTo>
                  <a:pt x="266151" y="437571"/>
                </a:lnTo>
                <a:lnTo>
                  <a:pt x="263332" y="450540"/>
                </a:lnTo>
                <a:lnTo>
                  <a:pt x="301676" y="450540"/>
                </a:lnTo>
                <a:lnTo>
                  <a:pt x="301676" y="473095"/>
                </a:lnTo>
                <a:lnTo>
                  <a:pt x="308442" y="486628"/>
                </a:lnTo>
                <a:lnTo>
                  <a:pt x="303368" y="508056"/>
                </a:lnTo>
                <a:lnTo>
                  <a:pt x="305059" y="530611"/>
                </a:lnTo>
                <a:lnTo>
                  <a:pt x="315773" y="543580"/>
                </a:lnTo>
                <a:lnTo>
                  <a:pt x="312953" y="586435"/>
                </a:lnTo>
                <a:lnTo>
                  <a:pt x="320848" y="583052"/>
                </a:lnTo>
                <a:lnTo>
                  <a:pt x="334381" y="584180"/>
                </a:lnTo>
                <a:lnTo>
                  <a:pt x="354117" y="578541"/>
                </a:lnTo>
                <a:lnTo>
                  <a:pt x="368778" y="580796"/>
                </a:lnTo>
                <a:lnTo>
                  <a:pt x="379492" y="581360"/>
                </a:lnTo>
                <a:lnTo>
                  <a:pt x="381183" y="592638"/>
                </a:lnTo>
                <a:lnTo>
                  <a:pt x="395844" y="592074"/>
                </a:lnTo>
                <a:lnTo>
                  <a:pt x="415579" y="595457"/>
                </a:lnTo>
                <a:lnTo>
                  <a:pt x="425729" y="611246"/>
                </a:lnTo>
                <a:lnTo>
                  <a:pt x="451104" y="616321"/>
                </a:lnTo>
                <a:lnTo>
                  <a:pt x="470276" y="605043"/>
                </a:lnTo>
                <a:lnTo>
                  <a:pt x="477042" y="624215"/>
                </a:lnTo>
                <a:lnTo>
                  <a:pt x="501289" y="628726"/>
                </a:lnTo>
                <a:lnTo>
                  <a:pt x="512567" y="644515"/>
                </a:lnTo>
                <a:lnTo>
                  <a:pt x="524408" y="664251"/>
                </a:lnTo>
                <a:lnTo>
                  <a:pt x="548656" y="664251"/>
                </a:lnTo>
                <a:lnTo>
                  <a:pt x="546964" y="625343"/>
                </a:lnTo>
                <a:lnTo>
                  <a:pt x="538505" y="632109"/>
                </a:lnTo>
                <a:lnTo>
                  <a:pt x="516514" y="618012"/>
                </a:lnTo>
                <a:lnTo>
                  <a:pt x="508620" y="611810"/>
                </a:lnTo>
                <a:lnTo>
                  <a:pt x="513131" y="575721"/>
                </a:lnTo>
                <a:lnTo>
                  <a:pt x="519897" y="533430"/>
                </a:lnTo>
                <a:lnTo>
                  <a:pt x="513131" y="517642"/>
                </a:lnTo>
                <a:lnTo>
                  <a:pt x="522153" y="494523"/>
                </a:lnTo>
                <a:lnTo>
                  <a:pt x="531175" y="490576"/>
                </a:lnTo>
                <a:lnTo>
                  <a:pt x="573466" y="484373"/>
                </a:lnTo>
                <a:lnTo>
                  <a:pt x="579105" y="486065"/>
                </a:lnTo>
                <a:lnTo>
                  <a:pt x="580233" y="479862"/>
                </a:lnTo>
                <a:lnTo>
                  <a:pt x="571774" y="470276"/>
                </a:lnTo>
                <a:lnTo>
                  <a:pt x="567827" y="450540"/>
                </a:lnTo>
                <a:lnTo>
                  <a:pt x="548656" y="430804"/>
                </a:lnTo>
                <a:lnTo>
                  <a:pt x="538505" y="405430"/>
                </a:lnTo>
                <a:lnTo>
                  <a:pt x="544144" y="390205"/>
                </a:lnTo>
                <a:lnTo>
                  <a:pt x="535686" y="369905"/>
                </a:lnTo>
                <a:lnTo>
                  <a:pt x="541889" y="312389"/>
                </a:lnTo>
                <a:lnTo>
                  <a:pt x="542452" y="312953"/>
                </a:lnTo>
                <a:lnTo>
                  <a:pt x="541889" y="306751"/>
                </a:lnTo>
                <a:lnTo>
                  <a:pt x="533994" y="290398"/>
                </a:lnTo>
                <a:lnTo>
                  <a:pt x="537378" y="270662"/>
                </a:lnTo>
                <a:lnTo>
                  <a:pt x="541889" y="268407"/>
                </a:lnTo>
                <a:lnTo>
                  <a:pt x="543017" y="246979"/>
                </a:lnTo>
                <a:lnTo>
                  <a:pt x="552039" y="236830"/>
                </a:lnTo>
                <a:lnTo>
                  <a:pt x="552602" y="209763"/>
                </a:lnTo>
                <a:lnTo>
                  <a:pt x="559933" y="196230"/>
                </a:lnTo>
                <a:lnTo>
                  <a:pt x="561624" y="167472"/>
                </a:lnTo>
                <a:lnTo>
                  <a:pt x="568391" y="150556"/>
                </a:lnTo>
                <a:lnTo>
                  <a:pt x="580233" y="131948"/>
                </a:lnTo>
                <a:lnTo>
                  <a:pt x="592638" y="122362"/>
                </a:lnTo>
                <a:lnTo>
                  <a:pt x="602788" y="109393"/>
                </a:lnTo>
                <a:lnTo>
                  <a:pt x="589818" y="104882"/>
                </a:lnTo>
                <a:lnTo>
                  <a:pt x="591510" y="62591"/>
                </a:lnTo>
                <a:lnTo>
                  <a:pt x="591510" y="62591"/>
                </a:lnTo>
                <a:lnTo>
                  <a:pt x="563316" y="38908"/>
                </a:lnTo>
                <a:lnTo>
                  <a:pt x="555422" y="23683"/>
                </a:lnTo>
                <a:lnTo>
                  <a:pt x="537942" y="31013"/>
                </a:lnTo>
                <a:lnTo>
                  <a:pt x="523281" y="28758"/>
                </a:lnTo>
                <a:lnTo>
                  <a:pt x="514823" y="34961"/>
                </a:lnTo>
                <a:lnTo>
                  <a:pt x="500726" y="30449"/>
                </a:lnTo>
                <a:lnTo>
                  <a:pt x="480990" y="1128"/>
                </a:lnTo>
                <a:lnTo>
                  <a:pt x="470840" y="4511"/>
                </a:lnTo>
                <a:lnTo>
                  <a:pt x="450540" y="3947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2" name="Freeform: Shape 275">
            <a:extLst>
              <a:ext uri="{FF2B5EF4-FFF2-40B4-BE49-F238E27FC236}">
                <a16:creationId xmlns:a16="http://schemas.microsoft.com/office/drawing/2014/main" id="{D4FF384A-CE64-4FCD-8482-629CF7EA614E}"/>
              </a:ext>
            </a:extLst>
          </p:cNvPr>
          <p:cNvSpPr/>
          <p:nvPr/>
        </p:nvSpPr>
        <p:spPr>
          <a:xfrm>
            <a:off x="6105268" y="4022594"/>
            <a:ext cx="172766" cy="231758"/>
          </a:xfrm>
          <a:custGeom>
            <a:avLst/>
            <a:gdLst>
              <a:gd name="connsiteX0" fmla="*/ 232883 w 231190"/>
              <a:gd name="connsiteY0" fmla="*/ 8458 h 310134"/>
              <a:gd name="connsiteX1" fmla="*/ 212582 w 231190"/>
              <a:gd name="connsiteY1" fmla="*/ 6203 h 310134"/>
              <a:gd name="connsiteX2" fmla="*/ 191155 w 231190"/>
              <a:gd name="connsiteY2" fmla="*/ 0 h 310134"/>
              <a:gd name="connsiteX3" fmla="*/ 172547 w 231190"/>
              <a:gd name="connsiteY3" fmla="*/ 19172 h 310134"/>
              <a:gd name="connsiteX4" fmla="*/ 156194 w 231190"/>
              <a:gd name="connsiteY4" fmla="*/ 52441 h 310134"/>
              <a:gd name="connsiteX5" fmla="*/ 153940 w 231190"/>
              <a:gd name="connsiteY5" fmla="*/ 72177 h 310134"/>
              <a:gd name="connsiteX6" fmla="*/ 128565 w 231190"/>
              <a:gd name="connsiteY6" fmla="*/ 63718 h 310134"/>
              <a:gd name="connsiteX7" fmla="*/ 103190 w 231190"/>
              <a:gd name="connsiteY7" fmla="*/ 54132 h 310134"/>
              <a:gd name="connsiteX8" fmla="*/ 63154 w 231190"/>
              <a:gd name="connsiteY8" fmla="*/ 52441 h 310134"/>
              <a:gd name="connsiteX9" fmla="*/ 60899 w 231190"/>
              <a:gd name="connsiteY9" fmla="*/ 68229 h 310134"/>
              <a:gd name="connsiteX10" fmla="*/ 69358 w 231190"/>
              <a:gd name="connsiteY10" fmla="*/ 86837 h 310134"/>
              <a:gd name="connsiteX11" fmla="*/ 93040 w 231190"/>
              <a:gd name="connsiteY11" fmla="*/ 84018 h 310134"/>
              <a:gd name="connsiteX12" fmla="*/ 100935 w 231190"/>
              <a:gd name="connsiteY12" fmla="*/ 90785 h 310134"/>
              <a:gd name="connsiteX13" fmla="*/ 87401 w 231190"/>
              <a:gd name="connsiteY13" fmla="*/ 132512 h 310134"/>
              <a:gd name="connsiteX14" fmla="*/ 102626 w 231190"/>
              <a:gd name="connsiteY14" fmla="*/ 153939 h 310134"/>
              <a:gd name="connsiteX15" fmla="*/ 106010 w 231190"/>
              <a:gd name="connsiteY15" fmla="*/ 181569 h 310134"/>
              <a:gd name="connsiteX16" fmla="*/ 101498 w 231190"/>
              <a:gd name="connsiteY16" fmla="*/ 205816 h 310134"/>
              <a:gd name="connsiteX17" fmla="*/ 91913 w 231190"/>
              <a:gd name="connsiteY17" fmla="*/ 222733 h 310134"/>
              <a:gd name="connsiteX18" fmla="*/ 64282 w 231190"/>
              <a:gd name="connsiteY18" fmla="*/ 221041 h 310134"/>
              <a:gd name="connsiteX19" fmla="*/ 47366 w 231190"/>
              <a:gd name="connsiteY19" fmla="*/ 204124 h 310134"/>
              <a:gd name="connsiteX20" fmla="*/ 44547 w 231190"/>
              <a:gd name="connsiteY20" fmla="*/ 219913 h 310134"/>
              <a:gd name="connsiteX21" fmla="*/ 23119 w 231190"/>
              <a:gd name="connsiteY21" fmla="*/ 224424 h 310134"/>
              <a:gd name="connsiteX22" fmla="*/ 12405 w 231190"/>
              <a:gd name="connsiteY22" fmla="*/ 233446 h 310134"/>
              <a:gd name="connsiteX23" fmla="*/ 24247 w 231190"/>
              <a:gd name="connsiteY23" fmla="*/ 257129 h 310134"/>
              <a:gd name="connsiteX24" fmla="*/ 0 w 231190"/>
              <a:gd name="connsiteY24" fmla="*/ 276865 h 310134"/>
              <a:gd name="connsiteX25" fmla="*/ 25938 w 231190"/>
              <a:gd name="connsiteY25" fmla="*/ 314645 h 310134"/>
              <a:gd name="connsiteX26" fmla="*/ 38344 w 231190"/>
              <a:gd name="connsiteY26" fmla="*/ 299420 h 310134"/>
              <a:gd name="connsiteX27" fmla="*/ 48494 w 231190"/>
              <a:gd name="connsiteY27" fmla="*/ 293218 h 310134"/>
              <a:gd name="connsiteX28" fmla="*/ 59771 w 231190"/>
              <a:gd name="connsiteY28" fmla="*/ 305623 h 310134"/>
              <a:gd name="connsiteX29" fmla="*/ 68229 w 231190"/>
              <a:gd name="connsiteY29" fmla="*/ 309006 h 310134"/>
              <a:gd name="connsiteX30" fmla="*/ 78943 w 231190"/>
              <a:gd name="connsiteY30" fmla="*/ 295473 h 310134"/>
              <a:gd name="connsiteX31" fmla="*/ 96423 w 231190"/>
              <a:gd name="connsiteY31" fmla="*/ 296037 h 310134"/>
              <a:gd name="connsiteX32" fmla="*/ 98679 w 231190"/>
              <a:gd name="connsiteY32" fmla="*/ 306187 h 310134"/>
              <a:gd name="connsiteX33" fmla="*/ 109957 w 231190"/>
              <a:gd name="connsiteY33" fmla="*/ 312389 h 310134"/>
              <a:gd name="connsiteX34" fmla="*/ 129129 w 231190"/>
              <a:gd name="connsiteY34" fmla="*/ 289834 h 310134"/>
              <a:gd name="connsiteX35" fmla="*/ 147736 w 231190"/>
              <a:gd name="connsiteY35" fmla="*/ 272354 h 310134"/>
              <a:gd name="connsiteX36" fmla="*/ 155631 w 231190"/>
              <a:gd name="connsiteY36" fmla="*/ 261076 h 310134"/>
              <a:gd name="connsiteX37" fmla="*/ 154503 w 231190"/>
              <a:gd name="connsiteY37" fmla="*/ 231191 h 310134"/>
              <a:gd name="connsiteX38" fmla="*/ 168600 w 231190"/>
              <a:gd name="connsiteY38" fmla="*/ 196230 h 310134"/>
              <a:gd name="connsiteX39" fmla="*/ 183261 w 231190"/>
              <a:gd name="connsiteY39" fmla="*/ 178186 h 310134"/>
              <a:gd name="connsiteX40" fmla="*/ 204124 w 231190"/>
              <a:gd name="connsiteY40" fmla="*/ 160706 h 310134"/>
              <a:gd name="connsiteX41" fmla="*/ 207508 w 231190"/>
              <a:gd name="connsiteY41" fmla="*/ 149428 h 310134"/>
              <a:gd name="connsiteX42" fmla="*/ 208636 w 231190"/>
              <a:gd name="connsiteY42" fmla="*/ 135895 h 310134"/>
              <a:gd name="connsiteX43" fmla="*/ 213711 w 231190"/>
              <a:gd name="connsiteY43" fmla="*/ 123490 h 310134"/>
              <a:gd name="connsiteX44" fmla="*/ 212019 w 231190"/>
              <a:gd name="connsiteY44" fmla="*/ 103190 h 310134"/>
              <a:gd name="connsiteX45" fmla="*/ 215966 w 231190"/>
              <a:gd name="connsiteY45" fmla="*/ 71612 h 310134"/>
              <a:gd name="connsiteX46" fmla="*/ 222169 w 231190"/>
              <a:gd name="connsiteY46" fmla="*/ 49057 h 310134"/>
              <a:gd name="connsiteX47" fmla="*/ 231191 w 231190"/>
              <a:gd name="connsiteY47" fmla="*/ 29886 h 310134"/>
              <a:gd name="connsiteX48" fmla="*/ 232883 w 231190"/>
              <a:gd name="connsiteY48" fmla="*/ 8458 h 310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231190" h="310134">
                <a:moveTo>
                  <a:pt x="232883" y="8458"/>
                </a:moveTo>
                <a:lnTo>
                  <a:pt x="212582" y="6203"/>
                </a:lnTo>
                <a:lnTo>
                  <a:pt x="191155" y="0"/>
                </a:lnTo>
                <a:lnTo>
                  <a:pt x="172547" y="19172"/>
                </a:lnTo>
                <a:lnTo>
                  <a:pt x="156194" y="52441"/>
                </a:lnTo>
                <a:lnTo>
                  <a:pt x="153940" y="72177"/>
                </a:lnTo>
                <a:lnTo>
                  <a:pt x="128565" y="63718"/>
                </a:lnTo>
                <a:lnTo>
                  <a:pt x="103190" y="54132"/>
                </a:lnTo>
                <a:lnTo>
                  <a:pt x="63154" y="52441"/>
                </a:lnTo>
                <a:lnTo>
                  <a:pt x="60899" y="68229"/>
                </a:lnTo>
                <a:lnTo>
                  <a:pt x="69358" y="86837"/>
                </a:lnTo>
                <a:lnTo>
                  <a:pt x="93040" y="84018"/>
                </a:lnTo>
                <a:lnTo>
                  <a:pt x="100935" y="90785"/>
                </a:lnTo>
                <a:lnTo>
                  <a:pt x="87401" y="132512"/>
                </a:lnTo>
                <a:lnTo>
                  <a:pt x="102626" y="153939"/>
                </a:lnTo>
                <a:lnTo>
                  <a:pt x="106010" y="181569"/>
                </a:lnTo>
                <a:lnTo>
                  <a:pt x="101498" y="205816"/>
                </a:lnTo>
                <a:lnTo>
                  <a:pt x="91913" y="222733"/>
                </a:lnTo>
                <a:lnTo>
                  <a:pt x="64282" y="221041"/>
                </a:lnTo>
                <a:lnTo>
                  <a:pt x="47366" y="204124"/>
                </a:lnTo>
                <a:lnTo>
                  <a:pt x="44547" y="219913"/>
                </a:lnTo>
                <a:lnTo>
                  <a:pt x="23119" y="224424"/>
                </a:lnTo>
                <a:lnTo>
                  <a:pt x="12405" y="233446"/>
                </a:lnTo>
                <a:lnTo>
                  <a:pt x="24247" y="257129"/>
                </a:lnTo>
                <a:lnTo>
                  <a:pt x="0" y="276865"/>
                </a:lnTo>
                <a:lnTo>
                  <a:pt x="25938" y="314645"/>
                </a:lnTo>
                <a:lnTo>
                  <a:pt x="38344" y="299420"/>
                </a:lnTo>
                <a:lnTo>
                  <a:pt x="48494" y="293218"/>
                </a:lnTo>
                <a:lnTo>
                  <a:pt x="59771" y="305623"/>
                </a:lnTo>
                <a:lnTo>
                  <a:pt x="68229" y="309006"/>
                </a:lnTo>
                <a:lnTo>
                  <a:pt x="78943" y="295473"/>
                </a:lnTo>
                <a:lnTo>
                  <a:pt x="96423" y="296037"/>
                </a:lnTo>
                <a:lnTo>
                  <a:pt x="98679" y="306187"/>
                </a:lnTo>
                <a:lnTo>
                  <a:pt x="109957" y="312389"/>
                </a:lnTo>
                <a:lnTo>
                  <a:pt x="129129" y="289834"/>
                </a:lnTo>
                <a:lnTo>
                  <a:pt x="147736" y="272354"/>
                </a:lnTo>
                <a:lnTo>
                  <a:pt x="155631" y="261076"/>
                </a:lnTo>
                <a:lnTo>
                  <a:pt x="154503" y="231191"/>
                </a:lnTo>
                <a:lnTo>
                  <a:pt x="168600" y="196230"/>
                </a:lnTo>
                <a:lnTo>
                  <a:pt x="183261" y="178186"/>
                </a:lnTo>
                <a:lnTo>
                  <a:pt x="204124" y="160706"/>
                </a:lnTo>
                <a:lnTo>
                  <a:pt x="207508" y="149428"/>
                </a:lnTo>
                <a:lnTo>
                  <a:pt x="208636" y="135895"/>
                </a:lnTo>
                <a:lnTo>
                  <a:pt x="213711" y="123490"/>
                </a:lnTo>
                <a:lnTo>
                  <a:pt x="212019" y="103190"/>
                </a:lnTo>
                <a:lnTo>
                  <a:pt x="215966" y="71612"/>
                </a:lnTo>
                <a:lnTo>
                  <a:pt x="222169" y="49057"/>
                </a:lnTo>
                <a:lnTo>
                  <a:pt x="231191" y="29886"/>
                </a:lnTo>
                <a:lnTo>
                  <a:pt x="232883" y="8458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3" name="Freeform: Shape 276">
            <a:extLst>
              <a:ext uri="{FF2B5EF4-FFF2-40B4-BE49-F238E27FC236}">
                <a16:creationId xmlns:a16="http://schemas.microsoft.com/office/drawing/2014/main" id="{9AB63E14-1071-4EF1-97F8-631FFF35A8A5}"/>
              </a:ext>
            </a:extLst>
          </p:cNvPr>
          <p:cNvSpPr/>
          <p:nvPr/>
        </p:nvSpPr>
        <p:spPr>
          <a:xfrm>
            <a:off x="3972249" y="3789150"/>
            <a:ext cx="286537" cy="446662"/>
          </a:xfrm>
          <a:custGeom>
            <a:avLst/>
            <a:gdLst>
              <a:gd name="connsiteX0" fmla="*/ 256565 w 383438"/>
              <a:gd name="connsiteY0" fmla="*/ 23683 h 597712"/>
              <a:gd name="connsiteX1" fmla="*/ 263332 w 383438"/>
              <a:gd name="connsiteY1" fmla="*/ 11842 h 597712"/>
              <a:gd name="connsiteX2" fmla="*/ 256002 w 383438"/>
              <a:gd name="connsiteY2" fmla="*/ 2255 h 597712"/>
              <a:gd name="connsiteX3" fmla="*/ 244724 w 383438"/>
              <a:gd name="connsiteY3" fmla="*/ 0 h 597712"/>
              <a:gd name="connsiteX4" fmla="*/ 228371 w 383438"/>
              <a:gd name="connsiteY4" fmla="*/ 17480 h 597712"/>
              <a:gd name="connsiteX5" fmla="*/ 215402 w 383438"/>
              <a:gd name="connsiteY5" fmla="*/ 25375 h 597712"/>
              <a:gd name="connsiteX6" fmla="*/ 189464 w 383438"/>
              <a:gd name="connsiteY6" fmla="*/ 43419 h 597712"/>
              <a:gd name="connsiteX7" fmla="*/ 165217 w 383438"/>
              <a:gd name="connsiteY7" fmla="*/ 40599 h 597712"/>
              <a:gd name="connsiteX8" fmla="*/ 162397 w 383438"/>
              <a:gd name="connsiteY8" fmla="*/ 47930 h 597712"/>
              <a:gd name="connsiteX9" fmla="*/ 142098 w 383438"/>
              <a:gd name="connsiteY9" fmla="*/ 48494 h 597712"/>
              <a:gd name="connsiteX10" fmla="*/ 123490 w 383438"/>
              <a:gd name="connsiteY10" fmla="*/ 65410 h 597712"/>
              <a:gd name="connsiteX11" fmla="*/ 115595 w 383438"/>
              <a:gd name="connsiteY11" fmla="*/ 95860 h 597712"/>
              <a:gd name="connsiteX12" fmla="*/ 115032 w 383438"/>
              <a:gd name="connsiteY12" fmla="*/ 107701 h 597712"/>
              <a:gd name="connsiteX13" fmla="*/ 101498 w 383438"/>
              <a:gd name="connsiteY13" fmla="*/ 111648 h 597712"/>
              <a:gd name="connsiteX14" fmla="*/ 76688 w 383438"/>
              <a:gd name="connsiteY14" fmla="*/ 136459 h 597712"/>
              <a:gd name="connsiteX15" fmla="*/ 60335 w 383438"/>
              <a:gd name="connsiteY15" fmla="*/ 135331 h 597712"/>
              <a:gd name="connsiteX16" fmla="*/ 56388 w 383438"/>
              <a:gd name="connsiteY16" fmla="*/ 140406 h 597712"/>
              <a:gd name="connsiteX17" fmla="*/ 62591 w 383438"/>
              <a:gd name="connsiteY17" fmla="*/ 161834 h 597712"/>
              <a:gd name="connsiteX18" fmla="*/ 56388 w 383438"/>
              <a:gd name="connsiteY18" fmla="*/ 172547 h 597712"/>
              <a:gd name="connsiteX19" fmla="*/ 46238 w 383438"/>
              <a:gd name="connsiteY19" fmla="*/ 169728 h 597712"/>
              <a:gd name="connsiteX20" fmla="*/ 41163 w 383438"/>
              <a:gd name="connsiteY20" fmla="*/ 187208 h 597712"/>
              <a:gd name="connsiteX21" fmla="*/ 53569 w 383438"/>
              <a:gd name="connsiteY21" fmla="*/ 206380 h 597712"/>
              <a:gd name="connsiteX22" fmla="*/ 56952 w 383438"/>
              <a:gd name="connsiteY22" fmla="*/ 236830 h 597712"/>
              <a:gd name="connsiteX23" fmla="*/ 50185 w 383438"/>
              <a:gd name="connsiteY23" fmla="*/ 245852 h 597712"/>
              <a:gd name="connsiteX24" fmla="*/ 56388 w 383438"/>
              <a:gd name="connsiteY24" fmla="*/ 279121 h 597712"/>
              <a:gd name="connsiteX25" fmla="*/ 49621 w 383438"/>
              <a:gd name="connsiteY25" fmla="*/ 299984 h 597712"/>
              <a:gd name="connsiteX26" fmla="*/ 60899 w 383438"/>
              <a:gd name="connsiteY26" fmla="*/ 308442 h 597712"/>
              <a:gd name="connsiteX27" fmla="*/ 48494 w 383438"/>
              <a:gd name="connsiteY27" fmla="*/ 327050 h 597712"/>
              <a:gd name="connsiteX28" fmla="*/ 34397 w 383438"/>
              <a:gd name="connsiteY28" fmla="*/ 349606 h 597712"/>
              <a:gd name="connsiteX29" fmla="*/ 18608 w 383438"/>
              <a:gd name="connsiteY29" fmla="*/ 351861 h 597712"/>
              <a:gd name="connsiteX30" fmla="*/ 10714 w 383438"/>
              <a:gd name="connsiteY30" fmla="*/ 364830 h 597712"/>
              <a:gd name="connsiteX31" fmla="*/ 11842 w 383438"/>
              <a:gd name="connsiteY31" fmla="*/ 382875 h 597712"/>
              <a:gd name="connsiteX32" fmla="*/ 0 w 383438"/>
              <a:gd name="connsiteY32" fmla="*/ 385694 h 597712"/>
              <a:gd name="connsiteX33" fmla="*/ 4511 w 383438"/>
              <a:gd name="connsiteY33" fmla="*/ 396972 h 597712"/>
              <a:gd name="connsiteX34" fmla="*/ 36088 w 383438"/>
              <a:gd name="connsiteY34" fmla="*/ 417271 h 597712"/>
              <a:gd name="connsiteX35" fmla="*/ 41727 w 383438"/>
              <a:gd name="connsiteY35" fmla="*/ 416707 h 597712"/>
              <a:gd name="connsiteX36" fmla="*/ 49621 w 383438"/>
              <a:gd name="connsiteY36" fmla="*/ 431932 h 597712"/>
              <a:gd name="connsiteX37" fmla="*/ 76124 w 383438"/>
              <a:gd name="connsiteY37" fmla="*/ 437007 h 597712"/>
              <a:gd name="connsiteX38" fmla="*/ 85146 w 383438"/>
              <a:gd name="connsiteY38" fmla="*/ 431368 h 597712"/>
              <a:gd name="connsiteX39" fmla="*/ 100935 w 383438"/>
              <a:gd name="connsiteY39" fmla="*/ 443210 h 597712"/>
              <a:gd name="connsiteX40" fmla="*/ 114468 w 383438"/>
              <a:gd name="connsiteY40" fmla="*/ 451668 h 597712"/>
              <a:gd name="connsiteX41" fmla="*/ 122926 w 383438"/>
              <a:gd name="connsiteY41" fmla="*/ 448285 h 597712"/>
              <a:gd name="connsiteX42" fmla="*/ 143789 w 383438"/>
              <a:gd name="connsiteY42" fmla="*/ 465201 h 597712"/>
              <a:gd name="connsiteX43" fmla="*/ 153939 w 383438"/>
              <a:gd name="connsiteY43" fmla="*/ 482117 h 597712"/>
              <a:gd name="connsiteX44" fmla="*/ 169164 w 383438"/>
              <a:gd name="connsiteY44" fmla="*/ 491703 h 597712"/>
              <a:gd name="connsiteX45" fmla="*/ 188336 w 383438"/>
              <a:gd name="connsiteY45" fmla="*/ 529484 h 597712"/>
              <a:gd name="connsiteX46" fmla="*/ 212019 w 383438"/>
              <a:gd name="connsiteY46" fmla="*/ 533994 h 597712"/>
              <a:gd name="connsiteX47" fmla="*/ 228935 w 383438"/>
              <a:gd name="connsiteY47" fmla="*/ 524408 h 597712"/>
              <a:gd name="connsiteX48" fmla="*/ 240777 w 383438"/>
              <a:gd name="connsiteY48" fmla="*/ 530611 h 597712"/>
              <a:gd name="connsiteX49" fmla="*/ 259385 w 383438"/>
              <a:gd name="connsiteY49" fmla="*/ 527228 h 597712"/>
              <a:gd name="connsiteX50" fmla="*/ 284196 w 383438"/>
              <a:gd name="connsiteY50" fmla="*/ 544144 h 597712"/>
              <a:gd name="connsiteX51" fmla="*/ 264460 w 383438"/>
              <a:gd name="connsiteY51" fmla="*/ 580796 h 597712"/>
              <a:gd name="connsiteX52" fmla="*/ 274046 w 383438"/>
              <a:gd name="connsiteY52" fmla="*/ 581360 h 597712"/>
              <a:gd name="connsiteX53" fmla="*/ 290398 w 383438"/>
              <a:gd name="connsiteY53" fmla="*/ 600532 h 597712"/>
              <a:gd name="connsiteX54" fmla="*/ 302804 w 383438"/>
              <a:gd name="connsiteY54" fmla="*/ 502417 h 597712"/>
              <a:gd name="connsiteX55" fmla="*/ 303367 w 383438"/>
              <a:gd name="connsiteY55" fmla="*/ 486628 h 597712"/>
              <a:gd name="connsiteX56" fmla="*/ 298293 w 383438"/>
              <a:gd name="connsiteY56" fmla="*/ 466329 h 597712"/>
              <a:gd name="connsiteX57" fmla="*/ 284196 w 383438"/>
              <a:gd name="connsiteY57" fmla="*/ 452796 h 597712"/>
              <a:gd name="connsiteX58" fmla="*/ 284196 w 383438"/>
              <a:gd name="connsiteY58" fmla="*/ 426857 h 597712"/>
              <a:gd name="connsiteX59" fmla="*/ 302240 w 383438"/>
              <a:gd name="connsiteY59" fmla="*/ 421218 h 597712"/>
              <a:gd name="connsiteX60" fmla="*/ 308442 w 383438"/>
              <a:gd name="connsiteY60" fmla="*/ 424602 h 597712"/>
              <a:gd name="connsiteX61" fmla="*/ 309570 w 383438"/>
              <a:gd name="connsiteY61" fmla="*/ 411069 h 597712"/>
              <a:gd name="connsiteX62" fmla="*/ 290962 w 383438"/>
              <a:gd name="connsiteY62" fmla="*/ 407121 h 597712"/>
              <a:gd name="connsiteX63" fmla="*/ 290962 w 383438"/>
              <a:gd name="connsiteY63" fmla="*/ 385130 h 597712"/>
              <a:gd name="connsiteX64" fmla="*/ 352425 w 383438"/>
              <a:gd name="connsiteY64" fmla="*/ 385694 h 597712"/>
              <a:gd name="connsiteX65" fmla="*/ 363139 w 383438"/>
              <a:gd name="connsiteY65" fmla="*/ 373289 h 597712"/>
              <a:gd name="connsiteX66" fmla="*/ 372161 w 383438"/>
              <a:gd name="connsiteY66" fmla="*/ 384566 h 597712"/>
              <a:gd name="connsiteX67" fmla="*/ 377800 w 383438"/>
              <a:gd name="connsiteY67" fmla="*/ 405994 h 597712"/>
              <a:gd name="connsiteX68" fmla="*/ 384003 w 383438"/>
              <a:gd name="connsiteY68" fmla="*/ 401483 h 597712"/>
              <a:gd name="connsiteX69" fmla="*/ 374416 w 383438"/>
              <a:gd name="connsiteY69" fmla="*/ 365394 h 597712"/>
              <a:gd name="connsiteX70" fmla="*/ 366522 w 383438"/>
              <a:gd name="connsiteY70" fmla="*/ 352989 h 597712"/>
              <a:gd name="connsiteX71" fmla="*/ 355244 w 383438"/>
              <a:gd name="connsiteY71" fmla="*/ 345095 h 597712"/>
              <a:gd name="connsiteX72" fmla="*/ 371597 w 383438"/>
              <a:gd name="connsiteY72" fmla="*/ 327614 h 597712"/>
              <a:gd name="connsiteX73" fmla="*/ 370469 w 383438"/>
              <a:gd name="connsiteY73" fmla="*/ 319156 h 597712"/>
              <a:gd name="connsiteX74" fmla="*/ 362011 w 383438"/>
              <a:gd name="connsiteY74" fmla="*/ 308442 h 597712"/>
              <a:gd name="connsiteX75" fmla="*/ 356372 w 383438"/>
              <a:gd name="connsiteY75" fmla="*/ 284759 h 597712"/>
              <a:gd name="connsiteX76" fmla="*/ 359192 w 383438"/>
              <a:gd name="connsiteY76" fmla="*/ 258821 h 597712"/>
              <a:gd name="connsiteX77" fmla="*/ 366522 w 383438"/>
              <a:gd name="connsiteY77" fmla="*/ 246979 h 597712"/>
              <a:gd name="connsiteX78" fmla="*/ 373289 w 383438"/>
              <a:gd name="connsiteY78" fmla="*/ 227808 h 597712"/>
              <a:gd name="connsiteX79" fmla="*/ 362011 w 383438"/>
              <a:gd name="connsiteY79" fmla="*/ 221605 h 597712"/>
              <a:gd name="connsiteX80" fmla="*/ 343967 w 383438"/>
              <a:gd name="connsiteY80" fmla="*/ 225552 h 597712"/>
              <a:gd name="connsiteX81" fmla="*/ 321412 w 383438"/>
              <a:gd name="connsiteY81" fmla="*/ 223860 h 597712"/>
              <a:gd name="connsiteX82" fmla="*/ 308442 w 383438"/>
              <a:gd name="connsiteY82" fmla="*/ 227808 h 597712"/>
              <a:gd name="connsiteX83" fmla="*/ 287015 w 383438"/>
              <a:gd name="connsiteY83" fmla="*/ 196794 h 597712"/>
              <a:gd name="connsiteX84" fmla="*/ 268971 w 383438"/>
              <a:gd name="connsiteY84" fmla="*/ 192283 h 597712"/>
              <a:gd name="connsiteX85" fmla="*/ 228371 w 383438"/>
              <a:gd name="connsiteY85" fmla="*/ 195666 h 597712"/>
              <a:gd name="connsiteX86" fmla="*/ 221041 w 383438"/>
              <a:gd name="connsiteY86" fmla="*/ 183261 h 597712"/>
              <a:gd name="connsiteX87" fmla="*/ 213711 w 383438"/>
              <a:gd name="connsiteY87" fmla="*/ 179878 h 597712"/>
              <a:gd name="connsiteX88" fmla="*/ 212583 w 383438"/>
              <a:gd name="connsiteY88" fmla="*/ 172547 h 597712"/>
              <a:gd name="connsiteX89" fmla="*/ 217094 w 383438"/>
              <a:gd name="connsiteY89" fmla="*/ 159014 h 597712"/>
              <a:gd name="connsiteX90" fmla="*/ 214838 w 383438"/>
              <a:gd name="connsiteY90" fmla="*/ 144917 h 597712"/>
              <a:gd name="connsiteX91" fmla="*/ 208636 w 383438"/>
              <a:gd name="connsiteY91" fmla="*/ 137023 h 597712"/>
              <a:gd name="connsiteX92" fmla="*/ 205252 w 383438"/>
              <a:gd name="connsiteY92" fmla="*/ 120670 h 597712"/>
              <a:gd name="connsiteX93" fmla="*/ 188900 w 383438"/>
              <a:gd name="connsiteY93" fmla="*/ 117851 h 597712"/>
              <a:gd name="connsiteX94" fmla="*/ 199050 w 383438"/>
              <a:gd name="connsiteY94" fmla="*/ 96987 h 597712"/>
              <a:gd name="connsiteX95" fmla="*/ 204125 w 383438"/>
              <a:gd name="connsiteY95" fmla="*/ 71613 h 597712"/>
              <a:gd name="connsiteX96" fmla="*/ 214274 w 383438"/>
              <a:gd name="connsiteY96" fmla="*/ 58080 h 597712"/>
              <a:gd name="connsiteX97" fmla="*/ 226680 w 383438"/>
              <a:gd name="connsiteY97" fmla="*/ 47930 h 597712"/>
              <a:gd name="connsiteX98" fmla="*/ 235702 w 383438"/>
              <a:gd name="connsiteY98" fmla="*/ 29886 h 597712"/>
              <a:gd name="connsiteX99" fmla="*/ 256565 w 383438"/>
              <a:gd name="connsiteY99" fmla="*/ 23683 h 5977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</a:cxnLst>
            <a:rect l="l" t="t" r="r" b="b"/>
            <a:pathLst>
              <a:path w="383438" h="597712">
                <a:moveTo>
                  <a:pt x="256565" y="23683"/>
                </a:moveTo>
                <a:lnTo>
                  <a:pt x="263332" y="11842"/>
                </a:lnTo>
                <a:lnTo>
                  <a:pt x="256002" y="2255"/>
                </a:lnTo>
                <a:lnTo>
                  <a:pt x="244724" y="0"/>
                </a:lnTo>
                <a:lnTo>
                  <a:pt x="228371" y="17480"/>
                </a:lnTo>
                <a:lnTo>
                  <a:pt x="215402" y="25375"/>
                </a:lnTo>
                <a:lnTo>
                  <a:pt x="189464" y="43419"/>
                </a:lnTo>
                <a:lnTo>
                  <a:pt x="165217" y="40599"/>
                </a:lnTo>
                <a:lnTo>
                  <a:pt x="162397" y="47930"/>
                </a:lnTo>
                <a:lnTo>
                  <a:pt x="142098" y="48494"/>
                </a:lnTo>
                <a:lnTo>
                  <a:pt x="123490" y="65410"/>
                </a:lnTo>
                <a:lnTo>
                  <a:pt x="115595" y="95860"/>
                </a:lnTo>
                <a:lnTo>
                  <a:pt x="115032" y="107701"/>
                </a:lnTo>
                <a:lnTo>
                  <a:pt x="101498" y="111648"/>
                </a:lnTo>
                <a:lnTo>
                  <a:pt x="76688" y="136459"/>
                </a:lnTo>
                <a:lnTo>
                  <a:pt x="60335" y="135331"/>
                </a:lnTo>
                <a:lnTo>
                  <a:pt x="56388" y="140406"/>
                </a:lnTo>
                <a:lnTo>
                  <a:pt x="62591" y="161834"/>
                </a:lnTo>
                <a:lnTo>
                  <a:pt x="56388" y="172547"/>
                </a:lnTo>
                <a:lnTo>
                  <a:pt x="46238" y="169728"/>
                </a:lnTo>
                <a:lnTo>
                  <a:pt x="41163" y="187208"/>
                </a:lnTo>
                <a:lnTo>
                  <a:pt x="53569" y="206380"/>
                </a:lnTo>
                <a:lnTo>
                  <a:pt x="56952" y="236830"/>
                </a:lnTo>
                <a:lnTo>
                  <a:pt x="50185" y="245852"/>
                </a:lnTo>
                <a:lnTo>
                  <a:pt x="56388" y="279121"/>
                </a:lnTo>
                <a:lnTo>
                  <a:pt x="49621" y="299984"/>
                </a:lnTo>
                <a:lnTo>
                  <a:pt x="60899" y="308442"/>
                </a:lnTo>
                <a:lnTo>
                  <a:pt x="48494" y="327050"/>
                </a:lnTo>
                <a:lnTo>
                  <a:pt x="34397" y="349606"/>
                </a:lnTo>
                <a:lnTo>
                  <a:pt x="18608" y="351861"/>
                </a:lnTo>
                <a:lnTo>
                  <a:pt x="10714" y="364830"/>
                </a:lnTo>
                <a:lnTo>
                  <a:pt x="11842" y="382875"/>
                </a:lnTo>
                <a:lnTo>
                  <a:pt x="0" y="385694"/>
                </a:lnTo>
                <a:lnTo>
                  <a:pt x="4511" y="396972"/>
                </a:lnTo>
                <a:lnTo>
                  <a:pt x="36088" y="417271"/>
                </a:lnTo>
                <a:lnTo>
                  <a:pt x="41727" y="416707"/>
                </a:lnTo>
                <a:lnTo>
                  <a:pt x="49621" y="431932"/>
                </a:lnTo>
                <a:lnTo>
                  <a:pt x="76124" y="437007"/>
                </a:lnTo>
                <a:lnTo>
                  <a:pt x="85146" y="431368"/>
                </a:lnTo>
                <a:lnTo>
                  <a:pt x="100935" y="443210"/>
                </a:lnTo>
                <a:lnTo>
                  <a:pt x="114468" y="451668"/>
                </a:lnTo>
                <a:lnTo>
                  <a:pt x="122926" y="448285"/>
                </a:lnTo>
                <a:lnTo>
                  <a:pt x="143789" y="465201"/>
                </a:lnTo>
                <a:lnTo>
                  <a:pt x="153939" y="482117"/>
                </a:lnTo>
                <a:lnTo>
                  <a:pt x="169164" y="491703"/>
                </a:lnTo>
                <a:lnTo>
                  <a:pt x="188336" y="529484"/>
                </a:lnTo>
                <a:lnTo>
                  <a:pt x="212019" y="533994"/>
                </a:lnTo>
                <a:lnTo>
                  <a:pt x="228935" y="524408"/>
                </a:lnTo>
                <a:lnTo>
                  <a:pt x="240777" y="530611"/>
                </a:lnTo>
                <a:lnTo>
                  <a:pt x="259385" y="527228"/>
                </a:lnTo>
                <a:lnTo>
                  <a:pt x="284196" y="544144"/>
                </a:lnTo>
                <a:lnTo>
                  <a:pt x="264460" y="580796"/>
                </a:lnTo>
                <a:lnTo>
                  <a:pt x="274046" y="581360"/>
                </a:lnTo>
                <a:lnTo>
                  <a:pt x="290398" y="600532"/>
                </a:lnTo>
                <a:lnTo>
                  <a:pt x="302804" y="502417"/>
                </a:lnTo>
                <a:lnTo>
                  <a:pt x="303367" y="486628"/>
                </a:lnTo>
                <a:lnTo>
                  <a:pt x="298293" y="466329"/>
                </a:lnTo>
                <a:lnTo>
                  <a:pt x="284196" y="452796"/>
                </a:lnTo>
                <a:lnTo>
                  <a:pt x="284196" y="426857"/>
                </a:lnTo>
                <a:lnTo>
                  <a:pt x="302240" y="421218"/>
                </a:lnTo>
                <a:lnTo>
                  <a:pt x="308442" y="424602"/>
                </a:lnTo>
                <a:lnTo>
                  <a:pt x="309570" y="411069"/>
                </a:lnTo>
                <a:lnTo>
                  <a:pt x="290962" y="407121"/>
                </a:lnTo>
                <a:lnTo>
                  <a:pt x="290962" y="385130"/>
                </a:lnTo>
                <a:lnTo>
                  <a:pt x="352425" y="385694"/>
                </a:lnTo>
                <a:lnTo>
                  <a:pt x="363139" y="373289"/>
                </a:lnTo>
                <a:lnTo>
                  <a:pt x="372161" y="384566"/>
                </a:lnTo>
                <a:lnTo>
                  <a:pt x="377800" y="405994"/>
                </a:lnTo>
                <a:lnTo>
                  <a:pt x="384003" y="401483"/>
                </a:lnTo>
                <a:lnTo>
                  <a:pt x="374416" y="365394"/>
                </a:lnTo>
                <a:lnTo>
                  <a:pt x="366522" y="352989"/>
                </a:lnTo>
                <a:lnTo>
                  <a:pt x="355244" y="345095"/>
                </a:lnTo>
                <a:lnTo>
                  <a:pt x="371597" y="327614"/>
                </a:lnTo>
                <a:lnTo>
                  <a:pt x="370469" y="319156"/>
                </a:lnTo>
                <a:lnTo>
                  <a:pt x="362011" y="308442"/>
                </a:lnTo>
                <a:lnTo>
                  <a:pt x="356372" y="284759"/>
                </a:lnTo>
                <a:lnTo>
                  <a:pt x="359192" y="258821"/>
                </a:lnTo>
                <a:lnTo>
                  <a:pt x="366522" y="246979"/>
                </a:lnTo>
                <a:lnTo>
                  <a:pt x="373289" y="227808"/>
                </a:lnTo>
                <a:lnTo>
                  <a:pt x="362011" y="221605"/>
                </a:lnTo>
                <a:lnTo>
                  <a:pt x="343967" y="225552"/>
                </a:lnTo>
                <a:lnTo>
                  <a:pt x="321412" y="223860"/>
                </a:lnTo>
                <a:lnTo>
                  <a:pt x="308442" y="227808"/>
                </a:lnTo>
                <a:lnTo>
                  <a:pt x="287015" y="196794"/>
                </a:lnTo>
                <a:lnTo>
                  <a:pt x="268971" y="192283"/>
                </a:lnTo>
                <a:lnTo>
                  <a:pt x="228371" y="195666"/>
                </a:lnTo>
                <a:lnTo>
                  <a:pt x="221041" y="183261"/>
                </a:lnTo>
                <a:lnTo>
                  <a:pt x="213711" y="179878"/>
                </a:lnTo>
                <a:lnTo>
                  <a:pt x="212583" y="172547"/>
                </a:lnTo>
                <a:lnTo>
                  <a:pt x="217094" y="159014"/>
                </a:lnTo>
                <a:lnTo>
                  <a:pt x="214838" y="144917"/>
                </a:lnTo>
                <a:lnTo>
                  <a:pt x="208636" y="137023"/>
                </a:lnTo>
                <a:lnTo>
                  <a:pt x="205252" y="120670"/>
                </a:lnTo>
                <a:lnTo>
                  <a:pt x="188900" y="117851"/>
                </a:lnTo>
                <a:lnTo>
                  <a:pt x="199050" y="96987"/>
                </a:lnTo>
                <a:lnTo>
                  <a:pt x="204125" y="71613"/>
                </a:lnTo>
                <a:lnTo>
                  <a:pt x="214274" y="58080"/>
                </a:lnTo>
                <a:lnTo>
                  <a:pt x="226680" y="47930"/>
                </a:lnTo>
                <a:lnTo>
                  <a:pt x="235702" y="29886"/>
                </a:lnTo>
                <a:lnTo>
                  <a:pt x="256565" y="23683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4" name="Freeform: Shape 277">
            <a:extLst>
              <a:ext uri="{FF2B5EF4-FFF2-40B4-BE49-F238E27FC236}">
                <a16:creationId xmlns:a16="http://schemas.microsoft.com/office/drawing/2014/main" id="{9B06CABF-B753-4AD9-846F-6BB371FF6976}"/>
              </a:ext>
            </a:extLst>
          </p:cNvPr>
          <p:cNvSpPr/>
          <p:nvPr/>
        </p:nvSpPr>
        <p:spPr>
          <a:xfrm>
            <a:off x="3818445" y="3822018"/>
            <a:ext cx="75848" cy="80062"/>
          </a:xfrm>
          <a:custGeom>
            <a:avLst/>
            <a:gdLst>
              <a:gd name="connsiteX0" fmla="*/ 72177 w 101498"/>
              <a:gd name="connsiteY0" fmla="*/ 10150 h 107137"/>
              <a:gd name="connsiteX1" fmla="*/ 64282 w 101498"/>
              <a:gd name="connsiteY1" fmla="*/ 17480 h 107137"/>
              <a:gd name="connsiteX2" fmla="*/ 54696 w 101498"/>
              <a:gd name="connsiteY2" fmla="*/ 15225 h 107137"/>
              <a:gd name="connsiteX3" fmla="*/ 50185 w 101498"/>
              <a:gd name="connsiteY3" fmla="*/ 7894 h 107137"/>
              <a:gd name="connsiteX4" fmla="*/ 40599 w 101498"/>
              <a:gd name="connsiteY4" fmla="*/ 5075 h 107137"/>
              <a:gd name="connsiteX5" fmla="*/ 32705 w 101498"/>
              <a:gd name="connsiteY5" fmla="*/ 9586 h 107137"/>
              <a:gd name="connsiteX6" fmla="*/ 12969 w 101498"/>
              <a:gd name="connsiteY6" fmla="*/ 0 h 107137"/>
              <a:gd name="connsiteX7" fmla="*/ 7894 w 101498"/>
              <a:gd name="connsiteY7" fmla="*/ 4511 h 107137"/>
              <a:gd name="connsiteX8" fmla="*/ 0 w 101498"/>
              <a:gd name="connsiteY8" fmla="*/ 11278 h 107137"/>
              <a:gd name="connsiteX9" fmla="*/ 8458 w 101498"/>
              <a:gd name="connsiteY9" fmla="*/ 16353 h 107137"/>
              <a:gd name="connsiteX10" fmla="*/ 3383 w 101498"/>
              <a:gd name="connsiteY10" fmla="*/ 27630 h 107137"/>
              <a:gd name="connsiteX11" fmla="*/ 2819 w 101498"/>
              <a:gd name="connsiteY11" fmla="*/ 38908 h 107137"/>
              <a:gd name="connsiteX12" fmla="*/ 6767 w 101498"/>
              <a:gd name="connsiteY12" fmla="*/ 46238 h 107137"/>
              <a:gd name="connsiteX13" fmla="*/ 16353 w 101498"/>
              <a:gd name="connsiteY13" fmla="*/ 49622 h 107137"/>
              <a:gd name="connsiteX14" fmla="*/ 23119 w 101498"/>
              <a:gd name="connsiteY14" fmla="*/ 59771 h 107137"/>
              <a:gd name="connsiteX15" fmla="*/ 29886 w 101498"/>
              <a:gd name="connsiteY15" fmla="*/ 50749 h 107137"/>
              <a:gd name="connsiteX16" fmla="*/ 28194 w 101498"/>
              <a:gd name="connsiteY16" fmla="*/ 40599 h 107137"/>
              <a:gd name="connsiteX17" fmla="*/ 36088 w 101498"/>
              <a:gd name="connsiteY17" fmla="*/ 46802 h 107137"/>
              <a:gd name="connsiteX18" fmla="*/ 37780 w 101498"/>
              <a:gd name="connsiteY18" fmla="*/ 57516 h 107137"/>
              <a:gd name="connsiteX19" fmla="*/ 48494 w 101498"/>
              <a:gd name="connsiteY19" fmla="*/ 62027 h 107137"/>
              <a:gd name="connsiteX20" fmla="*/ 60335 w 101498"/>
              <a:gd name="connsiteY20" fmla="*/ 69357 h 107137"/>
              <a:gd name="connsiteX21" fmla="*/ 68793 w 101498"/>
              <a:gd name="connsiteY21" fmla="*/ 77815 h 107137"/>
              <a:gd name="connsiteX22" fmla="*/ 69357 w 101498"/>
              <a:gd name="connsiteY22" fmla="*/ 85710 h 107137"/>
              <a:gd name="connsiteX23" fmla="*/ 65410 w 101498"/>
              <a:gd name="connsiteY23" fmla="*/ 91912 h 107137"/>
              <a:gd name="connsiteX24" fmla="*/ 71613 w 101498"/>
              <a:gd name="connsiteY24" fmla="*/ 99243 h 107137"/>
              <a:gd name="connsiteX25" fmla="*/ 87965 w 101498"/>
              <a:gd name="connsiteY25" fmla="*/ 107137 h 107137"/>
              <a:gd name="connsiteX26" fmla="*/ 90221 w 101498"/>
              <a:gd name="connsiteY26" fmla="*/ 100371 h 107137"/>
              <a:gd name="connsiteX27" fmla="*/ 93040 w 101498"/>
              <a:gd name="connsiteY27" fmla="*/ 93040 h 107137"/>
              <a:gd name="connsiteX28" fmla="*/ 92476 w 101498"/>
              <a:gd name="connsiteY28" fmla="*/ 86274 h 107137"/>
              <a:gd name="connsiteX29" fmla="*/ 96987 w 101498"/>
              <a:gd name="connsiteY29" fmla="*/ 82327 h 107137"/>
              <a:gd name="connsiteX30" fmla="*/ 90785 w 101498"/>
              <a:gd name="connsiteY30" fmla="*/ 76688 h 107137"/>
              <a:gd name="connsiteX31" fmla="*/ 91349 w 101498"/>
              <a:gd name="connsiteY31" fmla="*/ 62591 h 107137"/>
              <a:gd name="connsiteX32" fmla="*/ 103754 w 101498"/>
              <a:gd name="connsiteY32" fmla="*/ 59207 h 107137"/>
              <a:gd name="connsiteX33" fmla="*/ 90221 w 101498"/>
              <a:gd name="connsiteY33" fmla="*/ 43983 h 107137"/>
              <a:gd name="connsiteX34" fmla="*/ 78943 w 101498"/>
              <a:gd name="connsiteY34" fmla="*/ 29322 h 107137"/>
              <a:gd name="connsiteX35" fmla="*/ 72177 w 101498"/>
              <a:gd name="connsiteY35" fmla="*/ 10150 h 107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101498" h="107137">
                <a:moveTo>
                  <a:pt x="72177" y="10150"/>
                </a:moveTo>
                <a:lnTo>
                  <a:pt x="64282" y="17480"/>
                </a:lnTo>
                <a:lnTo>
                  <a:pt x="54696" y="15225"/>
                </a:lnTo>
                <a:lnTo>
                  <a:pt x="50185" y="7894"/>
                </a:lnTo>
                <a:lnTo>
                  <a:pt x="40599" y="5075"/>
                </a:lnTo>
                <a:lnTo>
                  <a:pt x="32705" y="9586"/>
                </a:lnTo>
                <a:lnTo>
                  <a:pt x="12969" y="0"/>
                </a:lnTo>
                <a:lnTo>
                  <a:pt x="7894" y="4511"/>
                </a:lnTo>
                <a:lnTo>
                  <a:pt x="0" y="11278"/>
                </a:lnTo>
                <a:lnTo>
                  <a:pt x="8458" y="16353"/>
                </a:lnTo>
                <a:lnTo>
                  <a:pt x="3383" y="27630"/>
                </a:lnTo>
                <a:lnTo>
                  <a:pt x="2819" y="38908"/>
                </a:lnTo>
                <a:lnTo>
                  <a:pt x="6767" y="46238"/>
                </a:lnTo>
                <a:lnTo>
                  <a:pt x="16353" y="49622"/>
                </a:lnTo>
                <a:lnTo>
                  <a:pt x="23119" y="59771"/>
                </a:lnTo>
                <a:lnTo>
                  <a:pt x="29886" y="50749"/>
                </a:lnTo>
                <a:lnTo>
                  <a:pt x="28194" y="40599"/>
                </a:lnTo>
                <a:lnTo>
                  <a:pt x="36088" y="46802"/>
                </a:lnTo>
                <a:lnTo>
                  <a:pt x="37780" y="57516"/>
                </a:lnTo>
                <a:lnTo>
                  <a:pt x="48494" y="62027"/>
                </a:lnTo>
                <a:lnTo>
                  <a:pt x="60335" y="69357"/>
                </a:lnTo>
                <a:lnTo>
                  <a:pt x="68793" y="77815"/>
                </a:lnTo>
                <a:lnTo>
                  <a:pt x="69357" y="85710"/>
                </a:lnTo>
                <a:lnTo>
                  <a:pt x="65410" y="91912"/>
                </a:lnTo>
                <a:lnTo>
                  <a:pt x="71613" y="99243"/>
                </a:lnTo>
                <a:lnTo>
                  <a:pt x="87965" y="107137"/>
                </a:lnTo>
                <a:lnTo>
                  <a:pt x="90221" y="100371"/>
                </a:lnTo>
                <a:lnTo>
                  <a:pt x="93040" y="93040"/>
                </a:lnTo>
                <a:lnTo>
                  <a:pt x="92476" y="86274"/>
                </a:lnTo>
                <a:lnTo>
                  <a:pt x="96987" y="82327"/>
                </a:lnTo>
                <a:lnTo>
                  <a:pt x="90785" y="76688"/>
                </a:lnTo>
                <a:lnTo>
                  <a:pt x="91349" y="62591"/>
                </a:lnTo>
                <a:lnTo>
                  <a:pt x="103754" y="59207"/>
                </a:lnTo>
                <a:lnTo>
                  <a:pt x="90221" y="43983"/>
                </a:lnTo>
                <a:lnTo>
                  <a:pt x="78943" y="29322"/>
                </a:lnTo>
                <a:lnTo>
                  <a:pt x="72177" y="10150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5" name="Freeform: Shape 278">
            <a:extLst>
              <a:ext uri="{FF2B5EF4-FFF2-40B4-BE49-F238E27FC236}">
                <a16:creationId xmlns:a16="http://schemas.microsoft.com/office/drawing/2014/main" id="{03702040-FAA6-454E-AA9E-841E2F23EEA5}"/>
              </a:ext>
            </a:extLst>
          </p:cNvPr>
          <p:cNvSpPr/>
          <p:nvPr/>
        </p:nvSpPr>
        <p:spPr>
          <a:xfrm>
            <a:off x="3872803" y="3500927"/>
            <a:ext cx="244399" cy="88490"/>
          </a:xfrm>
          <a:custGeom>
            <a:avLst/>
            <a:gdLst>
              <a:gd name="connsiteX0" fmla="*/ 168036 w 327050"/>
              <a:gd name="connsiteY0" fmla="*/ 15225 h 118414"/>
              <a:gd name="connsiteX1" fmla="*/ 140406 w 327050"/>
              <a:gd name="connsiteY1" fmla="*/ 3383 h 118414"/>
              <a:gd name="connsiteX2" fmla="*/ 116159 w 327050"/>
              <a:gd name="connsiteY2" fmla="*/ 2819 h 118414"/>
              <a:gd name="connsiteX3" fmla="*/ 89657 w 327050"/>
              <a:gd name="connsiteY3" fmla="*/ 0 h 118414"/>
              <a:gd name="connsiteX4" fmla="*/ 81763 w 327050"/>
              <a:gd name="connsiteY4" fmla="*/ 3947 h 118414"/>
              <a:gd name="connsiteX5" fmla="*/ 58080 w 327050"/>
              <a:gd name="connsiteY5" fmla="*/ 7330 h 118414"/>
              <a:gd name="connsiteX6" fmla="*/ 41163 w 327050"/>
              <a:gd name="connsiteY6" fmla="*/ 14661 h 118414"/>
              <a:gd name="connsiteX7" fmla="*/ 25938 w 327050"/>
              <a:gd name="connsiteY7" fmla="*/ 22555 h 118414"/>
              <a:gd name="connsiteX8" fmla="*/ 17480 w 327050"/>
              <a:gd name="connsiteY8" fmla="*/ 35524 h 118414"/>
              <a:gd name="connsiteX9" fmla="*/ 0 w 327050"/>
              <a:gd name="connsiteY9" fmla="*/ 46802 h 118414"/>
              <a:gd name="connsiteX10" fmla="*/ 12405 w 327050"/>
              <a:gd name="connsiteY10" fmla="*/ 50185 h 118414"/>
              <a:gd name="connsiteX11" fmla="*/ 28758 w 327050"/>
              <a:gd name="connsiteY11" fmla="*/ 46238 h 118414"/>
              <a:gd name="connsiteX12" fmla="*/ 33833 w 327050"/>
              <a:gd name="connsiteY12" fmla="*/ 37216 h 118414"/>
              <a:gd name="connsiteX13" fmla="*/ 46802 w 327050"/>
              <a:gd name="connsiteY13" fmla="*/ 36652 h 118414"/>
              <a:gd name="connsiteX14" fmla="*/ 71613 w 327050"/>
              <a:gd name="connsiteY14" fmla="*/ 18044 h 118414"/>
              <a:gd name="connsiteX15" fmla="*/ 102062 w 327050"/>
              <a:gd name="connsiteY15" fmla="*/ 19736 h 118414"/>
              <a:gd name="connsiteX16" fmla="*/ 89093 w 327050"/>
              <a:gd name="connsiteY16" fmla="*/ 28758 h 118414"/>
              <a:gd name="connsiteX17" fmla="*/ 99243 w 327050"/>
              <a:gd name="connsiteY17" fmla="*/ 36088 h 118414"/>
              <a:gd name="connsiteX18" fmla="*/ 138714 w 327050"/>
              <a:gd name="connsiteY18" fmla="*/ 41727 h 118414"/>
              <a:gd name="connsiteX19" fmla="*/ 147173 w 327050"/>
              <a:gd name="connsiteY19" fmla="*/ 49057 h 118414"/>
              <a:gd name="connsiteX20" fmla="*/ 174803 w 327050"/>
              <a:gd name="connsiteY20" fmla="*/ 58643 h 118414"/>
              <a:gd name="connsiteX21" fmla="*/ 192847 w 327050"/>
              <a:gd name="connsiteY21" fmla="*/ 57516 h 118414"/>
              <a:gd name="connsiteX22" fmla="*/ 197358 w 327050"/>
              <a:gd name="connsiteY22" fmla="*/ 77815 h 118414"/>
              <a:gd name="connsiteX23" fmla="*/ 206944 w 327050"/>
              <a:gd name="connsiteY23" fmla="*/ 87965 h 118414"/>
              <a:gd name="connsiteX24" fmla="*/ 226680 w 327050"/>
              <a:gd name="connsiteY24" fmla="*/ 90221 h 118414"/>
              <a:gd name="connsiteX25" fmla="*/ 238521 w 327050"/>
              <a:gd name="connsiteY25" fmla="*/ 99807 h 118414"/>
              <a:gd name="connsiteX26" fmla="*/ 215402 w 327050"/>
              <a:gd name="connsiteY26" fmla="*/ 119542 h 118414"/>
              <a:gd name="connsiteX27" fmla="*/ 259949 w 327050"/>
              <a:gd name="connsiteY27" fmla="*/ 116159 h 118414"/>
              <a:gd name="connsiteX28" fmla="*/ 281376 w 327050"/>
              <a:gd name="connsiteY28" fmla="*/ 118979 h 118414"/>
              <a:gd name="connsiteX29" fmla="*/ 302240 w 327050"/>
              <a:gd name="connsiteY29" fmla="*/ 117287 h 118414"/>
              <a:gd name="connsiteX30" fmla="*/ 323667 w 327050"/>
              <a:gd name="connsiteY30" fmla="*/ 112776 h 118414"/>
              <a:gd name="connsiteX31" fmla="*/ 328178 w 327050"/>
              <a:gd name="connsiteY31" fmla="*/ 104318 h 118414"/>
              <a:gd name="connsiteX32" fmla="*/ 306187 w 327050"/>
              <a:gd name="connsiteY32" fmla="*/ 89657 h 118414"/>
              <a:gd name="connsiteX33" fmla="*/ 283632 w 327050"/>
              <a:gd name="connsiteY33" fmla="*/ 87965 h 118414"/>
              <a:gd name="connsiteX34" fmla="*/ 287015 w 327050"/>
              <a:gd name="connsiteY34" fmla="*/ 78379 h 118414"/>
              <a:gd name="connsiteX35" fmla="*/ 269535 w 327050"/>
              <a:gd name="connsiteY35" fmla="*/ 71049 h 118414"/>
              <a:gd name="connsiteX36" fmla="*/ 258821 w 327050"/>
              <a:gd name="connsiteY36" fmla="*/ 71049 h 118414"/>
              <a:gd name="connsiteX37" fmla="*/ 241904 w 327050"/>
              <a:gd name="connsiteY37" fmla="*/ 55260 h 118414"/>
              <a:gd name="connsiteX38" fmla="*/ 218222 w 327050"/>
              <a:gd name="connsiteY38" fmla="*/ 32705 h 118414"/>
              <a:gd name="connsiteX39" fmla="*/ 208072 w 327050"/>
              <a:gd name="connsiteY39" fmla="*/ 24247 h 118414"/>
              <a:gd name="connsiteX40" fmla="*/ 178750 w 327050"/>
              <a:gd name="connsiteY40" fmla="*/ 28758 h 118414"/>
              <a:gd name="connsiteX41" fmla="*/ 168036 w 327050"/>
              <a:gd name="connsiteY41" fmla="*/ 15225 h 1184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327050" h="118414">
                <a:moveTo>
                  <a:pt x="168036" y="15225"/>
                </a:moveTo>
                <a:lnTo>
                  <a:pt x="140406" y="3383"/>
                </a:lnTo>
                <a:lnTo>
                  <a:pt x="116159" y="2819"/>
                </a:lnTo>
                <a:lnTo>
                  <a:pt x="89657" y="0"/>
                </a:lnTo>
                <a:lnTo>
                  <a:pt x="81763" y="3947"/>
                </a:lnTo>
                <a:lnTo>
                  <a:pt x="58080" y="7330"/>
                </a:lnTo>
                <a:lnTo>
                  <a:pt x="41163" y="14661"/>
                </a:lnTo>
                <a:lnTo>
                  <a:pt x="25938" y="22555"/>
                </a:lnTo>
                <a:lnTo>
                  <a:pt x="17480" y="35524"/>
                </a:lnTo>
                <a:lnTo>
                  <a:pt x="0" y="46802"/>
                </a:lnTo>
                <a:lnTo>
                  <a:pt x="12405" y="50185"/>
                </a:lnTo>
                <a:lnTo>
                  <a:pt x="28758" y="46238"/>
                </a:lnTo>
                <a:lnTo>
                  <a:pt x="33833" y="37216"/>
                </a:lnTo>
                <a:lnTo>
                  <a:pt x="46802" y="36652"/>
                </a:lnTo>
                <a:lnTo>
                  <a:pt x="71613" y="18044"/>
                </a:lnTo>
                <a:lnTo>
                  <a:pt x="102062" y="19736"/>
                </a:lnTo>
                <a:lnTo>
                  <a:pt x="89093" y="28758"/>
                </a:lnTo>
                <a:lnTo>
                  <a:pt x="99243" y="36088"/>
                </a:lnTo>
                <a:lnTo>
                  <a:pt x="138714" y="41727"/>
                </a:lnTo>
                <a:lnTo>
                  <a:pt x="147173" y="49057"/>
                </a:lnTo>
                <a:lnTo>
                  <a:pt x="174803" y="58643"/>
                </a:lnTo>
                <a:lnTo>
                  <a:pt x="192847" y="57516"/>
                </a:lnTo>
                <a:lnTo>
                  <a:pt x="197358" y="77815"/>
                </a:lnTo>
                <a:lnTo>
                  <a:pt x="206944" y="87965"/>
                </a:lnTo>
                <a:lnTo>
                  <a:pt x="226680" y="90221"/>
                </a:lnTo>
                <a:lnTo>
                  <a:pt x="238521" y="99807"/>
                </a:lnTo>
                <a:lnTo>
                  <a:pt x="215402" y="119542"/>
                </a:lnTo>
                <a:lnTo>
                  <a:pt x="259949" y="116159"/>
                </a:lnTo>
                <a:lnTo>
                  <a:pt x="281376" y="118979"/>
                </a:lnTo>
                <a:lnTo>
                  <a:pt x="302240" y="117287"/>
                </a:lnTo>
                <a:lnTo>
                  <a:pt x="323667" y="112776"/>
                </a:lnTo>
                <a:lnTo>
                  <a:pt x="328178" y="104318"/>
                </a:lnTo>
                <a:lnTo>
                  <a:pt x="306187" y="89657"/>
                </a:lnTo>
                <a:lnTo>
                  <a:pt x="283632" y="87965"/>
                </a:lnTo>
                <a:lnTo>
                  <a:pt x="287015" y="78379"/>
                </a:lnTo>
                <a:lnTo>
                  <a:pt x="269535" y="71049"/>
                </a:lnTo>
                <a:lnTo>
                  <a:pt x="258821" y="71049"/>
                </a:lnTo>
                <a:lnTo>
                  <a:pt x="241904" y="55260"/>
                </a:lnTo>
                <a:lnTo>
                  <a:pt x="218222" y="32705"/>
                </a:lnTo>
                <a:lnTo>
                  <a:pt x="208072" y="24247"/>
                </a:lnTo>
                <a:lnTo>
                  <a:pt x="178750" y="28758"/>
                </a:lnTo>
                <a:lnTo>
                  <a:pt x="168036" y="15225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6" name="Freeform: Shape 279">
            <a:extLst>
              <a:ext uri="{FF2B5EF4-FFF2-40B4-BE49-F238E27FC236}">
                <a16:creationId xmlns:a16="http://schemas.microsoft.com/office/drawing/2014/main" id="{08B8F584-D0E9-47DA-996B-0DB1ED54F8F5}"/>
              </a:ext>
            </a:extLst>
          </p:cNvPr>
          <p:cNvSpPr/>
          <p:nvPr/>
        </p:nvSpPr>
        <p:spPr>
          <a:xfrm>
            <a:off x="6093891" y="2758457"/>
            <a:ext cx="134842" cy="63207"/>
          </a:xfrm>
          <a:custGeom>
            <a:avLst/>
            <a:gdLst>
              <a:gd name="connsiteX0" fmla="*/ 73868 w 180441"/>
              <a:gd name="connsiteY0" fmla="*/ 564 h 84582"/>
              <a:gd name="connsiteX1" fmla="*/ 62027 w 180441"/>
              <a:gd name="connsiteY1" fmla="*/ 3947 h 84582"/>
              <a:gd name="connsiteX2" fmla="*/ 54132 w 180441"/>
              <a:gd name="connsiteY2" fmla="*/ 0 h 84582"/>
              <a:gd name="connsiteX3" fmla="*/ 47930 w 180441"/>
              <a:gd name="connsiteY3" fmla="*/ 6767 h 84582"/>
              <a:gd name="connsiteX4" fmla="*/ 28758 w 180441"/>
              <a:gd name="connsiteY4" fmla="*/ 13533 h 84582"/>
              <a:gd name="connsiteX5" fmla="*/ 19171 w 180441"/>
              <a:gd name="connsiteY5" fmla="*/ 21991 h 84582"/>
              <a:gd name="connsiteX6" fmla="*/ 0 w 180441"/>
              <a:gd name="connsiteY6" fmla="*/ 29322 h 84582"/>
              <a:gd name="connsiteX7" fmla="*/ 5639 w 180441"/>
              <a:gd name="connsiteY7" fmla="*/ 40036 h 84582"/>
              <a:gd name="connsiteX8" fmla="*/ 9586 w 180441"/>
              <a:gd name="connsiteY8" fmla="*/ 54696 h 84582"/>
              <a:gd name="connsiteX9" fmla="*/ 24246 w 180441"/>
              <a:gd name="connsiteY9" fmla="*/ 63155 h 84582"/>
              <a:gd name="connsiteX10" fmla="*/ 40599 w 180441"/>
              <a:gd name="connsiteY10" fmla="*/ 77816 h 84582"/>
              <a:gd name="connsiteX11" fmla="*/ 62027 w 180441"/>
              <a:gd name="connsiteY11" fmla="*/ 89093 h 84582"/>
              <a:gd name="connsiteX12" fmla="*/ 76688 w 180441"/>
              <a:gd name="connsiteY12" fmla="*/ 74996 h 84582"/>
              <a:gd name="connsiteX13" fmla="*/ 86273 w 180441"/>
              <a:gd name="connsiteY13" fmla="*/ 72177 h 84582"/>
              <a:gd name="connsiteX14" fmla="*/ 108828 w 180441"/>
              <a:gd name="connsiteY14" fmla="*/ 82890 h 84582"/>
              <a:gd name="connsiteX15" fmla="*/ 121798 w 180441"/>
              <a:gd name="connsiteY15" fmla="*/ 81199 h 84582"/>
              <a:gd name="connsiteX16" fmla="*/ 134767 w 180441"/>
              <a:gd name="connsiteY16" fmla="*/ 87965 h 84582"/>
              <a:gd name="connsiteX17" fmla="*/ 138151 w 180441"/>
              <a:gd name="connsiteY17" fmla="*/ 80071 h 84582"/>
              <a:gd name="connsiteX18" fmla="*/ 150556 w 180441"/>
              <a:gd name="connsiteY18" fmla="*/ 80635 h 84582"/>
              <a:gd name="connsiteX19" fmla="*/ 159578 w 180441"/>
              <a:gd name="connsiteY19" fmla="*/ 77252 h 84582"/>
              <a:gd name="connsiteX20" fmla="*/ 160141 w 180441"/>
              <a:gd name="connsiteY20" fmla="*/ 73868 h 84582"/>
              <a:gd name="connsiteX21" fmla="*/ 165216 w 180441"/>
              <a:gd name="connsiteY21" fmla="*/ 72177 h 84582"/>
              <a:gd name="connsiteX22" fmla="*/ 166345 w 180441"/>
              <a:gd name="connsiteY22" fmla="*/ 64282 h 84582"/>
              <a:gd name="connsiteX23" fmla="*/ 172547 w 180441"/>
              <a:gd name="connsiteY23" fmla="*/ 62591 h 84582"/>
              <a:gd name="connsiteX24" fmla="*/ 175930 w 180441"/>
              <a:gd name="connsiteY24" fmla="*/ 56388 h 84582"/>
              <a:gd name="connsiteX25" fmla="*/ 184388 w 180441"/>
              <a:gd name="connsiteY25" fmla="*/ 56388 h 84582"/>
              <a:gd name="connsiteX26" fmla="*/ 169728 w 180441"/>
              <a:gd name="connsiteY26" fmla="*/ 38908 h 84582"/>
              <a:gd name="connsiteX27" fmla="*/ 149428 w 180441"/>
              <a:gd name="connsiteY27" fmla="*/ 37216 h 84582"/>
              <a:gd name="connsiteX28" fmla="*/ 145481 w 180441"/>
              <a:gd name="connsiteY28" fmla="*/ 25939 h 84582"/>
              <a:gd name="connsiteX29" fmla="*/ 126309 w 180441"/>
              <a:gd name="connsiteY29" fmla="*/ 22555 h 84582"/>
              <a:gd name="connsiteX30" fmla="*/ 122925 w 180441"/>
              <a:gd name="connsiteY30" fmla="*/ 31013 h 84582"/>
              <a:gd name="connsiteX31" fmla="*/ 107701 w 180441"/>
              <a:gd name="connsiteY31" fmla="*/ 24247 h 84582"/>
              <a:gd name="connsiteX32" fmla="*/ 108265 w 180441"/>
              <a:gd name="connsiteY32" fmla="*/ 14661 h 84582"/>
              <a:gd name="connsiteX33" fmla="*/ 87401 w 180441"/>
              <a:gd name="connsiteY33" fmla="*/ 11278 h 84582"/>
              <a:gd name="connsiteX34" fmla="*/ 73868 w 180441"/>
              <a:gd name="connsiteY34" fmla="*/ 564 h 84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80441" h="84582">
                <a:moveTo>
                  <a:pt x="73868" y="564"/>
                </a:moveTo>
                <a:lnTo>
                  <a:pt x="62027" y="3947"/>
                </a:lnTo>
                <a:lnTo>
                  <a:pt x="54132" y="0"/>
                </a:lnTo>
                <a:lnTo>
                  <a:pt x="47930" y="6767"/>
                </a:lnTo>
                <a:lnTo>
                  <a:pt x="28758" y="13533"/>
                </a:lnTo>
                <a:lnTo>
                  <a:pt x="19171" y="21991"/>
                </a:lnTo>
                <a:lnTo>
                  <a:pt x="0" y="29322"/>
                </a:lnTo>
                <a:lnTo>
                  <a:pt x="5639" y="40036"/>
                </a:lnTo>
                <a:lnTo>
                  <a:pt x="9586" y="54696"/>
                </a:lnTo>
                <a:lnTo>
                  <a:pt x="24246" y="63155"/>
                </a:lnTo>
                <a:lnTo>
                  <a:pt x="40599" y="77816"/>
                </a:lnTo>
                <a:lnTo>
                  <a:pt x="62027" y="89093"/>
                </a:lnTo>
                <a:lnTo>
                  <a:pt x="76688" y="74996"/>
                </a:lnTo>
                <a:lnTo>
                  <a:pt x="86273" y="72177"/>
                </a:lnTo>
                <a:lnTo>
                  <a:pt x="108828" y="82890"/>
                </a:lnTo>
                <a:lnTo>
                  <a:pt x="121798" y="81199"/>
                </a:lnTo>
                <a:lnTo>
                  <a:pt x="134767" y="87965"/>
                </a:lnTo>
                <a:lnTo>
                  <a:pt x="138151" y="80071"/>
                </a:lnTo>
                <a:lnTo>
                  <a:pt x="150556" y="80635"/>
                </a:lnTo>
                <a:lnTo>
                  <a:pt x="159578" y="77252"/>
                </a:lnTo>
                <a:lnTo>
                  <a:pt x="160141" y="73868"/>
                </a:lnTo>
                <a:lnTo>
                  <a:pt x="165216" y="72177"/>
                </a:lnTo>
                <a:lnTo>
                  <a:pt x="166345" y="64282"/>
                </a:lnTo>
                <a:lnTo>
                  <a:pt x="172547" y="62591"/>
                </a:lnTo>
                <a:lnTo>
                  <a:pt x="175930" y="56388"/>
                </a:lnTo>
                <a:lnTo>
                  <a:pt x="184388" y="56388"/>
                </a:lnTo>
                <a:lnTo>
                  <a:pt x="169728" y="38908"/>
                </a:lnTo>
                <a:lnTo>
                  <a:pt x="149428" y="37216"/>
                </a:lnTo>
                <a:lnTo>
                  <a:pt x="145481" y="25939"/>
                </a:lnTo>
                <a:lnTo>
                  <a:pt x="126309" y="22555"/>
                </a:lnTo>
                <a:lnTo>
                  <a:pt x="122925" y="31013"/>
                </a:lnTo>
                <a:lnTo>
                  <a:pt x="107701" y="24247"/>
                </a:lnTo>
                <a:lnTo>
                  <a:pt x="108265" y="14661"/>
                </a:lnTo>
                <a:lnTo>
                  <a:pt x="87401" y="11278"/>
                </a:lnTo>
                <a:lnTo>
                  <a:pt x="73868" y="564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7" name="Freeform: Shape 280">
            <a:extLst>
              <a:ext uri="{FF2B5EF4-FFF2-40B4-BE49-F238E27FC236}">
                <a16:creationId xmlns:a16="http://schemas.microsoft.com/office/drawing/2014/main" id="{5E25958D-0B91-4F84-BA2E-3F9B294EEE31}"/>
              </a:ext>
            </a:extLst>
          </p:cNvPr>
          <p:cNvSpPr/>
          <p:nvPr/>
        </p:nvSpPr>
        <p:spPr>
          <a:xfrm>
            <a:off x="5964106" y="2659855"/>
            <a:ext cx="181193" cy="198049"/>
          </a:xfrm>
          <a:custGeom>
            <a:avLst/>
            <a:gdLst>
              <a:gd name="connsiteX0" fmla="*/ 214838 w 242468"/>
              <a:gd name="connsiteY0" fmla="*/ 41163 h 265023"/>
              <a:gd name="connsiteX1" fmla="*/ 201305 w 242468"/>
              <a:gd name="connsiteY1" fmla="*/ 30449 h 265023"/>
              <a:gd name="connsiteX2" fmla="*/ 170291 w 242468"/>
              <a:gd name="connsiteY2" fmla="*/ 16916 h 265023"/>
              <a:gd name="connsiteX3" fmla="*/ 156194 w 242468"/>
              <a:gd name="connsiteY3" fmla="*/ 26502 h 265023"/>
              <a:gd name="connsiteX4" fmla="*/ 129692 w 242468"/>
              <a:gd name="connsiteY4" fmla="*/ 32705 h 265023"/>
              <a:gd name="connsiteX5" fmla="*/ 129129 w 242468"/>
              <a:gd name="connsiteY5" fmla="*/ 20864 h 265023"/>
              <a:gd name="connsiteX6" fmla="*/ 101498 w 242468"/>
              <a:gd name="connsiteY6" fmla="*/ 12969 h 265023"/>
              <a:gd name="connsiteX7" fmla="*/ 100371 w 242468"/>
              <a:gd name="connsiteY7" fmla="*/ 0 h 265023"/>
              <a:gd name="connsiteX8" fmla="*/ 83454 w 242468"/>
              <a:gd name="connsiteY8" fmla="*/ 5075 h 265023"/>
              <a:gd name="connsiteX9" fmla="*/ 63155 w 242468"/>
              <a:gd name="connsiteY9" fmla="*/ 564 h 265023"/>
              <a:gd name="connsiteX10" fmla="*/ 65410 w 242468"/>
              <a:gd name="connsiteY10" fmla="*/ 19736 h 265023"/>
              <a:gd name="connsiteX11" fmla="*/ 72177 w 242468"/>
              <a:gd name="connsiteY11" fmla="*/ 32141 h 265023"/>
              <a:gd name="connsiteX12" fmla="*/ 55260 w 242468"/>
              <a:gd name="connsiteY12" fmla="*/ 49058 h 265023"/>
              <a:gd name="connsiteX13" fmla="*/ 49621 w 242468"/>
              <a:gd name="connsiteY13" fmla="*/ 41727 h 265023"/>
              <a:gd name="connsiteX14" fmla="*/ 27630 w 242468"/>
              <a:gd name="connsiteY14" fmla="*/ 43419 h 265023"/>
              <a:gd name="connsiteX15" fmla="*/ 22555 w 242468"/>
              <a:gd name="connsiteY15" fmla="*/ 50749 h 265023"/>
              <a:gd name="connsiteX16" fmla="*/ 28194 w 242468"/>
              <a:gd name="connsiteY16" fmla="*/ 62027 h 265023"/>
              <a:gd name="connsiteX17" fmla="*/ 22555 w 242468"/>
              <a:gd name="connsiteY17" fmla="*/ 93604 h 265023"/>
              <a:gd name="connsiteX18" fmla="*/ 16353 w 242468"/>
              <a:gd name="connsiteY18" fmla="*/ 106573 h 265023"/>
              <a:gd name="connsiteX19" fmla="*/ 0 w 242468"/>
              <a:gd name="connsiteY19" fmla="*/ 106573 h 265023"/>
              <a:gd name="connsiteX20" fmla="*/ 6203 w 242468"/>
              <a:gd name="connsiteY20" fmla="*/ 142662 h 265023"/>
              <a:gd name="connsiteX21" fmla="*/ 3947 w 242468"/>
              <a:gd name="connsiteY21" fmla="*/ 166345 h 265023"/>
              <a:gd name="connsiteX22" fmla="*/ 9586 w 242468"/>
              <a:gd name="connsiteY22" fmla="*/ 174239 h 265023"/>
              <a:gd name="connsiteX23" fmla="*/ 8458 w 242468"/>
              <a:gd name="connsiteY23" fmla="*/ 189464 h 265023"/>
              <a:gd name="connsiteX24" fmla="*/ 21991 w 242468"/>
              <a:gd name="connsiteY24" fmla="*/ 198486 h 265023"/>
              <a:gd name="connsiteX25" fmla="*/ 62027 w 242468"/>
              <a:gd name="connsiteY25" fmla="*/ 205252 h 265023"/>
              <a:gd name="connsiteX26" fmla="*/ 49058 w 242468"/>
              <a:gd name="connsiteY26" fmla="*/ 228935 h 265023"/>
              <a:gd name="connsiteX27" fmla="*/ 46238 w 242468"/>
              <a:gd name="connsiteY27" fmla="*/ 254310 h 265023"/>
              <a:gd name="connsiteX28" fmla="*/ 69921 w 242468"/>
              <a:gd name="connsiteY28" fmla="*/ 254310 h 265023"/>
              <a:gd name="connsiteX29" fmla="*/ 75560 w 242468"/>
              <a:gd name="connsiteY29" fmla="*/ 246416 h 265023"/>
              <a:gd name="connsiteX30" fmla="*/ 106010 w 242468"/>
              <a:gd name="connsiteY30" fmla="*/ 257129 h 265023"/>
              <a:gd name="connsiteX31" fmla="*/ 114468 w 242468"/>
              <a:gd name="connsiteY31" fmla="*/ 255438 h 265023"/>
              <a:gd name="connsiteX32" fmla="*/ 129129 w 242468"/>
              <a:gd name="connsiteY32" fmla="*/ 265024 h 265023"/>
              <a:gd name="connsiteX33" fmla="*/ 132512 w 242468"/>
              <a:gd name="connsiteY33" fmla="*/ 256002 h 265023"/>
              <a:gd name="connsiteX34" fmla="*/ 157323 w 242468"/>
              <a:gd name="connsiteY34" fmla="*/ 257693 h 265023"/>
              <a:gd name="connsiteX35" fmla="*/ 176495 w 242468"/>
              <a:gd name="connsiteY35" fmla="*/ 250927 h 265023"/>
              <a:gd name="connsiteX36" fmla="*/ 190027 w 242468"/>
              <a:gd name="connsiteY36" fmla="*/ 252054 h 265023"/>
              <a:gd name="connsiteX37" fmla="*/ 199614 w 242468"/>
              <a:gd name="connsiteY37" fmla="*/ 259385 h 265023"/>
              <a:gd name="connsiteX38" fmla="*/ 201869 w 242468"/>
              <a:gd name="connsiteY38" fmla="*/ 253182 h 265023"/>
              <a:gd name="connsiteX39" fmla="*/ 196231 w 242468"/>
              <a:gd name="connsiteY39" fmla="*/ 230627 h 265023"/>
              <a:gd name="connsiteX40" fmla="*/ 205816 w 242468"/>
              <a:gd name="connsiteY40" fmla="*/ 226116 h 265023"/>
              <a:gd name="connsiteX41" fmla="*/ 214274 w 242468"/>
              <a:gd name="connsiteY41" fmla="*/ 209763 h 265023"/>
              <a:gd name="connsiteX42" fmla="*/ 197922 w 242468"/>
              <a:gd name="connsiteY42" fmla="*/ 195103 h 265023"/>
              <a:gd name="connsiteX43" fmla="*/ 183261 w 242468"/>
              <a:gd name="connsiteY43" fmla="*/ 186644 h 265023"/>
              <a:gd name="connsiteX44" fmla="*/ 179314 w 242468"/>
              <a:gd name="connsiteY44" fmla="*/ 171983 h 265023"/>
              <a:gd name="connsiteX45" fmla="*/ 173675 w 242468"/>
              <a:gd name="connsiteY45" fmla="*/ 161270 h 265023"/>
              <a:gd name="connsiteX46" fmla="*/ 192847 w 242468"/>
              <a:gd name="connsiteY46" fmla="*/ 153939 h 265023"/>
              <a:gd name="connsiteX47" fmla="*/ 202433 w 242468"/>
              <a:gd name="connsiteY47" fmla="*/ 145481 h 265023"/>
              <a:gd name="connsiteX48" fmla="*/ 221605 w 242468"/>
              <a:gd name="connsiteY48" fmla="*/ 138715 h 265023"/>
              <a:gd name="connsiteX49" fmla="*/ 227808 w 242468"/>
              <a:gd name="connsiteY49" fmla="*/ 131948 h 265023"/>
              <a:gd name="connsiteX50" fmla="*/ 235702 w 242468"/>
              <a:gd name="connsiteY50" fmla="*/ 135895 h 265023"/>
              <a:gd name="connsiteX51" fmla="*/ 247543 w 242468"/>
              <a:gd name="connsiteY51" fmla="*/ 132512 h 265023"/>
              <a:gd name="connsiteX52" fmla="*/ 234574 w 242468"/>
              <a:gd name="connsiteY52" fmla="*/ 110521 h 265023"/>
              <a:gd name="connsiteX53" fmla="*/ 235138 w 242468"/>
              <a:gd name="connsiteY53" fmla="*/ 98679 h 265023"/>
              <a:gd name="connsiteX54" fmla="*/ 227244 w 242468"/>
              <a:gd name="connsiteY54" fmla="*/ 80071 h 265023"/>
              <a:gd name="connsiteX55" fmla="*/ 215966 w 242468"/>
              <a:gd name="connsiteY55" fmla="*/ 67666 h 265023"/>
              <a:gd name="connsiteX56" fmla="*/ 222733 w 242468"/>
              <a:gd name="connsiteY56" fmla="*/ 58643 h 265023"/>
              <a:gd name="connsiteX57" fmla="*/ 214838 w 242468"/>
              <a:gd name="connsiteY57" fmla="*/ 41163 h 2650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242468" h="265023">
                <a:moveTo>
                  <a:pt x="214838" y="41163"/>
                </a:moveTo>
                <a:lnTo>
                  <a:pt x="201305" y="30449"/>
                </a:lnTo>
                <a:lnTo>
                  <a:pt x="170291" y="16916"/>
                </a:lnTo>
                <a:lnTo>
                  <a:pt x="156194" y="26502"/>
                </a:lnTo>
                <a:lnTo>
                  <a:pt x="129692" y="32705"/>
                </a:lnTo>
                <a:lnTo>
                  <a:pt x="129129" y="20864"/>
                </a:lnTo>
                <a:lnTo>
                  <a:pt x="101498" y="12969"/>
                </a:lnTo>
                <a:lnTo>
                  <a:pt x="100371" y="0"/>
                </a:lnTo>
                <a:lnTo>
                  <a:pt x="83454" y="5075"/>
                </a:lnTo>
                <a:lnTo>
                  <a:pt x="63155" y="564"/>
                </a:lnTo>
                <a:lnTo>
                  <a:pt x="65410" y="19736"/>
                </a:lnTo>
                <a:lnTo>
                  <a:pt x="72177" y="32141"/>
                </a:lnTo>
                <a:lnTo>
                  <a:pt x="55260" y="49058"/>
                </a:lnTo>
                <a:lnTo>
                  <a:pt x="49621" y="41727"/>
                </a:lnTo>
                <a:lnTo>
                  <a:pt x="27630" y="43419"/>
                </a:lnTo>
                <a:lnTo>
                  <a:pt x="22555" y="50749"/>
                </a:lnTo>
                <a:lnTo>
                  <a:pt x="28194" y="62027"/>
                </a:lnTo>
                <a:lnTo>
                  <a:pt x="22555" y="93604"/>
                </a:lnTo>
                <a:lnTo>
                  <a:pt x="16353" y="106573"/>
                </a:lnTo>
                <a:lnTo>
                  <a:pt x="0" y="106573"/>
                </a:lnTo>
                <a:lnTo>
                  <a:pt x="6203" y="142662"/>
                </a:lnTo>
                <a:lnTo>
                  <a:pt x="3947" y="166345"/>
                </a:lnTo>
                <a:lnTo>
                  <a:pt x="9586" y="174239"/>
                </a:lnTo>
                <a:lnTo>
                  <a:pt x="8458" y="189464"/>
                </a:lnTo>
                <a:lnTo>
                  <a:pt x="21991" y="198486"/>
                </a:lnTo>
                <a:lnTo>
                  <a:pt x="62027" y="205252"/>
                </a:lnTo>
                <a:lnTo>
                  <a:pt x="49058" y="228935"/>
                </a:lnTo>
                <a:lnTo>
                  <a:pt x="46238" y="254310"/>
                </a:lnTo>
                <a:lnTo>
                  <a:pt x="69921" y="254310"/>
                </a:lnTo>
                <a:lnTo>
                  <a:pt x="75560" y="246416"/>
                </a:lnTo>
                <a:lnTo>
                  <a:pt x="106010" y="257129"/>
                </a:lnTo>
                <a:lnTo>
                  <a:pt x="114468" y="255438"/>
                </a:lnTo>
                <a:lnTo>
                  <a:pt x="129129" y="265024"/>
                </a:lnTo>
                <a:lnTo>
                  <a:pt x="132512" y="256002"/>
                </a:lnTo>
                <a:lnTo>
                  <a:pt x="157323" y="257693"/>
                </a:lnTo>
                <a:lnTo>
                  <a:pt x="176495" y="250927"/>
                </a:lnTo>
                <a:lnTo>
                  <a:pt x="190027" y="252054"/>
                </a:lnTo>
                <a:lnTo>
                  <a:pt x="199614" y="259385"/>
                </a:lnTo>
                <a:lnTo>
                  <a:pt x="201869" y="253182"/>
                </a:lnTo>
                <a:lnTo>
                  <a:pt x="196231" y="230627"/>
                </a:lnTo>
                <a:lnTo>
                  <a:pt x="205816" y="226116"/>
                </a:lnTo>
                <a:lnTo>
                  <a:pt x="214274" y="209763"/>
                </a:lnTo>
                <a:lnTo>
                  <a:pt x="197922" y="195103"/>
                </a:lnTo>
                <a:lnTo>
                  <a:pt x="183261" y="186644"/>
                </a:lnTo>
                <a:lnTo>
                  <a:pt x="179314" y="171983"/>
                </a:lnTo>
                <a:lnTo>
                  <a:pt x="173675" y="161270"/>
                </a:lnTo>
                <a:lnTo>
                  <a:pt x="192847" y="153939"/>
                </a:lnTo>
                <a:lnTo>
                  <a:pt x="202433" y="145481"/>
                </a:lnTo>
                <a:lnTo>
                  <a:pt x="221605" y="138715"/>
                </a:lnTo>
                <a:lnTo>
                  <a:pt x="227808" y="131948"/>
                </a:lnTo>
                <a:lnTo>
                  <a:pt x="235702" y="135895"/>
                </a:lnTo>
                <a:lnTo>
                  <a:pt x="247543" y="132512"/>
                </a:lnTo>
                <a:lnTo>
                  <a:pt x="234574" y="110521"/>
                </a:lnTo>
                <a:lnTo>
                  <a:pt x="235138" y="98679"/>
                </a:lnTo>
                <a:lnTo>
                  <a:pt x="227244" y="80071"/>
                </a:lnTo>
                <a:lnTo>
                  <a:pt x="215966" y="67666"/>
                </a:lnTo>
                <a:lnTo>
                  <a:pt x="222733" y="58643"/>
                </a:lnTo>
                <a:lnTo>
                  <a:pt x="214838" y="41163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8" name="Freeform: Shape 281">
            <a:extLst>
              <a:ext uri="{FF2B5EF4-FFF2-40B4-BE49-F238E27FC236}">
                <a16:creationId xmlns:a16="http://schemas.microsoft.com/office/drawing/2014/main" id="{6517A802-914D-4201-BDFF-7F61058A4FC8}"/>
              </a:ext>
            </a:extLst>
          </p:cNvPr>
          <p:cNvSpPr/>
          <p:nvPr/>
        </p:nvSpPr>
        <p:spPr>
          <a:xfrm>
            <a:off x="6823298" y="3782408"/>
            <a:ext cx="37924" cy="46352"/>
          </a:xfrm>
          <a:custGeom>
            <a:avLst/>
            <a:gdLst>
              <a:gd name="connsiteX0" fmla="*/ 47366 w 50749"/>
              <a:gd name="connsiteY0" fmla="*/ 43983 h 62026"/>
              <a:gd name="connsiteX1" fmla="*/ 33269 w 50749"/>
              <a:gd name="connsiteY1" fmla="*/ 34397 h 62026"/>
              <a:gd name="connsiteX2" fmla="*/ 50749 w 50749"/>
              <a:gd name="connsiteY2" fmla="*/ 25939 h 62026"/>
              <a:gd name="connsiteX3" fmla="*/ 51313 w 50749"/>
              <a:gd name="connsiteY3" fmla="*/ 10714 h 62026"/>
              <a:gd name="connsiteX4" fmla="*/ 43418 w 50749"/>
              <a:gd name="connsiteY4" fmla="*/ 0 h 62026"/>
              <a:gd name="connsiteX5" fmla="*/ 34397 w 50749"/>
              <a:gd name="connsiteY5" fmla="*/ 8458 h 62026"/>
              <a:gd name="connsiteX6" fmla="*/ 20863 w 50749"/>
              <a:gd name="connsiteY6" fmla="*/ 5639 h 62026"/>
              <a:gd name="connsiteX7" fmla="*/ 10149 w 50749"/>
              <a:gd name="connsiteY7" fmla="*/ 21428 h 62026"/>
              <a:gd name="connsiteX8" fmla="*/ 0 w 50749"/>
              <a:gd name="connsiteY8" fmla="*/ 38344 h 62026"/>
              <a:gd name="connsiteX9" fmla="*/ 2819 w 50749"/>
              <a:gd name="connsiteY9" fmla="*/ 47930 h 62026"/>
              <a:gd name="connsiteX10" fmla="*/ 3947 w 50749"/>
              <a:gd name="connsiteY10" fmla="*/ 59207 h 62026"/>
              <a:gd name="connsiteX11" fmla="*/ 21427 w 50749"/>
              <a:gd name="connsiteY11" fmla="*/ 59771 h 62026"/>
              <a:gd name="connsiteX12" fmla="*/ 28758 w 50749"/>
              <a:gd name="connsiteY12" fmla="*/ 56952 h 62026"/>
              <a:gd name="connsiteX13" fmla="*/ 36088 w 50749"/>
              <a:gd name="connsiteY13" fmla="*/ 63155 h 62026"/>
              <a:gd name="connsiteX14" fmla="*/ 47366 w 50749"/>
              <a:gd name="connsiteY14" fmla="*/ 43983 h 620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50749" h="62026">
                <a:moveTo>
                  <a:pt x="47366" y="43983"/>
                </a:moveTo>
                <a:lnTo>
                  <a:pt x="33269" y="34397"/>
                </a:lnTo>
                <a:lnTo>
                  <a:pt x="50749" y="25939"/>
                </a:lnTo>
                <a:lnTo>
                  <a:pt x="51313" y="10714"/>
                </a:lnTo>
                <a:lnTo>
                  <a:pt x="43418" y="0"/>
                </a:lnTo>
                <a:lnTo>
                  <a:pt x="34397" y="8458"/>
                </a:lnTo>
                <a:lnTo>
                  <a:pt x="20863" y="5639"/>
                </a:lnTo>
                <a:lnTo>
                  <a:pt x="10149" y="21428"/>
                </a:lnTo>
                <a:lnTo>
                  <a:pt x="0" y="38344"/>
                </a:lnTo>
                <a:lnTo>
                  <a:pt x="2819" y="47930"/>
                </a:lnTo>
                <a:lnTo>
                  <a:pt x="3947" y="59207"/>
                </a:lnTo>
                <a:lnTo>
                  <a:pt x="21427" y="59771"/>
                </a:lnTo>
                <a:lnTo>
                  <a:pt x="28758" y="56952"/>
                </a:lnTo>
                <a:lnTo>
                  <a:pt x="36088" y="63155"/>
                </a:lnTo>
                <a:lnTo>
                  <a:pt x="47366" y="43983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9" name="Freeform: Shape 282">
            <a:extLst>
              <a:ext uri="{FF2B5EF4-FFF2-40B4-BE49-F238E27FC236}">
                <a16:creationId xmlns:a16="http://schemas.microsoft.com/office/drawing/2014/main" id="{F68FD5D7-F7C8-4D30-B54C-173FAC7F31FA}"/>
              </a:ext>
            </a:extLst>
          </p:cNvPr>
          <p:cNvSpPr/>
          <p:nvPr/>
        </p:nvSpPr>
        <p:spPr>
          <a:xfrm>
            <a:off x="6000766" y="2590749"/>
            <a:ext cx="88490" cy="71634"/>
          </a:xfrm>
          <a:custGeom>
            <a:avLst/>
            <a:gdLst>
              <a:gd name="connsiteX0" fmla="*/ 122362 w 118414"/>
              <a:gd name="connsiteY0" fmla="*/ 71049 h 95859"/>
              <a:gd name="connsiteX1" fmla="*/ 112776 w 118414"/>
              <a:gd name="connsiteY1" fmla="*/ 54132 h 95859"/>
              <a:gd name="connsiteX2" fmla="*/ 74996 w 118414"/>
              <a:gd name="connsiteY2" fmla="*/ 65410 h 95859"/>
              <a:gd name="connsiteX3" fmla="*/ 80071 w 118414"/>
              <a:gd name="connsiteY3" fmla="*/ 79507 h 95859"/>
              <a:gd name="connsiteX4" fmla="*/ 108829 w 118414"/>
              <a:gd name="connsiteY4" fmla="*/ 98679 h 95859"/>
              <a:gd name="connsiteX5" fmla="*/ 122362 w 118414"/>
              <a:gd name="connsiteY5" fmla="*/ 71049 h 95859"/>
              <a:gd name="connsiteX6" fmla="*/ 73868 w 118414"/>
              <a:gd name="connsiteY6" fmla="*/ 42291 h 95859"/>
              <a:gd name="connsiteX7" fmla="*/ 59207 w 118414"/>
              <a:gd name="connsiteY7" fmla="*/ 37216 h 95859"/>
              <a:gd name="connsiteX8" fmla="*/ 55260 w 118414"/>
              <a:gd name="connsiteY8" fmla="*/ 28194 h 95859"/>
              <a:gd name="connsiteX9" fmla="*/ 62591 w 118414"/>
              <a:gd name="connsiteY9" fmla="*/ 16916 h 95859"/>
              <a:gd name="connsiteX10" fmla="*/ 62026 w 118414"/>
              <a:gd name="connsiteY10" fmla="*/ 0 h 95859"/>
              <a:gd name="connsiteX11" fmla="*/ 41727 w 118414"/>
              <a:gd name="connsiteY11" fmla="*/ 9022 h 95859"/>
              <a:gd name="connsiteX12" fmla="*/ 33269 w 118414"/>
              <a:gd name="connsiteY12" fmla="*/ 18608 h 95859"/>
              <a:gd name="connsiteX13" fmla="*/ 10714 w 118414"/>
              <a:gd name="connsiteY13" fmla="*/ 20864 h 95859"/>
              <a:gd name="connsiteX14" fmla="*/ 3947 w 118414"/>
              <a:gd name="connsiteY14" fmla="*/ 30449 h 95859"/>
              <a:gd name="connsiteX15" fmla="*/ 0 w 118414"/>
              <a:gd name="connsiteY15" fmla="*/ 39472 h 95859"/>
              <a:gd name="connsiteX16" fmla="*/ 2255 w 118414"/>
              <a:gd name="connsiteY16" fmla="*/ 73868 h 95859"/>
              <a:gd name="connsiteX17" fmla="*/ 14097 w 118414"/>
              <a:gd name="connsiteY17" fmla="*/ 93040 h 95859"/>
              <a:gd name="connsiteX18" fmla="*/ 34397 w 118414"/>
              <a:gd name="connsiteY18" fmla="*/ 97551 h 95859"/>
              <a:gd name="connsiteX19" fmla="*/ 51313 w 118414"/>
              <a:gd name="connsiteY19" fmla="*/ 92476 h 95859"/>
              <a:gd name="connsiteX20" fmla="*/ 42855 w 118414"/>
              <a:gd name="connsiteY20" fmla="*/ 75560 h 95859"/>
              <a:gd name="connsiteX21" fmla="*/ 60335 w 118414"/>
              <a:gd name="connsiteY21" fmla="*/ 51313 h 95859"/>
              <a:gd name="connsiteX22" fmla="*/ 68230 w 118414"/>
              <a:gd name="connsiteY22" fmla="*/ 55260 h 95859"/>
              <a:gd name="connsiteX23" fmla="*/ 73868 w 118414"/>
              <a:gd name="connsiteY23" fmla="*/ 42291 h 958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18414" h="95859">
                <a:moveTo>
                  <a:pt x="122362" y="71049"/>
                </a:moveTo>
                <a:lnTo>
                  <a:pt x="112776" y="54132"/>
                </a:lnTo>
                <a:lnTo>
                  <a:pt x="74996" y="65410"/>
                </a:lnTo>
                <a:lnTo>
                  <a:pt x="80071" y="79507"/>
                </a:lnTo>
                <a:lnTo>
                  <a:pt x="108829" y="98679"/>
                </a:lnTo>
                <a:lnTo>
                  <a:pt x="122362" y="71049"/>
                </a:lnTo>
                <a:close/>
                <a:moveTo>
                  <a:pt x="73868" y="42291"/>
                </a:moveTo>
                <a:lnTo>
                  <a:pt x="59207" y="37216"/>
                </a:lnTo>
                <a:lnTo>
                  <a:pt x="55260" y="28194"/>
                </a:lnTo>
                <a:lnTo>
                  <a:pt x="62591" y="16916"/>
                </a:lnTo>
                <a:lnTo>
                  <a:pt x="62026" y="0"/>
                </a:lnTo>
                <a:lnTo>
                  <a:pt x="41727" y="9022"/>
                </a:lnTo>
                <a:lnTo>
                  <a:pt x="33269" y="18608"/>
                </a:lnTo>
                <a:lnTo>
                  <a:pt x="10714" y="20864"/>
                </a:lnTo>
                <a:lnTo>
                  <a:pt x="3947" y="30449"/>
                </a:lnTo>
                <a:lnTo>
                  <a:pt x="0" y="39472"/>
                </a:lnTo>
                <a:lnTo>
                  <a:pt x="2255" y="73868"/>
                </a:lnTo>
                <a:lnTo>
                  <a:pt x="14097" y="93040"/>
                </a:lnTo>
                <a:lnTo>
                  <a:pt x="34397" y="97551"/>
                </a:lnTo>
                <a:lnTo>
                  <a:pt x="51313" y="92476"/>
                </a:lnTo>
                <a:lnTo>
                  <a:pt x="42855" y="75560"/>
                </a:lnTo>
                <a:lnTo>
                  <a:pt x="60335" y="51313"/>
                </a:lnTo>
                <a:lnTo>
                  <a:pt x="68230" y="55260"/>
                </a:lnTo>
                <a:lnTo>
                  <a:pt x="73868" y="42291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0" name="Freeform: Shape 283">
            <a:extLst>
              <a:ext uri="{FF2B5EF4-FFF2-40B4-BE49-F238E27FC236}">
                <a16:creationId xmlns:a16="http://schemas.microsoft.com/office/drawing/2014/main" id="{C6206499-D7C7-4E06-8FC0-0374F459C8F0}"/>
              </a:ext>
            </a:extLst>
          </p:cNvPr>
          <p:cNvSpPr/>
          <p:nvPr/>
        </p:nvSpPr>
        <p:spPr>
          <a:xfrm>
            <a:off x="4165240" y="3589417"/>
            <a:ext cx="84275" cy="58993"/>
          </a:xfrm>
          <a:custGeom>
            <a:avLst/>
            <a:gdLst>
              <a:gd name="connsiteX0" fmla="*/ 5639 w 112776"/>
              <a:gd name="connsiteY0" fmla="*/ 66538 h 78943"/>
              <a:gd name="connsiteX1" fmla="*/ 5639 w 112776"/>
              <a:gd name="connsiteY1" fmla="*/ 76688 h 78943"/>
              <a:gd name="connsiteX2" fmla="*/ 13533 w 112776"/>
              <a:gd name="connsiteY2" fmla="*/ 82327 h 78943"/>
              <a:gd name="connsiteX3" fmla="*/ 28194 w 112776"/>
              <a:gd name="connsiteY3" fmla="*/ 57516 h 78943"/>
              <a:gd name="connsiteX4" fmla="*/ 39472 w 112776"/>
              <a:gd name="connsiteY4" fmla="*/ 52441 h 78943"/>
              <a:gd name="connsiteX5" fmla="*/ 42855 w 112776"/>
              <a:gd name="connsiteY5" fmla="*/ 61463 h 78943"/>
              <a:gd name="connsiteX6" fmla="*/ 55261 w 112776"/>
              <a:gd name="connsiteY6" fmla="*/ 59207 h 78943"/>
              <a:gd name="connsiteX7" fmla="*/ 61463 w 112776"/>
              <a:gd name="connsiteY7" fmla="*/ 52441 h 78943"/>
              <a:gd name="connsiteX8" fmla="*/ 71613 w 112776"/>
              <a:gd name="connsiteY8" fmla="*/ 54133 h 78943"/>
              <a:gd name="connsiteX9" fmla="*/ 86274 w 112776"/>
              <a:gd name="connsiteY9" fmla="*/ 53005 h 78943"/>
              <a:gd name="connsiteX10" fmla="*/ 100371 w 112776"/>
              <a:gd name="connsiteY10" fmla="*/ 60335 h 78943"/>
              <a:gd name="connsiteX11" fmla="*/ 113340 w 112776"/>
              <a:gd name="connsiteY11" fmla="*/ 45674 h 78943"/>
              <a:gd name="connsiteX12" fmla="*/ 99243 w 112776"/>
              <a:gd name="connsiteY12" fmla="*/ 32705 h 78943"/>
              <a:gd name="connsiteX13" fmla="*/ 85710 w 112776"/>
              <a:gd name="connsiteY13" fmla="*/ 31577 h 78943"/>
              <a:gd name="connsiteX14" fmla="*/ 87401 w 112776"/>
              <a:gd name="connsiteY14" fmla="*/ 20863 h 78943"/>
              <a:gd name="connsiteX15" fmla="*/ 70485 w 112776"/>
              <a:gd name="connsiteY15" fmla="*/ 21427 h 78943"/>
              <a:gd name="connsiteX16" fmla="*/ 65974 w 112776"/>
              <a:gd name="connsiteY16" fmla="*/ 9022 h 78943"/>
              <a:gd name="connsiteX17" fmla="*/ 58080 w 112776"/>
              <a:gd name="connsiteY17" fmla="*/ 9586 h 78943"/>
              <a:gd name="connsiteX18" fmla="*/ 40599 w 112776"/>
              <a:gd name="connsiteY18" fmla="*/ 564 h 78943"/>
              <a:gd name="connsiteX19" fmla="*/ 15789 w 112776"/>
              <a:gd name="connsiteY19" fmla="*/ 0 h 78943"/>
              <a:gd name="connsiteX20" fmla="*/ 11278 w 112776"/>
              <a:gd name="connsiteY20" fmla="*/ 6203 h 78943"/>
              <a:gd name="connsiteX21" fmla="*/ 12405 w 112776"/>
              <a:gd name="connsiteY21" fmla="*/ 25939 h 78943"/>
              <a:gd name="connsiteX22" fmla="*/ 8458 w 112776"/>
              <a:gd name="connsiteY22" fmla="*/ 39472 h 78943"/>
              <a:gd name="connsiteX23" fmla="*/ 0 w 112776"/>
              <a:gd name="connsiteY23" fmla="*/ 45674 h 78943"/>
              <a:gd name="connsiteX24" fmla="*/ 6767 w 112776"/>
              <a:gd name="connsiteY24" fmla="*/ 56388 h 78943"/>
              <a:gd name="connsiteX25" fmla="*/ 5639 w 112776"/>
              <a:gd name="connsiteY25" fmla="*/ 66538 h 789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112776" h="78943">
                <a:moveTo>
                  <a:pt x="5639" y="66538"/>
                </a:moveTo>
                <a:lnTo>
                  <a:pt x="5639" y="76688"/>
                </a:lnTo>
                <a:lnTo>
                  <a:pt x="13533" y="82327"/>
                </a:lnTo>
                <a:lnTo>
                  <a:pt x="28194" y="57516"/>
                </a:lnTo>
                <a:lnTo>
                  <a:pt x="39472" y="52441"/>
                </a:lnTo>
                <a:lnTo>
                  <a:pt x="42855" y="61463"/>
                </a:lnTo>
                <a:lnTo>
                  <a:pt x="55261" y="59207"/>
                </a:lnTo>
                <a:lnTo>
                  <a:pt x="61463" y="52441"/>
                </a:lnTo>
                <a:lnTo>
                  <a:pt x="71613" y="54133"/>
                </a:lnTo>
                <a:lnTo>
                  <a:pt x="86274" y="53005"/>
                </a:lnTo>
                <a:lnTo>
                  <a:pt x="100371" y="60335"/>
                </a:lnTo>
                <a:lnTo>
                  <a:pt x="113340" y="45674"/>
                </a:lnTo>
                <a:lnTo>
                  <a:pt x="99243" y="32705"/>
                </a:lnTo>
                <a:lnTo>
                  <a:pt x="85710" y="31577"/>
                </a:lnTo>
                <a:lnTo>
                  <a:pt x="87401" y="20863"/>
                </a:lnTo>
                <a:lnTo>
                  <a:pt x="70485" y="21427"/>
                </a:lnTo>
                <a:lnTo>
                  <a:pt x="65974" y="9022"/>
                </a:lnTo>
                <a:lnTo>
                  <a:pt x="58080" y="9586"/>
                </a:lnTo>
                <a:lnTo>
                  <a:pt x="40599" y="564"/>
                </a:lnTo>
                <a:lnTo>
                  <a:pt x="15789" y="0"/>
                </a:lnTo>
                <a:lnTo>
                  <a:pt x="11278" y="6203"/>
                </a:lnTo>
                <a:lnTo>
                  <a:pt x="12405" y="25939"/>
                </a:lnTo>
                <a:lnTo>
                  <a:pt x="8458" y="39472"/>
                </a:lnTo>
                <a:lnTo>
                  <a:pt x="0" y="45674"/>
                </a:lnTo>
                <a:lnTo>
                  <a:pt x="6767" y="56388"/>
                </a:lnTo>
                <a:lnTo>
                  <a:pt x="5639" y="66538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1" name="Freeform: Shape 284">
            <a:extLst>
              <a:ext uri="{FF2B5EF4-FFF2-40B4-BE49-F238E27FC236}">
                <a16:creationId xmlns:a16="http://schemas.microsoft.com/office/drawing/2014/main" id="{FC8C56CC-A73E-48A4-9EE4-0BA13DA58C04}"/>
              </a:ext>
            </a:extLst>
          </p:cNvPr>
          <p:cNvSpPr/>
          <p:nvPr/>
        </p:nvSpPr>
        <p:spPr>
          <a:xfrm>
            <a:off x="5643859" y="3126742"/>
            <a:ext cx="476158" cy="484586"/>
          </a:xfrm>
          <a:custGeom>
            <a:avLst/>
            <a:gdLst>
              <a:gd name="connsiteX0" fmla="*/ 515950 w 637184"/>
              <a:gd name="connsiteY0" fmla="*/ 6203 h 648462"/>
              <a:gd name="connsiteX1" fmla="*/ 495651 w 637184"/>
              <a:gd name="connsiteY1" fmla="*/ 8458 h 648462"/>
              <a:gd name="connsiteX2" fmla="*/ 483245 w 637184"/>
              <a:gd name="connsiteY2" fmla="*/ 0 h 648462"/>
              <a:gd name="connsiteX3" fmla="*/ 451668 w 637184"/>
              <a:gd name="connsiteY3" fmla="*/ 0 h 648462"/>
              <a:gd name="connsiteX4" fmla="*/ 424038 w 637184"/>
              <a:gd name="connsiteY4" fmla="*/ 14661 h 648462"/>
              <a:gd name="connsiteX5" fmla="*/ 408813 w 637184"/>
              <a:gd name="connsiteY5" fmla="*/ 9022 h 648462"/>
              <a:gd name="connsiteX6" fmla="*/ 359755 w 637184"/>
              <a:gd name="connsiteY6" fmla="*/ 11842 h 648462"/>
              <a:gd name="connsiteX7" fmla="*/ 309570 w 637184"/>
              <a:gd name="connsiteY7" fmla="*/ 18608 h 648462"/>
              <a:gd name="connsiteX8" fmla="*/ 281376 w 637184"/>
              <a:gd name="connsiteY8" fmla="*/ 29886 h 648462"/>
              <a:gd name="connsiteX9" fmla="*/ 262204 w 637184"/>
              <a:gd name="connsiteY9" fmla="*/ 44547 h 648462"/>
              <a:gd name="connsiteX10" fmla="*/ 230063 w 637184"/>
              <a:gd name="connsiteY10" fmla="*/ 51313 h 648462"/>
              <a:gd name="connsiteX11" fmla="*/ 201305 w 637184"/>
              <a:gd name="connsiteY11" fmla="*/ 71049 h 648462"/>
              <a:gd name="connsiteX12" fmla="*/ 212583 w 637184"/>
              <a:gd name="connsiteY12" fmla="*/ 94168 h 648462"/>
              <a:gd name="connsiteX13" fmla="*/ 214274 w 637184"/>
              <a:gd name="connsiteY13" fmla="*/ 116159 h 648462"/>
              <a:gd name="connsiteX14" fmla="*/ 224424 w 637184"/>
              <a:gd name="connsiteY14" fmla="*/ 153939 h 648462"/>
              <a:gd name="connsiteX15" fmla="*/ 232319 w 637184"/>
              <a:gd name="connsiteY15" fmla="*/ 161834 h 648462"/>
              <a:gd name="connsiteX16" fmla="*/ 226680 w 637184"/>
              <a:gd name="connsiteY16" fmla="*/ 175931 h 648462"/>
              <a:gd name="connsiteX17" fmla="*/ 187208 w 637184"/>
              <a:gd name="connsiteY17" fmla="*/ 181569 h 648462"/>
              <a:gd name="connsiteX18" fmla="*/ 173111 w 637184"/>
              <a:gd name="connsiteY18" fmla="*/ 195103 h 648462"/>
              <a:gd name="connsiteX19" fmla="*/ 155631 w 637184"/>
              <a:gd name="connsiteY19" fmla="*/ 197922 h 648462"/>
              <a:gd name="connsiteX20" fmla="*/ 153939 w 637184"/>
              <a:gd name="connsiteY20" fmla="*/ 224424 h 648462"/>
              <a:gd name="connsiteX21" fmla="*/ 118415 w 637184"/>
              <a:gd name="connsiteY21" fmla="*/ 238521 h 648462"/>
              <a:gd name="connsiteX22" fmla="*/ 106573 w 637184"/>
              <a:gd name="connsiteY22" fmla="*/ 256565 h 648462"/>
              <a:gd name="connsiteX23" fmla="*/ 81763 w 637184"/>
              <a:gd name="connsiteY23" fmla="*/ 266151 h 648462"/>
              <a:gd name="connsiteX24" fmla="*/ 51313 w 637184"/>
              <a:gd name="connsiteY24" fmla="*/ 271790 h 648462"/>
              <a:gd name="connsiteX25" fmla="*/ 1128 w 637184"/>
              <a:gd name="connsiteY25" fmla="*/ 298293 h 648462"/>
              <a:gd name="connsiteX26" fmla="*/ 564 w 637184"/>
              <a:gd name="connsiteY26" fmla="*/ 340584 h 648462"/>
              <a:gd name="connsiteX27" fmla="*/ 564 w 637184"/>
              <a:gd name="connsiteY27" fmla="*/ 342839 h 648462"/>
              <a:gd name="connsiteX28" fmla="*/ 0 w 637184"/>
              <a:gd name="connsiteY28" fmla="*/ 349606 h 648462"/>
              <a:gd name="connsiteX29" fmla="*/ 114468 w 637184"/>
              <a:gd name="connsiteY29" fmla="*/ 437007 h 648462"/>
              <a:gd name="connsiteX30" fmla="*/ 218222 w 637184"/>
              <a:gd name="connsiteY30" fmla="*/ 515386 h 648462"/>
              <a:gd name="connsiteX31" fmla="*/ 323103 w 637184"/>
              <a:gd name="connsiteY31" fmla="*/ 593202 h 648462"/>
              <a:gd name="connsiteX32" fmla="*/ 330434 w 637184"/>
              <a:gd name="connsiteY32" fmla="*/ 610118 h 648462"/>
              <a:gd name="connsiteX33" fmla="*/ 349606 w 637184"/>
              <a:gd name="connsiteY33" fmla="*/ 620268 h 648462"/>
              <a:gd name="connsiteX34" fmla="*/ 364266 w 637184"/>
              <a:gd name="connsiteY34" fmla="*/ 626471 h 648462"/>
              <a:gd name="connsiteX35" fmla="*/ 364830 w 637184"/>
              <a:gd name="connsiteY35" fmla="*/ 649026 h 648462"/>
              <a:gd name="connsiteX36" fmla="*/ 399227 w 637184"/>
              <a:gd name="connsiteY36" fmla="*/ 645643 h 648462"/>
              <a:gd name="connsiteX37" fmla="*/ 443210 w 637184"/>
              <a:gd name="connsiteY37" fmla="*/ 629854 h 648462"/>
              <a:gd name="connsiteX38" fmla="*/ 532303 w 637184"/>
              <a:gd name="connsiteY38" fmla="*/ 559369 h 648462"/>
              <a:gd name="connsiteX39" fmla="*/ 637184 w 637184"/>
              <a:gd name="connsiteY39" fmla="*/ 490576 h 648462"/>
              <a:gd name="connsiteX40" fmla="*/ 623087 w 637184"/>
              <a:gd name="connsiteY40" fmla="*/ 468020 h 648462"/>
              <a:gd name="connsiteX41" fmla="*/ 598840 w 637184"/>
              <a:gd name="connsiteY41" fmla="*/ 451668 h 648462"/>
              <a:gd name="connsiteX42" fmla="*/ 584180 w 637184"/>
              <a:gd name="connsiteY42" fmla="*/ 458435 h 648462"/>
              <a:gd name="connsiteX43" fmla="*/ 572902 w 637184"/>
              <a:gd name="connsiteY43" fmla="*/ 438135 h 648462"/>
              <a:gd name="connsiteX44" fmla="*/ 571774 w 637184"/>
              <a:gd name="connsiteY44" fmla="*/ 422910 h 648462"/>
              <a:gd name="connsiteX45" fmla="*/ 552602 w 637184"/>
              <a:gd name="connsiteY45" fmla="*/ 396408 h 648462"/>
              <a:gd name="connsiteX46" fmla="*/ 564444 w 637184"/>
              <a:gd name="connsiteY46" fmla="*/ 381747 h 648462"/>
              <a:gd name="connsiteX47" fmla="*/ 561624 w 637184"/>
              <a:gd name="connsiteY47" fmla="*/ 359192 h 648462"/>
              <a:gd name="connsiteX48" fmla="*/ 565008 w 637184"/>
              <a:gd name="connsiteY48" fmla="*/ 339456 h 648462"/>
              <a:gd name="connsiteX49" fmla="*/ 562188 w 637184"/>
              <a:gd name="connsiteY49" fmla="*/ 323103 h 648462"/>
              <a:gd name="connsiteX50" fmla="*/ 567263 w 637184"/>
              <a:gd name="connsiteY50" fmla="*/ 293782 h 648462"/>
              <a:gd name="connsiteX51" fmla="*/ 565008 w 637184"/>
              <a:gd name="connsiteY51" fmla="*/ 276865 h 648462"/>
              <a:gd name="connsiteX52" fmla="*/ 554294 w 637184"/>
              <a:gd name="connsiteY52" fmla="*/ 245288 h 648462"/>
              <a:gd name="connsiteX53" fmla="*/ 539633 w 637184"/>
              <a:gd name="connsiteY53" fmla="*/ 181569 h 648462"/>
              <a:gd name="connsiteX54" fmla="*/ 520461 w 637184"/>
              <a:gd name="connsiteY54" fmla="*/ 166909 h 648462"/>
              <a:gd name="connsiteX55" fmla="*/ 520461 w 637184"/>
              <a:gd name="connsiteY55" fmla="*/ 158450 h 648462"/>
              <a:gd name="connsiteX56" fmla="*/ 495087 w 637184"/>
              <a:gd name="connsiteY56" fmla="*/ 137023 h 648462"/>
              <a:gd name="connsiteX57" fmla="*/ 491703 w 637184"/>
              <a:gd name="connsiteY57" fmla="*/ 109957 h 648462"/>
              <a:gd name="connsiteX58" fmla="*/ 509748 w 637184"/>
              <a:gd name="connsiteY58" fmla="*/ 89657 h 648462"/>
              <a:gd name="connsiteX59" fmla="*/ 515950 w 637184"/>
              <a:gd name="connsiteY59" fmla="*/ 59771 h 648462"/>
              <a:gd name="connsiteX60" fmla="*/ 510311 w 637184"/>
              <a:gd name="connsiteY60" fmla="*/ 24811 h 648462"/>
              <a:gd name="connsiteX61" fmla="*/ 515950 w 637184"/>
              <a:gd name="connsiteY61" fmla="*/ 6203 h 648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637184" h="648462">
                <a:moveTo>
                  <a:pt x="515950" y="6203"/>
                </a:moveTo>
                <a:lnTo>
                  <a:pt x="495651" y="8458"/>
                </a:lnTo>
                <a:lnTo>
                  <a:pt x="483245" y="0"/>
                </a:lnTo>
                <a:lnTo>
                  <a:pt x="451668" y="0"/>
                </a:lnTo>
                <a:lnTo>
                  <a:pt x="424038" y="14661"/>
                </a:lnTo>
                <a:lnTo>
                  <a:pt x="408813" y="9022"/>
                </a:lnTo>
                <a:lnTo>
                  <a:pt x="359755" y="11842"/>
                </a:lnTo>
                <a:lnTo>
                  <a:pt x="309570" y="18608"/>
                </a:lnTo>
                <a:lnTo>
                  <a:pt x="281376" y="29886"/>
                </a:lnTo>
                <a:lnTo>
                  <a:pt x="262204" y="44547"/>
                </a:lnTo>
                <a:lnTo>
                  <a:pt x="230063" y="51313"/>
                </a:lnTo>
                <a:lnTo>
                  <a:pt x="201305" y="71049"/>
                </a:lnTo>
                <a:lnTo>
                  <a:pt x="212583" y="94168"/>
                </a:lnTo>
                <a:lnTo>
                  <a:pt x="214274" y="116159"/>
                </a:lnTo>
                <a:lnTo>
                  <a:pt x="224424" y="153939"/>
                </a:lnTo>
                <a:lnTo>
                  <a:pt x="232319" y="161834"/>
                </a:lnTo>
                <a:lnTo>
                  <a:pt x="226680" y="175931"/>
                </a:lnTo>
                <a:lnTo>
                  <a:pt x="187208" y="181569"/>
                </a:lnTo>
                <a:lnTo>
                  <a:pt x="173111" y="195103"/>
                </a:lnTo>
                <a:lnTo>
                  <a:pt x="155631" y="197922"/>
                </a:lnTo>
                <a:lnTo>
                  <a:pt x="153939" y="224424"/>
                </a:lnTo>
                <a:lnTo>
                  <a:pt x="118415" y="238521"/>
                </a:lnTo>
                <a:lnTo>
                  <a:pt x="106573" y="256565"/>
                </a:lnTo>
                <a:lnTo>
                  <a:pt x="81763" y="266151"/>
                </a:lnTo>
                <a:lnTo>
                  <a:pt x="51313" y="271790"/>
                </a:lnTo>
                <a:lnTo>
                  <a:pt x="1128" y="298293"/>
                </a:lnTo>
                <a:lnTo>
                  <a:pt x="564" y="340584"/>
                </a:lnTo>
                <a:lnTo>
                  <a:pt x="564" y="342839"/>
                </a:lnTo>
                <a:lnTo>
                  <a:pt x="0" y="349606"/>
                </a:lnTo>
                <a:lnTo>
                  <a:pt x="114468" y="437007"/>
                </a:lnTo>
                <a:lnTo>
                  <a:pt x="218222" y="515386"/>
                </a:lnTo>
                <a:lnTo>
                  <a:pt x="323103" y="593202"/>
                </a:lnTo>
                <a:lnTo>
                  <a:pt x="330434" y="610118"/>
                </a:lnTo>
                <a:lnTo>
                  <a:pt x="349606" y="620268"/>
                </a:lnTo>
                <a:lnTo>
                  <a:pt x="364266" y="626471"/>
                </a:lnTo>
                <a:lnTo>
                  <a:pt x="364830" y="649026"/>
                </a:lnTo>
                <a:lnTo>
                  <a:pt x="399227" y="645643"/>
                </a:lnTo>
                <a:lnTo>
                  <a:pt x="443210" y="629854"/>
                </a:lnTo>
                <a:lnTo>
                  <a:pt x="532303" y="559369"/>
                </a:lnTo>
                <a:lnTo>
                  <a:pt x="637184" y="490576"/>
                </a:lnTo>
                <a:lnTo>
                  <a:pt x="623087" y="468020"/>
                </a:lnTo>
                <a:lnTo>
                  <a:pt x="598840" y="451668"/>
                </a:lnTo>
                <a:lnTo>
                  <a:pt x="584180" y="458435"/>
                </a:lnTo>
                <a:lnTo>
                  <a:pt x="572902" y="438135"/>
                </a:lnTo>
                <a:lnTo>
                  <a:pt x="571774" y="422910"/>
                </a:lnTo>
                <a:lnTo>
                  <a:pt x="552602" y="396408"/>
                </a:lnTo>
                <a:lnTo>
                  <a:pt x="564444" y="381747"/>
                </a:lnTo>
                <a:lnTo>
                  <a:pt x="561624" y="359192"/>
                </a:lnTo>
                <a:lnTo>
                  <a:pt x="565008" y="339456"/>
                </a:lnTo>
                <a:lnTo>
                  <a:pt x="562188" y="323103"/>
                </a:lnTo>
                <a:lnTo>
                  <a:pt x="567263" y="293782"/>
                </a:lnTo>
                <a:lnTo>
                  <a:pt x="565008" y="276865"/>
                </a:lnTo>
                <a:lnTo>
                  <a:pt x="554294" y="245288"/>
                </a:lnTo>
                <a:lnTo>
                  <a:pt x="539633" y="181569"/>
                </a:lnTo>
                <a:lnTo>
                  <a:pt x="520461" y="166909"/>
                </a:lnTo>
                <a:lnTo>
                  <a:pt x="520461" y="158450"/>
                </a:lnTo>
                <a:lnTo>
                  <a:pt x="495087" y="137023"/>
                </a:lnTo>
                <a:lnTo>
                  <a:pt x="491703" y="109957"/>
                </a:lnTo>
                <a:lnTo>
                  <a:pt x="509748" y="89657"/>
                </a:lnTo>
                <a:lnTo>
                  <a:pt x="515950" y="59771"/>
                </a:lnTo>
                <a:lnTo>
                  <a:pt x="510311" y="24811"/>
                </a:lnTo>
                <a:lnTo>
                  <a:pt x="515950" y="6203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2" name="Freeform: Shape 285">
            <a:extLst>
              <a:ext uri="{FF2B5EF4-FFF2-40B4-BE49-F238E27FC236}">
                <a16:creationId xmlns:a16="http://schemas.microsoft.com/office/drawing/2014/main" id="{E5003629-6FC6-46A6-8C37-F0B632F2283A}"/>
              </a:ext>
            </a:extLst>
          </p:cNvPr>
          <p:cNvSpPr/>
          <p:nvPr/>
        </p:nvSpPr>
        <p:spPr>
          <a:xfrm>
            <a:off x="3925897" y="4085801"/>
            <a:ext cx="134842" cy="168552"/>
          </a:xfrm>
          <a:custGeom>
            <a:avLst/>
            <a:gdLst>
              <a:gd name="connsiteX0" fmla="*/ 176494 w 180441"/>
              <a:gd name="connsiteY0" fmla="*/ 54696 h 225552"/>
              <a:gd name="connsiteX1" fmla="*/ 162961 w 180441"/>
              <a:gd name="connsiteY1" fmla="*/ 46238 h 225552"/>
              <a:gd name="connsiteX2" fmla="*/ 147173 w 180441"/>
              <a:gd name="connsiteY2" fmla="*/ 34397 h 225552"/>
              <a:gd name="connsiteX3" fmla="*/ 138151 w 180441"/>
              <a:gd name="connsiteY3" fmla="*/ 40035 h 225552"/>
              <a:gd name="connsiteX4" fmla="*/ 111648 w 180441"/>
              <a:gd name="connsiteY4" fmla="*/ 34960 h 225552"/>
              <a:gd name="connsiteX5" fmla="*/ 103754 w 180441"/>
              <a:gd name="connsiteY5" fmla="*/ 19736 h 225552"/>
              <a:gd name="connsiteX6" fmla="*/ 98115 w 180441"/>
              <a:gd name="connsiteY6" fmla="*/ 20300 h 225552"/>
              <a:gd name="connsiteX7" fmla="*/ 66538 w 180441"/>
              <a:gd name="connsiteY7" fmla="*/ 0 h 225552"/>
              <a:gd name="connsiteX8" fmla="*/ 44547 w 180441"/>
              <a:gd name="connsiteY8" fmla="*/ 14097 h 225552"/>
              <a:gd name="connsiteX9" fmla="*/ 27066 w 180441"/>
              <a:gd name="connsiteY9" fmla="*/ 21991 h 225552"/>
              <a:gd name="connsiteX10" fmla="*/ 29322 w 180441"/>
              <a:gd name="connsiteY10" fmla="*/ 36652 h 225552"/>
              <a:gd name="connsiteX11" fmla="*/ 16916 w 180441"/>
              <a:gd name="connsiteY11" fmla="*/ 59771 h 225552"/>
              <a:gd name="connsiteX12" fmla="*/ 11278 w 180441"/>
              <a:gd name="connsiteY12" fmla="*/ 81763 h 225552"/>
              <a:gd name="connsiteX13" fmla="*/ 564 w 180441"/>
              <a:gd name="connsiteY13" fmla="*/ 87401 h 225552"/>
              <a:gd name="connsiteX14" fmla="*/ 6203 w 180441"/>
              <a:gd name="connsiteY14" fmla="*/ 120106 h 225552"/>
              <a:gd name="connsiteX15" fmla="*/ 0 w 180441"/>
              <a:gd name="connsiteY15" fmla="*/ 130256 h 225552"/>
              <a:gd name="connsiteX16" fmla="*/ 19172 w 180441"/>
              <a:gd name="connsiteY16" fmla="*/ 145481 h 225552"/>
              <a:gd name="connsiteX17" fmla="*/ 31013 w 180441"/>
              <a:gd name="connsiteY17" fmla="*/ 129128 h 225552"/>
              <a:gd name="connsiteX18" fmla="*/ 38344 w 180441"/>
              <a:gd name="connsiteY18" fmla="*/ 144917 h 225552"/>
              <a:gd name="connsiteX19" fmla="*/ 21991 w 180441"/>
              <a:gd name="connsiteY19" fmla="*/ 171419 h 225552"/>
              <a:gd name="connsiteX20" fmla="*/ 25939 w 180441"/>
              <a:gd name="connsiteY20" fmla="*/ 186644 h 225552"/>
              <a:gd name="connsiteX21" fmla="*/ 17480 w 180441"/>
              <a:gd name="connsiteY21" fmla="*/ 195102 h 225552"/>
              <a:gd name="connsiteX22" fmla="*/ 18608 w 180441"/>
              <a:gd name="connsiteY22" fmla="*/ 208072 h 225552"/>
              <a:gd name="connsiteX23" fmla="*/ 31577 w 180441"/>
              <a:gd name="connsiteY23" fmla="*/ 205252 h 225552"/>
              <a:gd name="connsiteX24" fmla="*/ 44547 w 180441"/>
              <a:gd name="connsiteY24" fmla="*/ 209199 h 225552"/>
              <a:gd name="connsiteX25" fmla="*/ 58644 w 180441"/>
              <a:gd name="connsiteY25" fmla="*/ 227244 h 225552"/>
              <a:gd name="connsiteX26" fmla="*/ 76124 w 180441"/>
              <a:gd name="connsiteY26" fmla="*/ 212583 h 225552"/>
              <a:gd name="connsiteX27" fmla="*/ 81199 w 180441"/>
              <a:gd name="connsiteY27" fmla="*/ 188336 h 225552"/>
              <a:gd name="connsiteX28" fmla="*/ 99807 w 180441"/>
              <a:gd name="connsiteY28" fmla="*/ 157322 h 225552"/>
              <a:gd name="connsiteX29" fmla="*/ 137587 w 180441"/>
              <a:gd name="connsiteY29" fmla="*/ 143225 h 225552"/>
              <a:gd name="connsiteX30" fmla="*/ 171420 w 180441"/>
              <a:gd name="connsiteY30" fmla="*/ 105445 h 225552"/>
              <a:gd name="connsiteX31" fmla="*/ 181006 w 180441"/>
              <a:gd name="connsiteY31" fmla="*/ 82326 h 225552"/>
              <a:gd name="connsiteX32" fmla="*/ 176494 w 180441"/>
              <a:gd name="connsiteY32" fmla="*/ 54696 h 2255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180441" h="225552">
                <a:moveTo>
                  <a:pt x="176494" y="54696"/>
                </a:moveTo>
                <a:lnTo>
                  <a:pt x="162961" y="46238"/>
                </a:lnTo>
                <a:lnTo>
                  <a:pt x="147173" y="34397"/>
                </a:lnTo>
                <a:lnTo>
                  <a:pt x="138151" y="40035"/>
                </a:lnTo>
                <a:lnTo>
                  <a:pt x="111648" y="34960"/>
                </a:lnTo>
                <a:lnTo>
                  <a:pt x="103754" y="19736"/>
                </a:lnTo>
                <a:lnTo>
                  <a:pt x="98115" y="20300"/>
                </a:lnTo>
                <a:lnTo>
                  <a:pt x="66538" y="0"/>
                </a:lnTo>
                <a:lnTo>
                  <a:pt x="44547" y="14097"/>
                </a:lnTo>
                <a:lnTo>
                  <a:pt x="27066" y="21991"/>
                </a:lnTo>
                <a:lnTo>
                  <a:pt x="29322" y="36652"/>
                </a:lnTo>
                <a:lnTo>
                  <a:pt x="16916" y="59771"/>
                </a:lnTo>
                <a:lnTo>
                  <a:pt x="11278" y="81763"/>
                </a:lnTo>
                <a:lnTo>
                  <a:pt x="564" y="87401"/>
                </a:lnTo>
                <a:lnTo>
                  <a:pt x="6203" y="120106"/>
                </a:lnTo>
                <a:lnTo>
                  <a:pt x="0" y="130256"/>
                </a:lnTo>
                <a:lnTo>
                  <a:pt x="19172" y="145481"/>
                </a:lnTo>
                <a:lnTo>
                  <a:pt x="31013" y="129128"/>
                </a:lnTo>
                <a:lnTo>
                  <a:pt x="38344" y="144917"/>
                </a:lnTo>
                <a:lnTo>
                  <a:pt x="21991" y="171419"/>
                </a:lnTo>
                <a:lnTo>
                  <a:pt x="25939" y="186644"/>
                </a:lnTo>
                <a:lnTo>
                  <a:pt x="17480" y="195102"/>
                </a:lnTo>
                <a:lnTo>
                  <a:pt x="18608" y="208072"/>
                </a:lnTo>
                <a:lnTo>
                  <a:pt x="31577" y="205252"/>
                </a:lnTo>
                <a:lnTo>
                  <a:pt x="44547" y="209199"/>
                </a:lnTo>
                <a:lnTo>
                  <a:pt x="58644" y="227244"/>
                </a:lnTo>
                <a:lnTo>
                  <a:pt x="76124" y="212583"/>
                </a:lnTo>
                <a:lnTo>
                  <a:pt x="81199" y="188336"/>
                </a:lnTo>
                <a:lnTo>
                  <a:pt x="99807" y="157322"/>
                </a:lnTo>
                <a:lnTo>
                  <a:pt x="137587" y="143225"/>
                </a:lnTo>
                <a:lnTo>
                  <a:pt x="171420" y="105445"/>
                </a:lnTo>
                <a:lnTo>
                  <a:pt x="181006" y="82326"/>
                </a:lnTo>
                <a:lnTo>
                  <a:pt x="176494" y="54696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3" name="Freeform: Shape 286">
            <a:extLst>
              <a:ext uri="{FF2B5EF4-FFF2-40B4-BE49-F238E27FC236}">
                <a16:creationId xmlns:a16="http://schemas.microsoft.com/office/drawing/2014/main" id="{29376F05-DAB3-49C7-93AE-755DFA00934D}"/>
              </a:ext>
            </a:extLst>
          </p:cNvPr>
          <p:cNvSpPr/>
          <p:nvPr/>
        </p:nvSpPr>
        <p:spPr>
          <a:xfrm>
            <a:off x="6404026" y="3275911"/>
            <a:ext cx="290752" cy="257041"/>
          </a:xfrm>
          <a:custGeom>
            <a:avLst/>
            <a:gdLst>
              <a:gd name="connsiteX0" fmla="*/ 111648 w 389077"/>
              <a:gd name="connsiteY0" fmla="*/ 20300 h 343966"/>
              <a:gd name="connsiteX1" fmla="*/ 80634 w 389077"/>
              <a:gd name="connsiteY1" fmla="*/ 9586 h 343966"/>
              <a:gd name="connsiteX2" fmla="*/ 50749 w 389077"/>
              <a:gd name="connsiteY2" fmla="*/ 0 h 343966"/>
              <a:gd name="connsiteX3" fmla="*/ 10714 w 389077"/>
              <a:gd name="connsiteY3" fmla="*/ 1128 h 343966"/>
              <a:gd name="connsiteX4" fmla="*/ 564 w 389077"/>
              <a:gd name="connsiteY4" fmla="*/ 18044 h 343966"/>
              <a:gd name="connsiteX5" fmla="*/ 6766 w 389077"/>
              <a:gd name="connsiteY5" fmla="*/ 33269 h 343966"/>
              <a:gd name="connsiteX6" fmla="*/ 0 w 389077"/>
              <a:gd name="connsiteY6" fmla="*/ 55260 h 343966"/>
              <a:gd name="connsiteX7" fmla="*/ 11278 w 389077"/>
              <a:gd name="connsiteY7" fmla="*/ 84018 h 343966"/>
              <a:gd name="connsiteX8" fmla="*/ 18608 w 389077"/>
              <a:gd name="connsiteY8" fmla="*/ 212019 h 343966"/>
              <a:gd name="connsiteX9" fmla="*/ 24246 w 389077"/>
              <a:gd name="connsiteY9" fmla="*/ 343967 h 343966"/>
              <a:gd name="connsiteX10" fmla="*/ 148864 w 389077"/>
              <a:gd name="connsiteY10" fmla="*/ 343967 h 343966"/>
              <a:gd name="connsiteX11" fmla="*/ 269534 w 389077"/>
              <a:gd name="connsiteY11" fmla="*/ 343967 h 343966"/>
              <a:gd name="connsiteX12" fmla="*/ 392460 w 389077"/>
              <a:gd name="connsiteY12" fmla="*/ 343967 h 343966"/>
              <a:gd name="connsiteX13" fmla="*/ 386822 w 389077"/>
              <a:gd name="connsiteY13" fmla="*/ 336636 h 343966"/>
              <a:gd name="connsiteX14" fmla="*/ 348477 w 389077"/>
              <a:gd name="connsiteY14" fmla="*/ 304495 h 343966"/>
              <a:gd name="connsiteX15" fmla="*/ 346222 w 389077"/>
              <a:gd name="connsiteY15" fmla="*/ 280812 h 343966"/>
              <a:gd name="connsiteX16" fmla="*/ 351861 w 389077"/>
              <a:gd name="connsiteY16" fmla="*/ 274609 h 343966"/>
              <a:gd name="connsiteX17" fmla="*/ 321975 w 389077"/>
              <a:gd name="connsiteY17" fmla="*/ 235138 h 343966"/>
              <a:gd name="connsiteX18" fmla="*/ 310698 w 389077"/>
              <a:gd name="connsiteY18" fmla="*/ 214838 h 343966"/>
              <a:gd name="connsiteX19" fmla="*/ 297728 w 389077"/>
              <a:gd name="connsiteY19" fmla="*/ 195102 h 343966"/>
              <a:gd name="connsiteX20" fmla="*/ 270662 w 389077"/>
              <a:gd name="connsiteY20" fmla="*/ 139278 h 343966"/>
              <a:gd name="connsiteX21" fmla="*/ 248671 w 389077"/>
              <a:gd name="connsiteY21" fmla="*/ 103190 h 343966"/>
              <a:gd name="connsiteX22" fmla="*/ 232882 w 389077"/>
              <a:gd name="connsiteY22" fmla="*/ 65410 h 343966"/>
              <a:gd name="connsiteX23" fmla="*/ 235701 w 389077"/>
              <a:gd name="connsiteY23" fmla="*/ 62027 h 343966"/>
              <a:gd name="connsiteX24" fmla="*/ 261640 w 389077"/>
              <a:gd name="connsiteY24" fmla="*/ 113340 h 343966"/>
              <a:gd name="connsiteX25" fmla="*/ 276865 w 389077"/>
              <a:gd name="connsiteY25" fmla="*/ 129692 h 343966"/>
              <a:gd name="connsiteX26" fmla="*/ 288143 w 389077"/>
              <a:gd name="connsiteY26" fmla="*/ 140970 h 343966"/>
              <a:gd name="connsiteX27" fmla="*/ 294909 w 389077"/>
              <a:gd name="connsiteY27" fmla="*/ 134767 h 343966"/>
              <a:gd name="connsiteX28" fmla="*/ 301676 w 389077"/>
              <a:gd name="connsiteY28" fmla="*/ 116159 h 343966"/>
              <a:gd name="connsiteX29" fmla="*/ 305623 w 389077"/>
              <a:gd name="connsiteY29" fmla="*/ 89093 h 343966"/>
              <a:gd name="connsiteX30" fmla="*/ 312953 w 389077"/>
              <a:gd name="connsiteY30" fmla="*/ 74996 h 343966"/>
              <a:gd name="connsiteX31" fmla="*/ 309006 w 389077"/>
              <a:gd name="connsiteY31" fmla="*/ 65410 h 343966"/>
              <a:gd name="connsiteX32" fmla="*/ 287015 w 389077"/>
              <a:gd name="connsiteY32" fmla="*/ 13533 h 343966"/>
              <a:gd name="connsiteX33" fmla="*/ 287015 w 389077"/>
              <a:gd name="connsiteY33" fmla="*/ 13533 h 343966"/>
              <a:gd name="connsiteX34" fmla="*/ 272918 w 389077"/>
              <a:gd name="connsiteY34" fmla="*/ 22555 h 343966"/>
              <a:gd name="connsiteX35" fmla="*/ 249235 w 389077"/>
              <a:gd name="connsiteY35" fmla="*/ 20300 h 343966"/>
              <a:gd name="connsiteX36" fmla="*/ 224424 w 389077"/>
              <a:gd name="connsiteY36" fmla="*/ 11841 h 343966"/>
              <a:gd name="connsiteX37" fmla="*/ 218221 w 389077"/>
              <a:gd name="connsiteY37" fmla="*/ 23683 h 343966"/>
              <a:gd name="connsiteX38" fmla="*/ 208636 w 389077"/>
              <a:gd name="connsiteY38" fmla="*/ 5639 h 343966"/>
              <a:gd name="connsiteX39" fmla="*/ 186644 w 389077"/>
              <a:gd name="connsiteY39" fmla="*/ 1128 h 343966"/>
              <a:gd name="connsiteX40" fmla="*/ 160142 w 389077"/>
              <a:gd name="connsiteY40" fmla="*/ 4511 h 343966"/>
              <a:gd name="connsiteX41" fmla="*/ 148300 w 389077"/>
              <a:gd name="connsiteY41" fmla="*/ 14661 h 343966"/>
              <a:gd name="connsiteX42" fmla="*/ 126309 w 389077"/>
              <a:gd name="connsiteY42" fmla="*/ 25938 h 343966"/>
              <a:gd name="connsiteX43" fmla="*/ 111648 w 389077"/>
              <a:gd name="connsiteY43" fmla="*/ 20300 h 3439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389077" h="343966">
                <a:moveTo>
                  <a:pt x="111648" y="20300"/>
                </a:moveTo>
                <a:lnTo>
                  <a:pt x="80634" y="9586"/>
                </a:lnTo>
                <a:lnTo>
                  <a:pt x="50749" y="0"/>
                </a:lnTo>
                <a:lnTo>
                  <a:pt x="10714" y="1128"/>
                </a:lnTo>
                <a:lnTo>
                  <a:pt x="564" y="18044"/>
                </a:lnTo>
                <a:lnTo>
                  <a:pt x="6766" y="33269"/>
                </a:lnTo>
                <a:lnTo>
                  <a:pt x="0" y="55260"/>
                </a:lnTo>
                <a:lnTo>
                  <a:pt x="11278" y="84018"/>
                </a:lnTo>
                <a:lnTo>
                  <a:pt x="18608" y="212019"/>
                </a:lnTo>
                <a:lnTo>
                  <a:pt x="24246" y="343967"/>
                </a:lnTo>
                <a:lnTo>
                  <a:pt x="148864" y="343967"/>
                </a:lnTo>
                <a:lnTo>
                  <a:pt x="269534" y="343967"/>
                </a:lnTo>
                <a:lnTo>
                  <a:pt x="392460" y="343967"/>
                </a:lnTo>
                <a:lnTo>
                  <a:pt x="386822" y="336636"/>
                </a:lnTo>
                <a:lnTo>
                  <a:pt x="348477" y="304495"/>
                </a:lnTo>
                <a:lnTo>
                  <a:pt x="346222" y="280812"/>
                </a:lnTo>
                <a:lnTo>
                  <a:pt x="351861" y="274609"/>
                </a:lnTo>
                <a:lnTo>
                  <a:pt x="321975" y="235138"/>
                </a:lnTo>
                <a:lnTo>
                  <a:pt x="310698" y="214838"/>
                </a:lnTo>
                <a:lnTo>
                  <a:pt x="297728" y="195102"/>
                </a:lnTo>
                <a:lnTo>
                  <a:pt x="270662" y="139278"/>
                </a:lnTo>
                <a:lnTo>
                  <a:pt x="248671" y="103190"/>
                </a:lnTo>
                <a:lnTo>
                  <a:pt x="232882" y="65410"/>
                </a:lnTo>
                <a:lnTo>
                  <a:pt x="235701" y="62027"/>
                </a:lnTo>
                <a:lnTo>
                  <a:pt x="261640" y="113340"/>
                </a:lnTo>
                <a:lnTo>
                  <a:pt x="276865" y="129692"/>
                </a:lnTo>
                <a:lnTo>
                  <a:pt x="288143" y="140970"/>
                </a:lnTo>
                <a:lnTo>
                  <a:pt x="294909" y="134767"/>
                </a:lnTo>
                <a:lnTo>
                  <a:pt x="301676" y="116159"/>
                </a:lnTo>
                <a:lnTo>
                  <a:pt x="305623" y="89093"/>
                </a:lnTo>
                <a:lnTo>
                  <a:pt x="312953" y="74996"/>
                </a:lnTo>
                <a:lnTo>
                  <a:pt x="309006" y="65410"/>
                </a:lnTo>
                <a:lnTo>
                  <a:pt x="287015" y="13533"/>
                </a:lnTo>
                <a:lnTo>
                  <a:pt x="287015" y="13533"/>
                </a:lnTo>
                <a:lnTo>
                  <a:pt x="272918" y="22555"/>
                </a:lnTo>
                <a:lnTo>
                  <a:pt x="249235" y="20300"/>
                </a:lnTo>
                <a:lnTo>
                  <a:pt x="224424" y="11841"/>
                </a:lnTo>
                <a:lnTo>
                  <a:pt x="218221" y="23683"/>
                </a:lnTo>
                <a:lnTo>
                  <a:pt x="208636" y="5639"/>
                </a:lnTo>
                <a:lnTo>
                  <a:pt x="186644" y="1128"/>
                </a:lnTo>
                <a:lnTo>
                  <a:pt x="160142" y="4511"/>
                </a:lnTo>
                <a:lnTo>
                  <a:pt x="148300" y="14661"/>
                </a:lnTo>
                <a:lnTo>
                  <a:pt x="126309" y="25938"/>
                </a:lnTo>
                <a:lnTo>
                  <a:pt x="111648" y="20300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4" name="Freeform: Shape 287">
            <a:extLst>
              <a:ext uri="{FF2B5EF4-FFF2-40B4-BE49-F238E27FC236}">
                <a16:creationId xmlns:a16="http://schemas.microsoft.com/office/drawing/2014/main" id="{096458B4-45A4-4A3C-AB97-2B0AE7853680}"/>
              </a:ext>
            </a:extLst>
          </p:cNvPr>
          <p:cNvSpPr/>
          <p:nvPr/>
        </p:nvSpPr>
        <p:spPr>
          <a:xfrm>
            <a:off x="6694777" y="3640404"/>
            <a:ext cx="160124" cy="147483"/>
          </a:xfrm>
          <a:custGeom>
            <a:avLst/>
            <a:gdLst>
              <a:gd name="connsiteX0" fmla="*/ 108265 w 214274"/>
              <a:gd name="connsiteY0" fmla="*/ 91912 h 197358"/>
              <a:gd name="connsiteX1" fmla="*/ 90221 w 214274"/>
              <a:gd name="connsiteY1" fmla="*/ 74432 h 197358"/>
              <a:gd name="connsiteX2" fmla="*/ 80071 w 214274"/>
              <a:gd name="connsiteY2" fmla="*/ 41163 h 197358"/>
              <a:gd name="connsiteX3" fmla="*/ 59207 w 214274"/>
              <a:gd name="connsiteY3" fmla="*/ 0 h 197358"/>
              <a:gd name="connsiteX4" fmla="*/ 44547 w 214274"/>
              <a:gd name="connsiteY4" fmla="*/ 20300 h 197358"/>
              <a:gd name="connsiteX5" fmla="*/ 21991 w 214274"/>
              <a:gd name="connsiteY5" fmla="*/ 25938 h 197358"/>
              <a:gd name="connsiteX6" fmla="*/ 12969 w 214274"/>
              <a:gd name="connsiteY6" fmla="*/ 37216 h 197358"/>
              <a:gd name="connsiteX7" fmla="*/ 10714 w 214274"/>
              <a:gd name="connsiteY7" fmla="*/ 60899 h 197358"/>
              <a:gd name="connsiteX8" fmla="*/ 0 w 214274"/>
              <a:gd name="connsiteY8" fmla="*/ 113904 h 197358"/>
              <a:gd name="connsiteX9" fmla="*/ 3947 w 214274"/>
              <a:gd name="connsiteY9" fmla="*/ 128001 h 197358"/>
              <a:gd name="connsiteX10" fmla="*/ 40599 w 214274"/>
              <a:gd name="connsiteY10" fmla="*/ 135331 h 197358"/>
              <a:gd name="connsiteX11" fmla="*/ 49057 w 214274"/>
              <a:gd name="connsiteY11" fmla="*/ 108829 h 197358"/>
              <a:gd name="connsiteX12" fmla="*/ 68793 w 214274"/>
              <a:gd name="connsiteY12" fmla="*/ 125181 h 197358"/>
              <a:gd name="connsiteX13" fmla="*/ 86838 w 214274"/>
              <a:gd name="connsiteY13" fmla="*/ 116723 h 197358"/>
              <a:gd name="connsiteX14" fmla="*/ 94731 w 214274"/>
              <a:gd name="connsiteY14" fmla="*/ 124054 h 197358"/>
              <a:gd name="connsiteX15" fmla="*/ 116723 w 214274"/>
              <a:gd name="connsiteY15" fmla="*/ 124617 h 197358"/>
              <a:gd name="connsiteX16" fmla="*/ 144353 w 214274"/>
              <a:gd name="connsiteY16" fmla="*/ 138714 h 197358"/>
              <a:gd name="connsiteX17" fmla="*/ 153375 w 214274"/>
              <a:gd name="connsiteY17" fmla="*/ 151120 h 197358"/>
              <a:gd name="connsiteX18" fmla="*/ 167472 w 214274"/>
              <a:gd name="connsiteY18" fmla="*/ 162961 h 197358"/>
              <a:gd name="connsiteX19" fmla="*/ 181569 w 214274"/>
              <a:gd name="connsiteY19" fmla="*/ 183825 h 197358"/>
              <a:gd name="connsiteX20" fmla="*/ 192847 w 214274"/>
              <a:gd name="connsiteY20" fmla="*/ 195666 h 197358"/>
              <a:gd name="connsiteX21" fmla="*/ 206380 w 214274"/>
              <a:gd name="connsiteY21" fmla="*/ 198486 h 197358"/>
              <a:gd name="connsiteX22" fmla="*/ 215402 w 214274"/>
              <a:gd name="connsiteY22" fmla="*/ 190027 h 197358"/>
              <a:gd name="connsiteX23" fmla="*/ 199614 w 214274"/>
              <a:gd name="connsiteY23" fmla="*/ 179314 h 197358"/>
              <a:gd name="connsiteX24" fmla="*/ 188900 w 214274"/>
              <a:gd name="connsiteY24" fmla="*/ 166908 h 197358"/>
              <a:gd name="connsiteX25" fmla="*/ 170855 w 214274"/>
              <a:gd name="connsiteY25" fmla="*/ 146045 h 197358"/>
              <a:gd name="connsiteX26" fmla="*/ 152811 w 214274"/>
              <a:gd name="connsiteY26" fmla="*/ 125745 h 197358"/>
              <a:gd name="connsiteX27" fmla="*/ 108265 w 214274"/>
              <a:gd name="connsiteY27" fmla="*/ 91912 h 1973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4274" h="197358">
                <a:moveTo>
                  <a:pt x="108265" y="91912"/>
                </a:moveTo>
                <a:lnTo>
                  <a:pt x="90221" y="74432"/>
                </a:lnTo>
                <a:lnTo>
                  <a:pt x="80071" y="41163"/>
                </a:lnTo>
                <a:lnTo>
                  <a:pt x="59207" y="0"/>
                </a:lnTo>
                <a:lnTo>
                  <a:pt x="44547" y="20300"/>
                </a:lnTo>
                <a:lnTo>
                  <a:pt x="21991" y="25938"/>
                </a:lnTo>
                <a:lnTo>
                  <a:pt x="12969" y="37216"/>
                </a:lnTo>
                <a:lnTo>
                  <a:pt x="10714" y="60899"/>
                </a:lnTo>
                <a:lnTo>
                  <a:pt x="0" y="113904"/>
                </a:lnTo>
                <a:lnTo>
                  <a:pt x="3947" y="128001"/>
                </a:lnTo>
                <a:lnTo>
                  <a:pt x="40599" y="135331"/>
                </a:lnTo>
                <a:lnTo>
                  <a:pt x="49057" y="108829"/>
                </a:lnTo>
                <a:lnTo>
                  <a:pt x="68793" y="125181"/>
                </a:lnTo>
                <a:lnTo>
                  <a:pt x="86838" y="116723"/>
                </a:lnTo>
                <a:lnTo>
                  <a:pt x="94731" y="124054"/>
                </a:lnTo>
                <a:lnTo>
                  <a:pt x="116723" y="124617"/>
                </a:lnTo>
                <a:lnTo>
                  <a:pt x="144353" y="138714"/>
                </a:lnTo>
                <a:lnTo>
                  <a:pt x="153375" y="151120"/>
                </a:lnTo>
                <a:lnTo>
                  <a:pt x="167472" y="162961"/>
                </a:lnTo>
                <a:lnTo>
                  <a:pt x="181569" y="183825"/>
                </a:lnTo>
                <a:lnTo>
                  <a:pt x="192847" y="195666"/>
                </a:lnTo>
                <a:lnTo>
                  <a:pt x="206380" y="198486"/>
                </a:lnTo>
                <a:lnTo>
                  <a:pt x="215402" y="190027"/>
                </a:lnTo>
                <a:lnTo>
                  <a:pt x="199614" y="179314"/>
                </a:lnTo>
                <a:lnTo>
                  <a:pt x="188900" y="166908"/>
                </a:lnTo>
                <a:lnTo>
                  <a:pt x="170855" y="146045"/>
                </a:lnTo>
                <a:lnTo>
                  <a:pt x="152811" y="125745"/>
                </a:lnTo>
                <a:lnTo>
                  <a:pt x="108265" y="91912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5" name="Freeform: Shape 288">
            <a:extLst>
              <a:ext uri="{FF2B5EF4-FFF2-40B4-BE49-F238E27FC236}">
                <a16:creationId xmlns:a16="http://schemas.microsoft.com/office/drawing/2014/main" id="{9A4640E1-0366-4624-AEF8-73FE2FE3BFEE}"/>
              </a:ext>
            </a:extLst>
          </p:cNvPr>
          <p:cNvSpPr/>
          <p:nvPr/>
        </p:nvSpPr>
        <p:spPr>
          <a:xfrm>
            <a:off x="6287726" y="2543976"/>
            <a:ext cx="88490" cy="50566"/>
          </a:xfrm>
          <a:custGeom>
            <a:avLst/>
            <a:gdLst>
              <a:gd name="connsiteX0" fmla="*/ 61462 w 118414"/>
              <a:gd name="connsiteY0" fmla="*/ 0 h 67665"/>
              <a:gd name="connsiteX1" fmla="*/ 30449 w 118414"/>
              <a:gd name="connsiteY1" fmla="*/ 5075 h 67665"/>
              <a:gd name="connsiteX2" fmla="*/ 0 w 118414"/>
              <a:gd name="connsiteY2" fmla="*/ 14097 h 67665"/>
              <a:gd name="connsiteX3" fmla="*/ 5074 w 118414"/>
              <a:gd name="connsiteY3" fmla="*/ 33269 h 67665"/>
              <a:gd name="connsiteX4" fmla="*/ 23683 w 118414"/>
              <a:gd name="connsiteY4" fmla="*/ 45110 h 67665"/>
              <a:gd name="connsiteX5" fmla="*/ 32141 w 118414"/>
              <a:gd name="connsiteY5" fmla="*/ 40599 h 67665"/>
              <a:gd name="connsiteX6" fmla="*/ 32705 w 118414"/>
              <a:gd name="connsiteY6" fmla="*/ 60335 h 67665"/>
              <a:gd name="connsiteX7" fmla="*/ 53569 w 118414"/>
              <a:gd name="connsiteY7" fmla="*/ 54696 h 67665"/>
              <a:gd name="connsiteX8" fmla="*/ 65410 w 118414"/>
              <a:gd name="connsiteY8" fmla="*/ 58643 h 67665"/>
              <a:gd name="connsiteX9" fmla="*/ 90221 w 118414"/>
              <a:gd name="connsiteY9" fmla="*/ 71049 h 67665"/>
              <a:gd name="connsiteX10" fmla="*/ 111648 w 118414"/>
              <a:gd name="connsiteY10" fmla="*/ 71049 h 67665"/>
              <a:gd name="connsiteX11" fmla="*/ 120670 w 118414"/>
              <a:gd name="connsiteY11" fmla="*/ 60335 h 67665"/>
              <a:gd name="connsiteX12" fmla="*/ 106573 w 118414"/>
              <a:gd name="connsiteY12" fmla="*/ 29322 h 67665"/>
              <a:gd name="connsiteX13" fmla="*/ 121234 w 118414"/>
              <a:gd name="connsiteY13" fmla="*/ 10150 h 67665"/>
              <a:gd name="connsiteX14" fmla="*/ 116159 w 118414"/>
              <a:gd name="connsiteY14" fmla="*/ 4511 h 67665"/>
              <a:gd name="connsiteX15" fmla="*/ 116159 w 118414"/>
              <a:gd name="connsiteY15" fmla="*/ 4511 h 67665"/>
              <a:gd name="connsiteX16" fmla="*/ 90221 w 118414"/>
              <a:gd name="connsiteY16" fmla="*/ 5639 h 67665"/>
              <a:gd name="connsiteX17" fmla="*/ 61462 w 118414"/>
              <a:gd name="connsiteY17" fmla="*/ 0 h 676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18414" h="67665">
                <a:moveTo>
                  <a:pt x="61462" y="0"/>
                </a:moveTo>
                <a:lnTo>
                  <a:pt x="30449" y="5075"/>
                </a:lnTo>
                <a:lnTo>
                  <a:pt x="0" y="14097"/>
                </a:lnTo>
                <a:lnTo>
                  <a:pt x="5074" y="33269"/>
                </a:lnTo>
                <a:lnTo>
                  <a:pt x="23683" y="45110"/>
                </a:lnTo>
                <a:lnTo>
                  <a:pt x="32141" y="40599"/>
                </a:lnTo>
                <a:lnTo>
                  <a:pt x="32705" y="60335"/>
                </a:lnTo>
                <a:lnTo>
                  <a:pt x="53569" y="54696"/>
                </a:lnTo>
                <a:lnTo>
                  <a:pt x="65410" y="58643"/>
                </a:lnTo>
                <a:lnTo>
                  <a:pt x="90221" y="71049"/>
                </a:lnTo>
                <a:lnTo>
                  <a:pt x="111648" y="71049"/>
                </a:lnTo>
                <a:lnTo>
                  <a:pt x="120670" y="60335"/>
                </a:lnTo>
                <a:lnTo>
                  <a:pt x="106573" y="29322"/>
                </a:lnTo>
                <a:lnTo>
                  <a:pt x="121234" y="10150"/>
                </a:lnTo>
                <a:lnTo>
                  <a:pt x="116159" y="4511"/>
                </a:lnTo>
                <a:lnTo>
                  <a:pt x="116159" y="4511"/>
                </a:lnTo>
                <a:lnTo>
                  <a:pt x="90221" y="5639"/>
                </a:lnTo>
                <a:lnTo>
                  <a:pt x="61462" y="0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6" name="Freeform: Shape 289">
            <a:extLst>
              <a:ext uri="{FF2B5EF4-FFF2-40B4-BE49-F238E27FC236}">
                <a16:creationId xmlns:a16="http://schemas.microsoft.com/office/drawing/2014/main" id="{A636ACD6-0616-4DA6-95A9-38F598F0EF0D}"/>
              </a:ext>
            </a:extLst>
          </p:cNvPr>
          <p:cNvSpPr/>
          <p:nvPr/>
        </p:nvSpPr>
        <p:spPr>
          <a:xfrm>
            <a:off x="6621035" y="3721730"/>
            <a:ext cx="349744" cy="307606"/>
          </a:xfrm>
          <a:custGeom>
            <a:avLst/>
            <a:gdLst>
              <a:gd name="connsiteX0" fmla="*/ 147736 w 468020"/>
              <a:gd name="connsiteY0" fmla="*/ 0 h 411632"/>
              <a:gd name="connsiteX1" fmla="*/ 139278 w 468020"/>
              <a:gd name="connsiteY1" fmla="*/ 26502 h 411632"/>
              <a:gd name="connsiteX2" fmla="*/ 102626 w 468020"/>
              <a:gd name="connsiteY2" fmla="*/ 19172 h 411632"/>
              <a:gd name="connsiteX3" fmla="*/ 98679 w 468020"/>
              <a:gd name="connsiteY3" fmla="*/ 50185 h 411632"/>
              <a:gd name="connsiteX4" fmla="*/ 86838 w 468020"/>
              <a:gd name="connsiteY4" fmla="*/ 85146 h 411632"/>
              <a:gd name="connsiteX5" fmla="*/ 68793 w 468020"/>
              <a:gd name="connsiteY5" fmla="*/ 103190 h 411632"/>
              <a:gd name="connsiteX6" fmla="*/ 55824 w 468020"/>
              <a:gd name="connsiteY6" fmla="*/ 130256 h 411632"/>
              <a:gd name="connsiteX7" fmla="*/ 53005 w 468020"/>
              <a:gd name="connsiteY7" fmla="*/ 144917 h 411632"/>
              <a:gd name="connsiteX8" fmla="*/ 38343 w 468020"/>
              <a:gd name="connsiteY8" fmla="*/ 155067 h 411632"/>
              <a:gd name="connsiteX9" fmla="*/ 30450 w 468020"/>
              <a:gd name="connsiteY9" fmla="*/ 192847 h 411632"/>
              <a:gd name="connsiteX10" fmla="*/ 30450 w 468020"/>
              <a:gd name="connsiteY10" fmla="*/ 196794 h 411632"/>
              <a:gd name="connsiteX11" fmla="*/ 31577 w 468020"/>
              <a:gd name="connsiteY11" fmla="*/ 224988 h 411632"/>
              <a:gd name="connsiteX12" fmla="*/ 27066 w 468020"/>
              <a:gd name="connsiteY12" fmla="*/ 236266 h 411632"/>
              <a:gd name="connsiteX13" fmla="*/ 10149 w 468020"/>
              <a:gd name="connsiteY13" fmla="*/ 236830 h 411632"/>
              <a:gd name="connsiteX14" fmla="*/ 0 w 468020"/>
              <a:gd name="connsiteY14" fmla="*/ 257129 h 411632"/>
              <a:gd name="connsiteX15" fmla="*/ 19172 w 468020"/>
              <a:gd name="connsiteY15" fmla="*/ 259949 h 411632"/>
              <a:gd name="connsiteX16" fmla="*/ 35524 w 468020"/>
              <a:gd name="connsiteY16" fmla="*/ 277429 h 411632"/>
              <a:gd name="connsiteX17" fmla="*/ 41163 w 468020"/>
              <a:gd name="connsiteY17" fmla="*/ 291526 h 411632"/>
              <a:gd name="connsiteX18" fmla="*/ 55824 w 468020"/>
              <a:gd name="connsiteY18" fmla="*/ 299984 h 411632"/>
              <a:gd name="connsiteX19" fmla="*/ 75560 w 468020"/>
              <a:gd name="connsiteY19" fmla="*/ 338892 h 411632"/>
              <a:gd name="connsiteX20" fmla="*/ 91912 w 468020"/>
              <a:gd name="connsiteY20" fmla="*/ 345095 h 411632"/>
              <a:gd name="connsiteX21" fmla="*/ 91912 w 468020"/>
              <a:gd name="connsiteY21" fmla="*/ 365394 h 411632"/>
              <a:gd name="connsiteX22" fmla="*/ 103190 w 468020"/>
              <a:gd name="connsiteY22" fmla="*/ 377236 h 411632"/>
              <a:gd name="connsiteX23" fmla="*/ 125181 w 468020"/>
              <a:gd name="connsiteY23" fmla="*/ 377236 h 411632"/>
              <a:gd name="connsiteX24" fmla="*/ 165781 w 468020"/>
              <a:gd name="connsiteY24" fmla="*/ 407685 h 411632"/>
              <a:gd name="connsiteX25" fmla="*/ 175930 w 468020"/>
              <a:gd name="connsiteY25" fmla="*/ 407685 h 411632"/>
              <a:gd name="connsiteX26" fmla="*/ 183261 w 468020"/>
              <a:gd name="connsiteY26" fmla="*/ 407121 h 411632"/>
              <a:gd name="connsiteX27" fmla="*/ 190027 w 468020"/>
              <a:gd name="connsiteY27" fmla="*/ 411069 h 411632"/>
              <a:gd name="connsiteX28" fmla="*/ 211455 w 468020"/>
              <a:gd name="connsiteY28" fmla="*/ 413888 h 411632"/>
              <a:gd name="connsiteX29" fmla="*/ 220477 w 468020"/>
              <a:gd name="connsiteY29" fmla="*/ 398663 h 411632"/>
              <a:gd name="connsiteX30" fmla="*/ 249235 w 468020"/>
              <a:gd name="connsiteY30" fmla="*/ 384002 h 411632"/>
              <a:gd name="connsiteX31" fmla="*/ 262204 w 468020"/>
              <a:gd name="connsiteY31" fmla="*/ 395844 h 411632"/>
              <a:gd name="connsiteX32" fmla="*/ 283631 w 468020"/>
              <a:gd name="connsiteY32" fmla="*/ 395844 h 411632"/>
              <a:gd name="connsiteX33" fmla="*/ 292089 w 468020"/>
              <a:gd name="connsiteY33" fmla="*/ 384566 h 411632"/>
              <a:gd name="connsiteX34" fmla="*/ 312390 w 468020"/>
              <a:gd name="connsiteY34" fmla="*/ 384002 h 411632"/>
              <a:gd name="connsiteX35" fmla="*/ 340019 w 468020"/>
              <a:gd name="connsiteY35" fmla="*/ 358628 h 411632"/>
              <a:gd name="connsiteX36" fmla="*/ 381747 w 468020"/>
              <a:gd name="connsiteY36" fmla="*/ 356936 h 411632"/>
              <a:gd name="connsiteX37" fmla="*/ 468584 w 468020"/>
              <a:gd name="connsiteY37" fmla="*/ 249235 h 411632"/>
              <a:gd name="connsiteX38" fmla="*/ 441518 w 468020"/>
              <a:gd name="connsiteY38" fmla="*/ 249799 h 411632"/>
              <a:gd name="connsiteX39" fmla="*/ 337200 w 468020"/>
              <a:gd name="connsiteY39" fmla="*/ 206944 h 411632"/>
              <a:gd name="connsiteX40" fmla="*/ 324795 w 468020"/>
              <a:gd name="connsiteY40" fmla="*/ 194539 h 411632"/>
              <a:gd name="connsiteX41" fmla="*/ 312953 w 468020"/>
              <a:gd name="connsiteY41" fmla="*/ 177058 h 411632"/>
              <a:gd name="connsiteX42" fmla="*/ 300548 w 468020"/>
              <a:gd name="connsiteY42" fmla="*/ 157322 h 411632"/>
              <a:gd name="connsiteX43" fmla="*/ 306751 w 468020"/>
              <a:gd name="connsiteY43" fmla="*/ 144353 h 411632"/>
              <a:gd name="connsiteX44" fmla="*/ 299420 w 468020"/>
              <a:gd name="connsiteY44" fmla="*/ 138151 h 411632"/>
              <a:gd name="connsiteX45" fmla="*/ 292089 w 468020"/>
              <a:gd name="connsiteY45" fmla="*/ 140970 h 411632"/>
              <a:gd name="connsiteX46" fmla="*/ 274609 w 468020"/>
              <a:gd name="connsiteY46" fmla="*/ 140406 h 411632"/>
              <a:gd name="connsiteX47" fmla="*/ 273482 w 468020"/>
              <a:gd name="connsiteY47" fmla="*/ 129128 h 411632"/>
              <a:gd name="connsiteX48" fmla="*/ 270662 w 468020"/>
              <a:gd name="connsiteY48" fmla="*/ 119543 h 411632"/>
              <a:gd name="connsiteX49" fmla="*/ 280812 w 468020"/>
              <a:gd name="connsiteY49" fmla="*/ 102626 h 411632"/>
              <a:gd name="connsiteX50" fmla="*/ 291526 w 468020"/>
              <a:gd name="connsiteY50" fmla="*/ 86837 h 411632"/>
              <a:gd name="connsiteX51" fmla="*/ 280248 w 468020"/>
              <a:gd name="connsiteY51" fmla="*/ 74996 h 411632"/>
              <a:gd name="connsiteX52" fmla="*/ 266151 w 468020"/>
              <a:gd name="connsiteY52" fmla="*/ 54133 h 411632"/>
              <a:gd name="connsiteX53" fmla="*/ 252054 w 468020"/>
              <a:gd name="connsiteY53" fmla="*/ 42291 h 411632"/>
              <a:gd name="connsiteX54" fmla="*/ 243032 w 468020"/>
              <a:gd name="connsiteY54" fmla="*/ 29886 h 411632"/>
              <a:gd name="connsiteX55" fmla="*/ 215402 w 468020"/>
              <a:gd name="connsiteY55" fmla="*/ 15789 h 411632"/>
              <a:gd name="connsiteX56" fmla="*/ 193410 w 468020"/>
              <a:gd name="connsiteY56" fmla="*/ 15225 h 411632"/>
              <a:gd name="connsiteX57" fmla="*/ 185517 w 468020"/>
              <a:gd name="connsiteY57" fmla="*/ 7894 h 411632"/>
              <a:gd name="connsiteX58" fmla="*/ 167472 w 468020"/>
              <a:gd name="connsiteY58" fmla="*/ 16352 h 411632"/>
              <a:gd name="connsiteX59" fmla="*/ 147736 w 468020"/>
              <a:gd name="connsiteY59" fmla="*/ 0 h 411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</a:cxnLst>
            <a:rect l="l" t="t" r="r" b="b"/>
            <a:pathLst>
              <a:path w="468020" h="411632">
                <a:moveTo>
                  <a:pt x="147736" y="0"/>
                </a:moveTo>
                <a:lnTo>
                  <a:pt x="139278" y="26502"/>
                </a:lnTo>
                <a:lnTo>
                  <a:pt x="102626" y="19172"/>
                </a:lnTo>
                <a:lnTo>
                  <a:pt x="98679" y="50185"/>
                </a:lnTo>
                <a:lnTo>
                  <a:pt x="86838" y="85146"/>
                </a:lnTo>
                <a:lnTo>
                  <a:pt x="68793" y="103190"/>
                </a:lnTo>
                <a:lnTo>
                  <a:pt x="55824" y="130256"/>
                </a:lnTo>
                <a:lnTo>
                  <a:pt x="53005" y="144917"/>
                </a:lnTo>
                <a:lnTo>
                  <a:pt x="38343" y="155067"/>
                </a:lnTo>
                <a:lnTo>
                  <a:pt x="30450" y="192847"/>
                </a:lnTo>
                <a:lnTo>
                  <a:pt x="30450" y="196794"/>
                </a:lnTo>
                <a:lnTo>
                  <a:pt x="31577" y="224988"/>
                </a:lnTo>
                <a:lnTo>
                  <a:pt x="27066" y="236266"/>
                </a:lnTo>
                <a:lnTo>
                  <a:pt x="10149" y="236830"/>
                </a:lnTo>
                <a:lnTo>
                  <a:pt x="0" y="257129"/>
                </a:lnTo>
                <a:lnTo>
                  <a:pt x="19172" y="259949"/>
                </a:lnTo>
                <a:lnTo>
                  <a:pt x="35524" y="277429"/>
                </a:lnTo>
                <a:lnTo>
                  <a:pt x="41163" y="291526"/>
                </a:lnTo>
                <a:lnTo>
                  <a:pt x="55824" y="299984"/>
                </a:lnTo>
                <a:lnTo>
                  <a:pt x="75560" y="338892"/>
                </a:lnTo>
                <a:lnTo>
                  <a:pt x="91912" y="345095"/>
                </a:lnTo>
                <a:lnTo>
                  <a:pt x="91912" y="365394"/>
                </a:lnTo>
                <a:lnTo>
                  <a:pt x="103190" y="377236"/>
                </a:lnTo>
                <a:lnTo>
                  <a:pt x="125181" y="377236"/>
                </a:lnTo>
                <a:lnTo>
                  <a:pt x="165781" y="407685"/>
                </a:lnTo>
                <a:lnTo>
                  <a:pt x="175930" y="407685"/>
                </a:lnTo>
                <a:lnTo>
                  <a:pt x="183261" y="407121"/>
                </a:lnTo>
                <a:lnTo>
                  <a:pt x="190027" y="411069"/>
                </a:lnTo>
                <a:lnTo>
                  <a:pt x="211455" y="413888"/>
                </a:lnTo>
                <a:lnTo>
                  <a:pt x="220477" y="398663"/>
                </a:lnTo>
                <a:lnTo>
                  <a:pt x="249235" y="384002"/>
                </a:lnTo>
                <a:lnTo>
                  <a:pt x="262204" y="395844"/>
                </a:lnTo>
                <a:lnTo>
                  <a:pt x="283631" y="395844"/>
                </a:lnTo>
                <a:lnTo>
                  <a:pt x="292089" y="384566"/>
                </a:lnTo>
                <a:lnTo>
                  <a:pt x="312390" y="384002"/>
                </a:lnTo>
                <a:lnTo>
                  <a:pt x="340019" y="358628"/>
                </a:lnTo>
                <a:lnTo>
                  <a:pt x="381747" y="356936"/>
                </a:lnTo>
                <a:lnTo>
                  <a:pt x="468584" y="249235"/>
                </a:lnTo>
                <a:lnTo>
                  <a:pt x="441518" y="249799"/>
                </a:lnTo>
                <a:lnTo>
                  <a:pt x="337200" y="206944"/>
                </a:lnTo>
                <a:lnTo>
                  <a:pt x="324795" y="194539"/>
                </a:lnTo>
                <a:lnTo>
                  <a:pt x="312953" y="177058"/>
                </a:lnTo>
                <a:lnTo>
                  <a:pt x="300548" y="157322"/>
                </a:lnTo>
                <a:lnTo>
                  <a:pt x="306751" y="144353"/>
                </a:lnTo>
                <a:lnTo>
                  <a:pt x="299420" y="138151"/>
                </a:lnTo>
                <a:lnTo>
                  <a:pt x="292089" y="140970"/>
                </a:lnTo>
                <a:lnTo>
                  <a:pt x="274609" y="140406"/>
                </a:lnTo>
                <a:lnTo>
                  <a:pt x="273482" y="129128"/>
                </a:lnTo>
                <a:lnTo>
                  <a:pt x="270662" y="119543"/>
                </a:lnTo>
                <a:lnTo>
                  <a:pt x="280812" y="102626"/>
                </a:lnTo>
                <a:lnTo>
                  <a:pt x="291526" y="86837"/>
                </a:lnTo>
                <a:lnTo>
                  <a:pt x="280248" y="74996"/>
                </a:lnTo>
                <a:lnTo>
                  <a:pt x="266151" y="54133"/>
                </a:lnTo>
                <a:lnTo>
                  <a:pt x="252054" y="42291"/>
                </a:lnTo>
                <a:lnTo>
                  <a:pt x="243032" y="29886"/>
                </a:lnTo>
                <a:lnTo>
                  <a:pt x="215402" y="15789"/>
                </a:lnTo>
                <a:lnTo>
                  <a:pt x="193410" y="15225"/>
                </a:lnTo>
                <a:lnTo>
                  <a:pt x="185517" y="7894"/>
                </a:lnTo>
                <a:lnTo>
                  <a:pt x="167472" y="16352"/>
                </a:lnTo>
                <a:lnTo>
                  <a:pt x="147736" y="0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7" name="Freeform: Shape 290">
            <a:extLst>
              <a:ext uri="{FF2B5EF4-FFF2-40B4-BE49-F238E27FC236}">
                <a16:creationId xmlns:a16="http://schemas.microsoft.com/office/drawing/2014/main" id="{F3C750AB-09D7-46A0-A99A-3AE0A398DE8F}"/>
              </a:ext>
            </a:extLst>
          </p:cNvPr>
          <p:cNvSpPr/>
          <p:nvPr/>
        </p:nvSpPr>
        <p:spPr>
          <a:xfrm>
            <a:off x="6197972" y="2295362"/>
            <a:ext cx="223331" cy="240186"/>
          </a:xfrm>
          <a:custGeom>
            <a:avLst/>
            <a:gdLst>
              <a:gd name="connsiteX0" fmla="*/ 182697 w 298856"/>
              <a:gd name="connsiteY0" fmla="*/ 33269 h 321411"/>
              <a:gd name="connsiteX1" fmla="*/ 187208 w 298856"/>
              <a:gd name="connsiteY1" fmla="*/ 11842 h 321411"/>
              <a:gd name="connsiteX2" fmla="*/ 155067 w 298856"/>
              <a:gd name="connsiteY2" fmla="*/ 0 h 321411"/>
              <a:gd name="connsiteX3" fmla="*/ 122362 w 298856"/>
              <a:gd name="connsiteY3" fmla="*/ 10150 h 321411"/>
              <a:gd name="connsiteX4" fmla="*/ 116159 w 298856"/>
              <a:gd name="connsiteY4" fmla="*/ 32141 h 321411"/>
              <a:gd name="connsiteX5" fmla="*/ 96987 w 298856"/>
              <a:gd name="connsiteY5" fmla="*/ 45674 h 321411"/>
              <a:gd name="connsiteX6" fmla="*/ 70485 w 298856"/>
              <a:gd name="connsiteY6" fmla="*/ 38344 h 321411"/>
              <a:gd name="connsiteX7" fmla="*/ 40599 w 298856"/>
              <a:gd name="connsiteY7" fmla="*/ 40036 h 321411"/>
              <a:gd name="connsiteX8" fmla="*/ 11841 w 298856"/>
              <a:gd name="connsiteY8" fmla="*/ 23683 h 321411"/>
              <a:gd name="connsiteX9" fmla="*/ 0 w 298856"/>
              <a:gd name="connsiteY9" fmla="*/ 31577 h 321411"/>
              <a:gd name="connsiteX10" fmla="*/ 33269 w 298856"/>
              <a:gd name="connsiteY10" fmla="*/ 46802 h 321411"/>
              <a:gd name="connsiteX11" fmla="*/ 73868 w 298856"/>
              <a:gd name="connsiteY11" fmla="*/ 67666 h 321411"/>
              <a:gd name="connsiteX12" fmla="*/ 83455 w 298856"/>
              <a:gd name="connsiteY12" fmla="*/ 115031 h 321411"/>
              <a:gd name="connsiteX13" fmla="*/ 94168 w 298856"/>
              <a:gd name="connsiteY13" fmla="*/ 127437 h 321411"/>
              <a:gd name="connsiteX14" fmla="*/ 130256 w 298856"/>
              <a:gd name="connsiteY14" fmla="*/ 142098 h 321411"/>
              <a:gd name="connsiteX15" fmla="*/ 135331 w 298856"/>
              <a:gd name="connsiteY15" fmla="*/ 155067 h 321411"/>
              <a:gd name="connsiteX16" fmla="*/ 120670 w 298856"/>
              <a:gd name="connsiteY16" fmla="*/ 161834 h 321411"/>
              <a:gd name="connsiteX17" fmla="*/ 71612 w 298856"/>
              <a:gd name="connsiteY17" fmla="*/ 196230 h 321411"/>
              <a:gd name="connsiteX18" fmla="*/ 53005 w 298856"/>
              <a:gd name="connsiteY18" fmla="*/ 216530 h 321411"/>
              <a:gd name="connsiteX19" fmla="*/ 44547 w 298856"/>
              <a:gd name="connsiteY19" fmla="*/ 235138 h 321411"/>
              <a:gd name="connsiteX20" fmla="*/ 60899 w 298856"/>
              <a:gd name="connsiteY20" fmla="*/ 264460 h 321411"/>
              <a:gd name="connsiteX21" fmla="*/ 60335 w 298856"/>
              <a:gd name="connsiteY21" fmla="*/ 296601 h 321411"/>
              <a:gd name="connsiteX22" fmla="*/ 86838 w 298856"/>
              <a:gd name="connsiteY22" fmla="*/ 307315 h 321411"/>
              <a:gd name="connsiteX23" fmla="*/ 104318 w 298856"/>
              <a:gd name="connsiteY23" fmla="*/ 324795 h 321411"/>
              <a:gd name="connsiteX24" fmla="*/ 144353 w 298856"/>
              <a:gd name="connsiteY24" fmla="*/ 318028 h 321411"/>
              <a:gd name="connsiteX25" fmla="*/ 186644 w 298856"/>
              <a:gd name="connsiteY25" fmla="*/ 306187 h 321411"/>
              <a:gd name="connsiteX26" fmla="*/ 231755 w 298856"/>
              <a:gd name="connsiteY26" fmla="*/ 303367 h 321411"/>
              <a:gd name="connsiteX27" fmla="*/ 231755 w 298856"/>
              <a:gd name="connsiteY27" fmla="*/ 303367 h 321411"/>
              <a:gd name="connsiteX28" fmla="*/ 276301 w 298856"/>
              <a:gd name="connsiteY28" fmla="*/ 261640 h 321411"/>
              <a:gd name="connsiteX29" fmla="*/ 294910 w 298856"/>
              <a:gd name="connsiteY29" fmla="*/ 243032 h 321411"/>
              <a:gd name="connsiteX30" fmla="*/ 299984 w 298856"/>
              <a:gd name="connsiteY30" fmla="*/ 226680 h 321411"/>
              <a:gd name="connsiteX31" fmla="*/ 258821 w 298856"/>
              <a:gd name="connsiteY31" fmla="*/ 204688 h 321411"/>
              <a:gd name="connsiteX32" fmla="*/ 263896 w 298856"/>
              <a:gd name="connsiteY32" fmla="*/ 183825 h 321411"/>
              <a:gd name="connsiteX33" fmla="*/ 236266 w 298856"/>
              <a:gd name="connsiteY33" fmla="*/ 160706 h 321411"/>
              <a:gd name="connsiteX34" fmla="*/ 245852 w 298856"/>
              <a:gd name="connsiteY34" fmla="*/ 133640 h 321411"/>
              <a:gd name="connsiteX35" fmla="*/ 209763 w 298856"/>
              <a:gd name="connsiteY35" fmla="*/ 98115 h 321411"/>
              <a:gd name="connsiteX36" fmla="*/ 225552 w 298856"/>
              <a:gd name="connsiteY36" fmla="*/ 74996 h 321411"/>
              <a:gd name="connsiteX37" fmla="*/ 184953 w 298856"/>
              <a:gd name="connsiteY37" fmla="*/ 54133 h 321411"/>
              <a:gd name="connsiteX38" fmla="*/ 182697 w 298856"/>
              <a:gd name="connsiteY38" fmla="*/ 33269 h 3214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</a:cxnLst>
            <a:rect l="l" t="t" r="r" b="b"/>
            <a:pathLst>
              <a:path w="298856" h="321411">
                <a:moveTo>
                  <a:pt x="182697" y="33269"/>
                </a:moveTo>
                <a:lnTo>
                  <a:pt x="187208" y="11842"/>
                </a:lnTo>
                <a:lnTo>
                  <a:pt x="155067" y="0"/>
                </a:lnTo>
                <a:lnTo>
                  <a:pt x="122362" y="10150"/>
                </a:lnTo>
                <a:lnTo>
                  <a:pt x="116159" y="32141"/>
                </a:lnTo>
                <a:lnTo>
                  <a:pt x="96987" y="45674"/>
                </a:lnTo>
                <a:lnTo>
                  <a:pt x="70485" y="38344"/>
                </a:lnTo>
                <a:lnTo>
                  <a:pt x="40599" y="40036"/>
                </a:lnTo>
                <a:lnTo>
                  <a:pt x="11841" y="23683"/>
                </a:lnTo>
                <a:lnTo>
                  <a:pt x="0" y="31577"/>
                </a:lnTo>
                <a:lnTo>
                  <a:pt x="33269" y="46802"/>
                </a:lnTo>
                <a:lnTo>
                  <a:pt x="73868" y="67666"/>
                </a:lnTo>
                <a:lnTo>
                  <a:pt x="83455" y="115031"/>
                </a:lnTo>
                <a:lnTo>
                  <a:pt x="94168" y="127437"/>
                </a:lnTo>
                <a:lnTo>
                  <a:pt x="130256" y="142098"/>
                </a:lnTo>
                <a:lnTo>
                  <a:pt x="135331" y="155067"/>
                </a:lnTo>
                <a:lnTo>
                  <a:pt x="120670" y="161834"/>
                </a:lnTo>
                <a:lnTo>
                  <a:pt x="71612" y="196230"/>
                </a:lnTo>
                <a:lnTo>
                  <a:pt x="53005" y="216530"/>
                </a:lnTo>
                <a:lnTo>
                  <a:pt x="44547" y="235138"/>
                </a:lnTo>
                <a:lnTo>
                  <a:pt x="60899" y="264460"/>
                </a:lnTo>
                <a:lnTo>
                  <a:pt x="60335" y="296601"/>
                </a:lnTo>
                <a:lnTo>
                  <a:pt x="86838" y="307315"/>
                </a:lnTo>
                <a:lnTo>
                  <a:pt x="104318" y="324795"/>
                </a:lnTo>
                <a:lnTo>
                  <a:pt x="144353" y="318028"/>
                </a:lnTo>
                <a:lnTo>
                  <a:pt x="186644" y="306187"/>
                </a:lnTo>
                <a:lnTo>
                  <a:pt x="231755" y="303367"/>
                </a:lnTo>
                <a:lnTo>
                  <a:pt x="231755" y="303367"/>
                </a:lnTo>
                <a:lnTo>
                  <a:pt x="276301" y="261640"/>
                </a:lnTo>
                <a:lnTo>
                  <a:pt x="294910" y="243032"/>
                </a:lnTo>
                <a:lnTo>
                  <a:pt x="299984" y="226680"/>
                </a:lnTo>
                <a:lnTo>
                  <a:pt x="258821" y="204688"/>
                </a:lnTo>
                <a:lnTo>
                  <a:pt x="263896" y="183825"/>
                </a:lnTo>
                <a:lnTo>
                  <a:pt x="236266" y="160706"/>
                </a:lnTo>
                <a:lnTo>
                  <a:pt x="245852" y="133640"/>
                </a:lnTo>
                <a:lnTo>
                  <a:pt x="209763" y="98115"/>
                </a:lnTo>
                <a:lnTo>
                  <a:pt x="225552" y="74996"/>
                </a:lnTo>
                <a:lnTo>
                  <a:pt x="184953" y="54133"/>
                </a:lnTo>
                <a:lnTo>
                  <a:pt x="182697" y="33269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8" name="Freeform: Shape 291">
            <a:extLst>
              <a:ext uri="{FF2B5EF4-FFF2-40B4-BE49-F238E27FC236}">
                <a16:creationId xmlns:a16="http://schemas.microsoft.com/office/drawing/2014/main" id="{B55CE2BE-5B20-49B7-BF7D-4B2FFB62FF26}"/>
              </a:ext>
            </a:extLst>
          </p:cNvPr>
          <p:cNvSpPr/>
          <p:nvPr/>
        </p:nvSpPr>
        <p:spPr>
          <a:xfrm>
            <a:off x="9981532" y="4553532"/>
            <a:ext cx="71634" cy="58993"/>
          </a:xfrm>
          <a:custGeom>
            <a:avLst/>
            <a:gdLst>
              <a:gd name="connsiteX0" fmla="*/ 100370 w 95859"/>
              <a:gd name="connsiteY0" fmla="*/ 0 h 78943"/>
              <a:gd name="connsiteX1" fmla="*/ 79507 w 95859"/>
              <a:gd name="connsiteY1" fmla="*/ 11278 h 78943"/>
              <a:gd name="connsiteX2" fmla="*/ 68793 w 95859"/>
              <a:gd name="connsiteY2" fmla="*/ 12969 h 78943"/>
              <a:gd name="connsiteX3" fmla="*/ 51313 w 95859"/>
              <a:gd name="connsiteY3" fmla="*/ 20300 h 78943"/>
              <a:gd name="connsiteX4" fmla="*/ 52440 w 95859"/>
              <a:gd name="connsiteY4" fmla="*/ 33833 h 78943"/>
              <a:gd name="connsiteX5" fmla="*/ 74432 w 95859"/>
              <a:gd name="connsiteY5" fmla="*/ 26502 h 78943"/>
              <a:gd name="connsiteX6" fmla="*/ 96423 w 95859"/>
              <a:gd name="connsiteY6" fmla="*/ 17480 h 78943"/>
              <a:gd name="connsiteX7" fmla="*/ 100370 w 95859"/>
              <a:gd name="connsiteY7" fmla="*/ 0 h 78943"/>
              <a:gd name="connsiteX8" fmla="*/ 38343 w 95859"/>
              <a:gd name="connsiteY8" fmla="*/ 45674 h 78943"/>
              <a:gd name="connsiteX9" fmla="*/ 29321 w 95859"/>
              <a:gd name="connsiteY9" fmla="*/ 51313 h 78943"/>
              <a:gd name="connsiteX10" fmla="*/ 16353 w 95859"/>
              <a:gd name="connsiteY10" fmla="*/ 46802 h 78943"/>
              <a:gd name="connsiteX11" fmla="*/ 1127 w 95859"/>
              <a:gd name="connsiteY11" fmla="*/ 59207 h 78943"/>
              <a:gd name="connsiteX12" fmla="*/ 0 w 95859"/>
              <a:gd name="connsiteY12" fmla="*/ 74996 h 78943"/>
              <a:gd name="connsiteX13" fmla="*/ 16353 w 95859"/>
              <a:gd name="connsiteY13" fmla="*/ 79507 h 78943"/>
              <a:gd name="connsiteX14" fmla="*/ 36652 w 95859"/>
              <a:gd name="connsiteY14" fmla="*/ 74432 h 78943"/>
              <a:gd name="connsiteX15" fmla="*/ 46802 w 95859"/>
              <a:gd name="connsiteY15" fmla="*/ 55824 h 78943"/>
              <a:gd name="connsiteX16" fmla="*/ 38343 w 95859"/>
              <a:gd name="connsiteY16" fmla="*/ 45674 h 789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95859" h="78943">
                <a:moveTo>
                  <a:pt x="100370" y="0"/>
                </a:moveTo>
                <a:lnTo>
                  <a:pt x="79507" y="11278"/>
                </a:lnTo>
                <a:lnTo>
                  <a:pt x="68793" y="12969"/>
                </a:lnTo>
                <a:lnTo>
                  <a:pt x="51313" y="20300"/>
                </a:lnTo>
                <a:lnTo>
                  <a:pt x="52440" y="33833"/>
                </a:lnTo>
                <a:lnTo>
                  <a:pt x="74432" y="26502"/>
                </a:lnTo>
                <a:lnTo>
                  <a:pt x="96423" y="17480"/>
                </a:lnTo>
                <a:lnTo>
                  <a:pt x="100370" y="0"/>
                </a:lnTo>
                <a:close/>
                <a:moveTo>
                  <a:pt x="38343" y="45674"/>
                </a:moveTo>
                <a:lnTo>
                  <a:pt x="29321" y="51313"/>
                </a:lnTo>
                <a:lnTo>
                  <a:pt x="16353" y="46802"/>
                </a:lnTo>
                <a:lnTo>
                  <a:pt x="1127" y="59207"/>
                </a:lnTo>
                <a:lnTo>
                  <a:pt x="0" y="74996"/>
                </a:lnTo>
                <a:lnTo>
                  <a:pt x="16353" y="79507"/>
                </a:lnTo>
                <a:lnTo>
                  <a:pt x="36652" y="74432"/>
                </a:lnTo>
                <a:lnTo>
                  <a:pt x="46802" y="55824"/>
                </a:lnTo>
                <a:lnTo>
                  <a:pt x="38343" y="45674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9" name="Freeform: Shape 292">
            <a:extLst>
              <a:ext uri="{FF2B5EF4-FFF2-40B4-BE49-F238E27FC236}">
                <a16:creationId xmlns:a16="http://schemas.microsoft.com/office/drawing/2014/main" id="{4D4EDEFC-87F5-4D13-AD24-30C38A1B7178}"/>
              </a:ext>
            </a:extLst>
          </p:cNvPr>
          <p:cNvSpPr/>
          <p:nvPr/>
        </p:nvSpPr>
        <p:spPr>
          <a:xfrm>
            <a:off x="6050910" y="4060518"/>
            <a:ext cx="130628" cy="168552"/>
          </a:xfrm>
          <a:custGeom>
            <a:avLst/>
            <a:gdLst>
              <a:gd name="connsiteX0" fmla="*/ 135895 w 174802"/>
              <a:gd name="connsiteY0" fmla="*/ 1692 h 225552"/>
              <a:gd name="connsiteX1" fmla="*/ 131948 w 174802"/>
              <a:gd name="connsiteY1" fmla="*/ 0 h 225552"/>
              <a:gd name="connsiteX2" fmla="*/ 112776 w 174802"/>
              <a:gd name="connsiteY2" fmla="*/ 4511 h 225552"/>
              <a:gd name="connsiteX3" fmla="*/ 93604 w 174802"/>
              <a:gd name="connsiteY3" fmla="*/ 0 h 225552"/>
              <a:gd name="connsiteX4" fmla="*/ 78943 w 174802"/>
              <a:gd name="connsiteY4" fmla="*/ 2255 h 225552"/>
              <a:gd name="connsiteX5" fmla="*/ 78943 w 174802"/>
              <a:gd name="connsiteY5" fmla="*/ 45110 h 225552"/>
              <a:gd name="connsiteX6" fmla="*/ 32705 w 174802"/>
              <a:gd name="connsiteY6" fmla="*/ 45110 h 225552"/>
              <a:gd name="connsiteX7" fmla="*/ 21991 w 174802"/>
              <a:gd name="connsiteY7" fmla="*/ 46802 h 225552"/>
              <a:gd name="connsiteX8" fmla="*/ 15789 w 174802"/>
              <a:gd name="connsiteY8" fmla="*/ 73868 h 225552"/>
              <a:gd name="connsiteX9" fmla="*/ 8458 w 174802"/>
              <a:gd name="connsiteY9" fmla="*/ 99806 h 225552"/>
              <a:gd name="connsiteX10" fmla="*/ 1128 w 174802"/>
              <a:gd name="connsiteY10" fmla="*/ 111084 h 225552"/>
              <a:gd name="connsiteX11" fmla="*/ 0 w 174802"/>
              <a:gd name="connsiteY11" fmla="*/ 122926 h 225552"/>
              <a:gd name="connsiteX12" fmla="*/ 19172 w 174802"/>
              <a:gd name="connsiteY12" fmla="*/ 160142 h 225552"/>
              <a:gd name="connsiteX13" fmla="*/ 40035 w 174802"/>
              <a:gd name="connsiteY13" fmla="*/ 190027 h 225552"/>
              <a:gd name="connsiteX14" fmla="*/ 72741 w 174802"/>
              <a:gd name="connsiteY14" fmla="*/ 226116 h 225552"/>
              <a:gd name="connsiteX15" fmla="*/ 96988 w 174802"/>
              <a:gd name="connsiteY15" fmla="*/ 206380 h 225552"/>
              <a:gd name="connsiteX16" fmla="*/ 85146 w 174802"/>
              <a:gd name="connsiteY16" fmla="*/ 182697 h 225552"/>
              <a:gd name="connsiteX17" fmla="*/ 95860 w 174802"/>
              <a:gd name="connsiteY17" fmla="*/ 173675 h 225552"/>
              <a:gd name="connsiteX18" fmla="*/ 117287 w 174802"/>
              <a:gd name="connsiteY18" fmla="*/ 169164 h 225552"/>
              <a:gd name="connsiteX19" fmla="*/ 120107 w 174802"/>
              <a:gd name="connsiteY19" fmla="*/ 153375 h 225552"/>
              <a:gd name="connsiteX20" fmla="*/ 137023 w 174802"/>
              <a:gd name="connsiteY20" fmla="*/ 170291 h 225552"/>
              <a:gd name="connsiteX21" fmla="*/ 164653 w 174802"/>
              <a:gd name="connsiteY21" fmla="*/ 171983 h 225552"/>
              <a:gd name="connsiteX22" fmla="*/ 174239 w 174802"/>
              <a:gd name="connsiteY22" fmla="*/ 155067 h 225552"/>
              <a:gd name="connsiteX23" fmla="*/ 178750 w 174802"/>
              <a:gd name="connsiteY23" fmla="*/ 130820 h 225552"/>
              <a:gd name="connsiteX24" fmla="*/ 175367 w 174802"/>
              <a:gd name="connsiteY24" fmla="*/ 103190 h 225552"/>
              <a:gd name="connsiteX25" fmla="*/ 160142 w 174802"/>
              <a:gd name="connsiteY25" fmla="*/ 81763 h 225552"/>
              <a:gd name="connsiteX26" fmla="*/ 173675 w 174802"/>
              <a:gd name="connsiteY26" fmla="*/ 40035 h 225552"/>
              <a:gd name="connsiteX27" fmla="*/ 165781 w 174802"/>
              <a:gd name="connsiteY27" fmla="*/ 33269 h 225552"/>
              <a:gd name="connsiteX28" fmla="*/ 142098 w 174802"/>
              <a:gd name="connsiteY28" fmla="*/ 36088 h 225552"/>
              <a:gd name="connsiteX29" fmla="*/ 133640 w 174802"/>
              <a:gd name="connsiteY29" fmla="*/ 17480 h 225552"/>
              <a:gd name="connsiteX30" fmla="*/ 135895 w 174802"/>
              <a:gd name="connsiteY30" fmla="*/ 1692 h 2255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174802" h="225552">
                <a:moveTo>
                  <a:pt x="135895" y="1692"/>
                </a:moveTo>
                <a:lnTo>
                  <a:pt x="131948" y="0"/>
                </a:lnTo>
                <a:lnTo>
                  <a:pt x="112776" y="4511"/>
                </a:lnTo>
                <a:lnTo>
                  <a:pt x="93604" y="0"/>
                </a:lnTo>
                <a:lnTo>
                  <a:pt x="78943" y="2255"/>
                </a:lnTo>
                <a:lnTo>
                  <a:pt x="78943" y="45110"/>
                </a:lnTo>
                <a:lnTo>
                  <a:pt x="32705" y="45110"/>
                </a:lnTo>
                <a:lnTo>
                  <a:pt x="21991" y="46802"/>
                </a:lnTo>
                <a:lnTo>
                  <a:pt x="15789" y="73868"/>
                </a:lnTo>
                <a:lnTo>
                  <a:pt x="8458" y="99806"/>
                </a:lnTo>
                <a:lnTo>
                  <a:pt x="1128" y="111084"/>
                </a:lnTo>
                <a:lnTo>
                  <a:pt x="0" y="122926"/>
                </a:lnTo>
                <a:lnTo>
                  <a:pt x="19172" y="160142"/>
                </a:lnTo>
                <a:lnTo>
                  <a:pt x="40035" y="190027"/>
                </a:lnTo>
                <a:lnTo>
                  <a:pt x="72741" y="226116"/>
                </a:lnTo>
                <a:lnTo>
                  <a:pt x="96988" y="206380"/>
                </a:lnTo>
                <a:lnTo>
                  <a:pt x="85146" y="182697"/>
                </a:lnTo>
                <a:lnTo>
                  <a:pt x="95860" y="173675"/>
                </a:lnTo>
                <a:lnTo>
                  <a:pt x="117287" y="169164"/>
                </a:lnTo>
                <a:lnTo>
                  <a:pt x="120107" y="153375"/>
                </a:lnTo>
                <a:lnTo>
                  <a:pt x="137023" y="170291"/>
                </a:lnTo>
                <a:lnTo>
                  <a:pt x="164653" y="171983"/>
                </a:lnTo>
                <a:lnTo>
                  <a:pt x="174239" y="155067"/>
                </a:lnTo>
                <a:lnTo>
                  <a:pt x="178750" y="130820"/>
                </a:lnTo>
                <a:lnTo>
                  <a:pt x="175367" y="103190"/>
                </a:lnTo>
                <a:lnTo>
                  <a:pt x="160142" y="81763"/>
                </a:lnTo>
                <a:lnTo>
                  <a:pt x="173675" y="40035"/>
                </a:lnTo>
                <a:lnTo>
                  <a:pt x="165781" y="33269"/>
                </a:lnTo>
                <a:lnTo>
                  <a:pt x="142098" y="36088"/>
                </a:lnTo>
                <a:lnTo>
                  <a:pt x="133640" y="17480"/>
                </a:lnTo>
                <a:lnTo>
                  <a:pt x="135895" y="1692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0" name="Freeform: Shape 293">
            <a:extLst>
              <a:ext uri="{FF2B5EF4-FFF2-40B4-BE49-F238E27FC236}">
                <a16:creationId xmlns:a16="http://schemas.microsoft.com/office/drawing/2014/main" id="{25C2293F-9038-4080-BCDB-C5883F9CFDCE}"/>
              </a:ext>
            </a:extLst>
          </p:cNvPr>
          <p:cNvSpPr/>
          <p:nvPr/>
        </p:nvSpPr>
        <p:spPr>
          <a:xfrm>
            <a:off x="5691896" y="2567994"/>
            <a:ext cx="181193" cy="219117"/>
          </a:xfrm>
          <a:custGeom>
            <a:avLst/>
            <a:gdLst>
              <a:gd name="connsiteX0" fmla="*/ 51313 w 242468"/>
              <a:gd name="connsiteY0" fmla="*/ 137023 h 293217"/>
              <a:gd name="connsiteX1" fmla="*/ 23683 w 242468"/>
              <a:gd name="connsiteY1" fmla="*/ 116159 h 293217"/>
              <a:gd name="connsiteX2" fmla="*/ 1692 w 242468"/>
              <a:gd name="connsiteY2" fmla="*/ 117851 h 293217"/>
              <a:gd name="connsiteX3" fmla="*/ 6203 w 242468"/>
              <a:gd name="connsiteY3" fmla="*/ 135895 h 293217"/>
              <a:gd name="connsiteX4" fmla="*/ 0 w 242468"/>
              <a:gd name="connsiteY4" fmla="*/ 153939 h 293217"/>
              <a:gd name="connsiteX5" fmla="*/ 16352 w 242468"/>
              <a:gd name="connsiteY5" fmla="*/ 153375 h 293217"/>
              <a:gd name="connsiteX6" fmla="*/ 36088 w 242468"/>
              <a:gd name="connsiteY6" fmla="*/ 160706 h 293217"/>
              <a:gd name="connsiteX7" fmla="*/ 51313 w 242468"/>
              <a:gd name="connsiteY7" fmla="*/ 137023 h 293217"/>
              <a:gd name="connsiteX8" fmla="*/ 124617 w 242468"/>
              <a:gd name="connsiteY8" fmla="*/ 0 h 293217"/>
              <a:gd name="connsiteX9" fmla="*/ 93604 w 242468"/>
              <a:gd name="connsiteY9" fmla="*/ 2819 h 293217"/>
              <a:gd name="connsiteX10" fmla="*/ 73304 w 242468"/>
              <a:gd name="connsiteY10" fmla="*/ 564 h 293217"/>
              <a:gd name="connsiteX11" fmla="*/ 52441 w 242468"/>
              <a:gd name="connsiteY11" fmla="*/ 27630 h 293217"/>
              <a:gd name="connsiteX12" fmla="*/ 41727 w 242468"/>
              <a:gd name="connsiteY12" fmla="*/ 62027 h 293217"/>
              <a:gd name="connsiteX13" fmla="*/ 54132 w 242468"/>
              <a:gd name="connsiteY13" fmla="*/ 78943 h 293217"/>
              <a:gd name="connsiteX14" fmla="*/ 54696 w 242468"/>
              <a:gd name="connsiteY14" fmla="*/ 111648 h 293217"/>
              <a:gd name="connsiteX15" fmla="*/ 69357 w 242468"/>
              <a:gd name="connsiteY15" fmla="*/ 95860 h 293217"/>
              <a:gd name="connsiteX16" fmla="*/ 77251 w 242468"/>
              <a:gd name="connsiteY16" fmla="*/ 104882 h 293217"/>
              <a:gd name="connsiteX17" fmla="*/ 67666 w 242468"/>
              <a:gd name="connsiteY17" fmla="*/ 120106 h 293217"/>
              <a:gd name="connsiteX18" fmla="*/ 73304 w 242468"/>
              <a:gd name="connsiteY18" fmla="*/ 129129 h 293217"/>
              <a:gd name="connsiteX19" fmla="*/ 105445 w 242468"/>
              <a:gd name="connsiteY19" fmla="*/ 135331 h 293217"/>
              <a:gd name="connsiteX20" fmla="*/ 106009 w 242468"/>
              <a:gd name="connsiteY20" fmla="*/ 135331 h 293217"/>
              <a:gd name="connsiteX21" fmla="*/ 123490 w 242468"/>
              <a:gd name="connsiteY21" fmla="*/ 156759 h 293217"/>
              <a:gd name="connsiteX22" fmla="*/ 118979 w 242468"/>
              <a:gd name="connsiteY22" fmla="*/ 176494 h 293217"/>
              <a:gd name="connsiteX23" fmla="*/ 118979 w 242468"/>
              <a:gd name="connsiteY23" fmla="*/ 176494 h 293217"/>
              <a:gd name="connsiteX24" fmla="*/ 78943 w 242468"/>
              <a:gd name="connsiteY24" fmla="*/ 173111 h 293217"/>
              <a:gd name="connsiteX25" fmla="*/ 73304 w 242468"/>
              <a:gd name="connsiteY25" fmla="*/ 195666 h 293217"/>
              <a:gd name="connsiteX26" fmla="*/ 87965 w 242468"/>
              <a:gd name="connsiteY26" fmla="*/ 214274 h 293217"/>
              <a:gd name="connsiteX27" fmla="*/ 59207 w 242468"/>
              <a:gd name="connsiteY27" fmla="*/ 224988 h 293217"/>
              <a:gd name="connsiteX28" fmla="*/ 66538 w 242468"/>
              <a:gd name="connsiteY28" fmla="*/ 238521 h 293217"/>
              <a:gd name="connsiteX29" fmla="*/ 108829 w 242468"/>
              <a:gd name="connsiteY29" fmla="*/ 244160 h 293217"/>
              <a:gd name="connsiteX30" fmla="*/ 108829 w 242468"/>
              <a:gd name="connsiteY30" fmla="*/ 244160 h 293217"/>
              <a:gd name="connsiteX31" fmla="*/ 84582 w 242468"/>
              <a:gd name="connsiteY31" fmla="*/ 251491 h 293217"/>
              <a:gd name="connsiteX32" fmla="*/ 43418 w 242468"/>
              <a:gd name="connsiteY32" fmla="*/ 288143 h 293217"/>
              <a:gd name="connsiteX33" fmla="*/ 57515 w 242468"/>
              <a:gd name="connsiteY33" fmla="*/ 294909 h 293217"/>
              <a:gd name="connsiteX34" fmla="*/ 77251 w 242468"/>
              <a:gd name="connsiteY34" fmla="*/ 281940 h 293217"/>
              <a:gd name="connsiteX35" fmla="*/ 102626 w 242468"/>
              <a:gd name="connsiteY35" fmla="*/ 285887 h 293217"/>
              <a:gd name="connsiteX36" fmla="*/ 121234 w 242468"/>
              <a:gd name="connsiteY36" fmla="*/ 269535 h 293217"/>
              <a:gd name="connsiteX37" fmla="*/ 133639 w 242468"/>
              <a:gd name="connsiteY37" fmla="*/ 276301 h 293217"/>
              <a:gd name="connsiteX38" fmla="*/ 180442 w 242468"/>
              <a:gd name="connsiteY38" fmla="*/ 266715 h 293217"/>
              <a:gd name="connsiteX39" fmla="*/ 217094 w 242468"/>
              <a:gd name="connsiteY39" fmla="*/ 267279 h 293217"/>
              <a:gd name="connsiteX40" fmla="*/ 241341 w 242468"/>
              <a:gd name="connsiteY40" fmla="*/ 248671 h 293217"/>
              <a:gd name="connsiteX41" fmla="*/ 230627 w 242468"/>
              <a:gd name="connsiteY41" fmla="*/ 231191 h 293217"/>
              <a:gd name="connsiteX42" fmla="*/ 244160 w 242468"/>
              <a:gd name="connsiteY42" fmla="*/ 221041 h 293217"/>
              <a:gd name="connsiteX43" fmla="*/ 246979 w 242468"/>
              <a:gd name="connsiteY43" fmla="*/ 199050 h 293217"/>
              <a:gd name="connsiteX44" fmla="*/ 214274 w 242468"/>
              <a:gd name="connsiteY44" fmla="*/ 192283 h 293217"/>
              <a:gd name="connsiteX45" fmla="*/ 206944 w 242468"/>
              <a:gd name="connsiteY45" fmla="*/ 179314 h 293217"/>
              <a:gd name="connsiteX46" fmla="*/ 190591 w 242468"/>
              <a:gd name="connsiteY46" fmla="*/ 140406 h 293217"/>
              <a:gd name="connsiteX47" fmla="*/ 172547 w 242468"/>
              <a:gd name="connsiteY47" fmla="*/ 134767 h 293217"/>
              <a:gd name="connsiteX48" fmla="*/ 149428 w 242468"/>
              <a:gd name="connsiteY48" fmla="*/ 94732 h 293217"/>
              <a:gd name="connsiteX49" fmla="*/ 147173 w 242468"/>
              <a:gd name="connsiteY49" fmla="*/ 91349 h 293217"/>
              <a:gd name="connsiteX50" fmla="*/ 120106 w 242468"/>
              <a:gd name="connsiteY50" fmla="*/ 89093 h 293217"/>
              <a:gd name="connsiteX51" fmla="*/ 143789 w 242468"/>
              <a:gd name="connsiteY51" fmla="*/ 59207 h 293217"/>
              <a:gd name="connsiteX52" fmla="*/ 151120 w 242468"/>
              <a:gd name="connsiteY52" fmla="*/ 31577 h 293217"/>
              <a:gd name="connsiteX53" fmla="*/ 122926 w 242468"/>
              <a:gd name="connsiteY53" fmla="*/ 31577 h 293217"/>
              <a:gd name="connsiteX54" fmla="*/ 96423 w 242468"/>
              <a:gd name="connsiteY54" fmla="*/ 36088 h 293217"/>
              <a:gd name="connsiteX55" fmla="*/ 124617 w 242468"/>
              <a:gd name="connsiteY55" fmla="*/ 0 h 2932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242468" h="293217">
                <a:moveTo>
                  <a:pt x="51313" y="137023"/>
                </a:moveTo>
                <a:lnTo>
                  <a:pt x="23683" y="116159"/>
                </a:lnTo>
                <a:lnTo>
                  <a:pt x="1692" y="117851"/>
                </a:lnTo>
                <a:lnTo>
                  <a:pt x="6203" y="135895"/>
                </a:lnTo>
                <a:lnTo>
                  <a:pt x="0" y="153939"/>
                </a:lnTo>
                <a:lnTo>
                  <a:pt x="16352" y="153375"/>
                </a:lnTo>
                <a:lnTo>
                  <a:pt x="36088" y="160706"/>
                </a:lnTo>
                <a:lnTo>
                  <a:pt x="51313" y="137023"/>
                </a:lnTo>
                <a:close/>
                <a:moveTo>
                  <a:pt x="124617" y="0"/>
                </a:moveTo>
                <a:lnTo>
                  <a:pt x="93604" y="2819"/>
                </a:lnTo>
                <a:lnTo>
                  <a:pt x="73304" y="564"/>
                </a:lnTo>
                <a:lnTo>
                  <a:pt x="52441" y="27630"/>
                </a:lnTo>
                <a:lnTo>
                  <a:pt x="41727" y="62027"/>
                </a:lnTo>
                <a:lnTo>
                  <a:pt x="54132" y="78943"/>
                </a:lnTo>
                <a:lnTo>
                  <a:pt x="54696" y="111648"/>
                </a:lnTo>
                <a:lnTo>
                  <a:pt x="69357" y="95860"/>
                </a:lnTo>
                <a:lnTo>
                  <a:pt x="77251" y="104882"/>
                </a:lnTo>
                <a:lnTo>
                  <a:pt x="67666" y="120106"/>
                </a:lnTo>
                <a:lnTo>
                  <a:pt x="73304" y="129129"/>
                </a:lnTo>
                <a:lnTo>
                  <a:pt x="105445" y="135331"/>
                </a:lnTo>
                <a:lnTo>
                  <a:pt x="106009" y="135331"/>
                </a:lnTo>
                <a:lnTo>
                  <a:pt x="123490" y="156759"/>
                </a:lnTo>
                <a:lnTo>
                  <a:pt x="118979" y="176494"/>
                </a:lnTo>
                <a:lnTo>
                  <a:pt x="118979" y="176494"/>
                </a:lnTo>
                <a:lnTo>
                  <a:pt x="78943" y="173111"/>
                </a:lnTo>
                <a:lnTo>
                  <a:pt x="73304" y="195666"/>
                </a:lnTo>
                <a:lnTo>
                  <a:pt x="87965" y="214274"/>
                </a:lnTo>
                <a:lnTo>
                  <a:pt x="59207" y="224988"/>
                </a:lnTo>
                <a:lnTo>
                  <a:pt x="66538" y="238521"/>
                </a:lnTo>
                <a:lnTo>
                  <a:pt x="108829" y="244160"/>
                </a:lnTo>
                <a:lnTo>
                  <a:pt x="108829" y="244160"/>
                </a:lnTo>
                <a:lnTo>
                  <a:pt x="84582" y="251491"/>
                </a:lnTo>
                <a:lnTo>
                  <a:pt x="43418" y="288143"/>
                </a:lnTo>
                <a:lnTo>
                  <a:pt x="57515" y="294909"/>
                </a:lnTo>
                <a:lnTo>
                  <a:pt x="77251" y="281940"/>
                </a:lnTo>
                <a:lnTo>
                  <a:pt x="102626" y="285887"/>
                </a:lnTo>
                <a:lnTo>
                  <a:pt x="121234" y="269535"/>
                </a:lnTo>
                <a:lnTo>
                  <a:pt x="133639" y="276301"/>
                </a:lnTo>
                <a:lnTo>
                  <a:pt x="180442" y="266715"/>
                </a:lnTo>
                <a:lnTo>
                  <a:pt x="217094" y="267279"/>
                </a:lnTo>
                <a:lnTo>
                  <a:pt x="241341" y="248671"/>
                </a:lnTo>
                <a:lnTo>
                  <a:pt x="230627" y="231191"/>
                </a:lnTo>
                <a:lnTo>
                  <a:pt x="244160" y="221041"/>
                </a:lnTo>
                <a:lnTo>
                  <a:pt x="246979" y="199050"/>
                </a:lnTo>
                <a:lnTo>
                  <a:pt x="214274" y="192283"/>
                </a:lnTo>
                <a:lnTo>
                  <a:pt x="206944" y="179314"/>
                </a:lnTo>
                <a:lnTo>
                  <a:pt x="190591" y="140406"/>
                </a:lnTo>
                <a:lnTo>
                  <a:pt x="172547" y="134767"/>
                </a:lnTo>
                <a:lnTo>
                  <a:pt x="149428" y="94732"/>
                </a:lnTo>
                <a:lnTo>
                  <a:pt x="147173" y="91349"/>
                </a:lnTo>
                <a:lnTo>
                  <a:pt x="120106" y="89093"/>
                </a:lnTo>
                <a:lnTo>
                  <a:pt x="143789" y="59207"/>
                </a:lnTo>
                <a:lnTo>
                  <a:pt x="151120" y="31577"/>
                </a:lnTo>
                <a:lnTo>
                  <a:pt x="122926" y="31577"/>
                </a:lnTo>
                <a:lnTo>
                  <a:pt x="96423" y="36088"/>
                </a:lnTo>
                <a:lnTo>
                  <a:pt x="124617" y="0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1" name="Freeform: Shape 294">
            <a:extLst>
              <a:ext uri="{FF2B5EF4-FFF2-40B4-BE49-F238E27FC236}">
                <a16:creationId xmlns:a16="http://schemas.microsoft.com/office/drawing/2014/main" id="{873FFC9F-79DC-461A-9789-334872F92C29}"/>
              </a:ext>
            </a:extLst>
          </p:cNvPr>
          <p:cNvSpPr/>
          <p:nvPr/>
        </p:nvSpPr>
        <p:spPr>
          <a:xfrm>
            <a:off x="6698570" y="2955663"/>
            <a:ext cx="155910" cy="63207"/>
          </a:xfrm>
          <a:custGeom>
            <a:avLst/>
            <a:gdLst>
              <a:gd name="connsiteX0" fmla="*/ 113903 w 208635"/>
              <a:gd name="connsiteY0" fmla="*/ 28194 h 84582"/>
              <a:gd name="connsiteX1" fmla="*/ 71612 w 208635"/>
              <a:gd name="connsiteY1" fmla="*/ 11841 h 84582"/>
              <a:gd name="connsiteX2" fmla="*/ 28194 w 208635"/>
              <a:gd name="connsiteY2" fmla="*/ 6203 h 84582"/>
              <a:gd name="connsiteX3" fmla="*/ 2819 w 208635"/>
              <a:gd name="connsiteY3" fmla="*/ 0 h 84582"/>
              <a:gd name="connsiteX4" fmla="*/ 0 w 208635"/>
              <a:gd name="connsiteY4" fmla="*/ 3947 h 84582"/>
              <a:gd name="connsiteX5" fmla="*/ 12405 w 208635"/>
              <a:gd name="connsiteY5" fmla="*/ 14661 h 84582"/>
              <a:gd name="connsiteX6" fmla="*/ 29321 w 208635"/>
              <a:gd name="connsiteY6" fmla="*/ 18608 h 84582"/>
              <a:gd name="connsiteX7" fmla="*/ 48494 w 208635"/>
              <a:gd name="connsiteY7" fmla="*/ 31577 h 84582"/>
              <a:gd name="connsiteX8" fmla="*/ 60335 w 208635"/>
              <a:gd name="connsiteY8" fmla="*/ 55260 h 84582"/>
              <a:gd name="connsiteX9" fmla="*/ 58643 w 208635"/>
              <a:gd name="connsiteY9" fmla="*/ 70485 h 84582"/>
              <a:gd name="connsiteX10" fmla="*/ 89093 w 208635"/>
              <a:gd name="connsiteY10" fmla="*/ 68793 h 84582"/>
              <a:gd name="connsiteX11" fmla="*/ 120670 w 208635"/>
              <a:gd name="connsiteY11" fmla="*/ 85710 h 84582"/>
              <a:gd name="connsiteX12" fmla="*/ 159578 w 208635"/>
              <a:gd name="connsiteY12" fmla="*/ 80071 h 84582"/>
              <a:gd name="connsiteX13" fmla="*/ 165780 w 208635"/>
              <a:gd name="connsiteY13" fmla="*/ 74432 h 84582"/>
              <a:gd name="connsiteX14" fmla="*/ 189464 w 208635"/>
              <a:gd name="connsiteY14" fmla="*/ 84582 h 84582"/>
              <a:gd name="connsiteX15" fmla="*/ 205252 w 208635"/>
              <a:gd name="connsiteY15" fmla="*/ 86837 h 84582"/>
              <a:gd name="connsiteX16" fmla="*/ 208636 w 208635"/>
              <a:gd name="connsiteY16" fmla="*/ 82890 h 84582"/>
              <a:gd name="connsiteX17" fmla="*/ 190591 w 208635"/>
              <a:gd name="connsiteY17" fmla="*/ 63718 h 84582"/>
              <a:gd name="connsiteX18" fmla="*/ 196794 w 208635"/>
              <a:gd name="connsiteY18" fmla="*/ 58643 h 84582"/>
              <a:gd name="connsiteX19" fmla="*/ 177058 w 208635"/>
              <a:gd name="connsiteY19" fmla="*/ 50749 h 84582"/>
              <a:gd name="connsiteX20" fmla="*/ 165216 w 208635"/>
              <a:gd name="connsiteY20" fmla="*/ 36652 h 84582"/>
              <a:gd name="connsiteX21" fmla="*/ 136459 w 208635"/>
              <a:gd name="connsiteY21" fmla="*/ 29322 h 84582"/>
              <a:gd name="connsiteX22" fmla="*/ 120106 w 208635"/>
              <a:gd name="connsiteY22" fmla="*/ 34960 h 84582"/>
              <a:gd name="connsiteX23" fmla="*/ 113903 w 208635"/>
              <a:gd name="connsiteY23" fmla="*/ 28194 h 84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208635" h="84582">
                <a:moveTo>
                  <a:pt x="113903" y="28194"/>
                </a:moveTo>
                <a:lnTo>
                  <a:pt x="71612" y="11841"/>
                </a:lnTo>
                <a:lnTo>
                  <a:pt x="28194" y="6203"/>
                </a:lnTo>
                <a:lnTo>
                  <a:pt x="2819" y="0"/>
                </a:lnTo>
                <a:lnTo>
                  <a:pt x="0" y="3947"/>
                </a:lnTo>
                <a:lnTo>
                  <a:pt x="12405" y="14661"/>
                </a:lnTo>
                <a:lnTo>
                  <a:pt x="29321" y="18608"/>
                </a:lnTo>
                <a:lnTo>
                  <a:pt x="48494" y="31577"/>
                </a:lnTo>
                <a:lnTo>
                  <a:pt x="60335" y="55260"/>
                </a:lnTo>
                <a:lnTo>
                  <a:pt x="58643" y="70485"/>
                </a:lnTo>
                <a:lnTo>
                  <a:pt x="89093" y="68793"/>
                </a:lnTo>
                <a:lnTo>
                  <a:pt x="120670" y="85710"/>
                </a:lnTo>
                <a:lnTo>
                  <a:pt x="159578" y="80071"/>
                </a:lnTo>
                <a:lnTo>
                  <a:pt x="165780" y="74432"/>
                </a:lnTo>
                <a:lnTo>
                  <a:pt x="189464" y="84582"/>
                </a:lnTo>
                <a:lnTo>
                  <a:pt x="205252" y="86837"/>
                </a:lnTo>
                <a:lnTo>
                  <a:pt x="208636" y="82890"/>
                </a:lnTo>
                <a:lnTo>
                  <a:pt x="190591" y="63718"/>
                </a:lnTo>
                <a:lnTo>
                  <a:pt x="196794" y="58643"/>
                </a:lnTo>
                <a:lnTo>
                  <a:pt x="177058" y="50749"/>
                </a:lnTo>
                <a:lnTo>
                  <a:pt x="165216" y="36652"/>
                </a:lnTo>
                <a:lnTo>
                  <a:pt x="136459" y="29322"/>
                </a:lnTo>
                <a:lnTo>
                  <a:pt x="120106" y="34960"/>
                </a:lnTo>
                <a:lnTo>
                  <a:pt x="113903" y="28194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2" name="Freeform: Shape 295">
            <a:extLst>
              <a:ext uri="{FF2B5EF4-FFF2-40B4-BE49-F238E27FC236}">
                <a16:creationId xmlns:a16="http://schemas.microsoft.com/office/drawing/2014/main" id="{3F4F1716-FD56-43CE-86CA-B89B21862D06}"/>
              </a:ext>
            </a:extLst>
          </p:cNvPr>
          <p:cNvSpPr/>
          <p:nvPr/>
        </p:nvSpPr>
        <p:spPr>
          <a:xfrm>
            <a:off x="5766059" y="3825388"/>
            <a:ext cx="101131" cy="168552"/>
          </a:xfrm>
          <a:custGeom>
            <a:avLst/>
            <a:gdLst>
              <a:gd name="connsiteX0" fmla="*/ 103190 w 135331"/>
              <a:gd name="connsiteY0" fmla="*/ 2819 h 225552"/>
              <a:gd name="connsiteX1" fmla="*/ 88529 w 135331"/>
              <a:gd name="connsiteY1" fmla="*/ 0 h 225552"/>
              <a:gd name="connsiteX2" fmla="*/ 78379 w 135331"/>
              <a:gd name="connsiteY2" fmla="*/ 5639 h 225552"/>
              <a:gd name="connsiteX3" fmla="*/ 64846 w 135331"/>
              <a:gd name="connsiteY3" fmla="*/ 2819 h 225552"/>
              <a:gd name="connsiteX4" fmla="*/ 10150 w 135331"/>
              <a:gd name="connsiteY4" fmla="*/ 4511 h 225552"/>
              <a:gd name="connsiteX5" fmla="*/ 9022 w 135331"/>
              <a:gd name="connsiteY5" fmla="*/ 24811 h 225552"/>
              <a:gd name="connsiteX6" fmla="*/ 13533 w 135331"/>
              <a:gd name="connsiteY6" fmla="*/ 51877 h 225552"/>
              <a:gd name="connsiteX7" fmla="*/ 21427 w 135331"/>
              <a:gd name="connsiteY7" fmla="*/ 103190 h 225552"/>
              <a:gd name="connsiteX8" fmla="*/ 8458 w 135331"/>
              <a:gd name="connsiteY8" fmla="*/ 133076 h 225552"/>
              <a:gd name="connsiteX9" fmla="*/ 0 w 135331"/>
              <a:gd name="connsiteY9" fmla="*/ 173675 h 225552"/>
              <a:gd name="connsiteX10" fmla="*/ 13533 w 135331"/>
              <a:gd name="connsiteY10" fmla="*/ 204689 h 225552"/>
              <a:gd name="connsiteX11" fmla="*/ 12405 w 135331"/>
              <a:gd name="connsiteY11" fmla="*/ 218786 h 225552"/>
              <a:gd name="connsiteX12" fmla="*/ 40599 w 135331"/>
              <a:gd name="connsiteY12" fmla="*/ 228935 h 225552"/>
              <a:gd name="connsiteX13" fmla="*/ 68793 w 135331"/>
              <a:gd name="connsiteY13" fmla="*/ 218221 h 225552"/>
              <a:gd name="connsiteX14" fmla="*/ 86838 w 135331"/>
              <a:gd name="connsiteY14" fmla="*/ 206380 h 225552"/>
              <a:gd name="connsiteX15" fmla="*/ 135895 w 135331"/>
              <a:gd name="connsiteY15" fmla="*/ 184953 h 225552"/>
              <a:gd name="connsiteX16" fmla="*/ 129129 w 135331"/>
              <a:gd name="connsiteY16" fmla="*/ 172547 h 225552"/>
              <a:gd name="connsiteX17" fmla="*/ 120670 w 135331"/>
              <a:gd name="connsiteY17" fmla="*/ 149992 h 225552"/>
              <a:gd name="connsiteX18" fmla="*/ 118415 w 135331"/>
              <a:gd name="connsiteY18" fmla="*/ 131948 h 225552"/>
              <a:gd name="connsiteX19" fmla="*/ 125181 w 135331"/>
              <a:gd name="connsiteY19" fmla="*/ 99807 h 225552"/>
              <a:gd name="connsiteX20" fmla="*/ 117287 w 135331"/>
              <a:gd name="connsiteY20" fmla="*/ 86837 h 225552"/>
              <a:gd name="connsiteX21" fmla="*/ 113904 w 135331"/>
              <a:gd name="connsiteY21" fmla="*/ 58080 h 225552"/>
              <a:gd name="connsiteX22" fmla="*/ 114468 w 135331"/>
              <a:gd name="connsiteY22" fmla="*/ 32141 h 225552"/>
              <a:gd name="connsiteX23" fmla="*/ 100935 w 135331"/>
              <a:gd name="connsiteY23" fmla="*/ 13533 h 225552"/>
              <a:gd name="connsiteX24" fmla="*/ 103190 w 135331"/>
              <a:gd name="connsiteY24" fmla="*/ 2819 h 2255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135331" h="225552">
                <a:moveTo>
                  <a:pt x="103190" y="2819"/>
                </a:moveTo>
                <a:lnTo>
                  <a:pt x="88529" y="0"/>
                </a:lnTo>
                <a:lnTo>
                  <a:pt x="78379" y="5639"/>
                </a:lnTo>
                <a:lnTo>
                  <a:pt x="64846" y="2819"/>
                </a:lnTo>
                <a:lnTo>
                  <a:pt x="10150" y="4511"/>
                </a:lnTo>
                <a:lnTo>
                  <a:pt x="9022" y="24811"/>
                </a:lnTo>
                <a:lnTo>
                  <a:pt x="13533" y="51877"/>
                </a:lnTo>
                <a:lnTo>
                  <a:pt x="21427" y="103190"/>
                </a:lnTo>
                <a:lnTo>
                  <a:pt x="8458" y="133076"/>
                </a:lnTo>
                <a:lnTo>
                  <a:pt x="0" y="173675"/>
                </a:lnTo>
                <a:lnTo>
                  <a:pt x="13533" y="204689"/>
                </a:lnTo>
                <a:lnTo>
                  <a:pt x="12405" y="218786"/>
                </a:lnTo>
                <a:lnTo>
                  <a:pt x="40599" y="228935"/>
                </a:lnTo>
                <a:lnTo>
                  <a:pt x="68793" y="218221"/>
                </a:lnTo>
                <a:lnTo>
                  <a:pt x="86838" y="206380"/>
                </a:lnTo>
                <a:lnTo>
                  <a:pt x="135895" y="184953"/>
                </a:lnTo>
                <a:lnTo>
                  <a:pt x="129129" y="172547"/>
                </a:lnTo>
                <a:lnTo>
                  <a:pt x="120670" y="149992"/>
                </a:lnTo>
                <a:lnTo>
                  <a:pt x="118415" y="131948"/>
                </a:lnTo>
                <a:lnTo>
                  <a:pt x="125181" y="99807"/>
                </a:lnTo>
                <a:lnTo>
                  <a:pt x="117287" y="86837"/>
                </a:lnTo>
                <a:lnTo>
                  <a:pt x="113904" y="58080"/>
                </a:lnTo>
                <a:lnTo>
                  <a:pt x="114468" y="32141"/>
                </a:lnTo>
                <a:lnTo>
                  <a:pt x="100935" y="13533"/>
                </a:lnTo>
                <a:lnTo>
                  <a:pt x="103190" y="2819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3" name="Freeform: Shape 296">
            <a:extLst>
              <a:ext uri="{FF2B5EF4-FFF2-40B4-BE49-F238E27FC236}">
                <a16:creationId xmlns:a16="http://schemas.microsoft.com/office/drawing/2014/main" id="{628D3A60-DF0A-4F9C-8985-E2F3BC32ECB4}"/>
              </a:ext>
            </a:extLst>
          </p:cNvPr>
          <p:cNvSpPr/>
          <p:nvPr/>
        </p:nvSpPr>
        <p:spPr>
          <a:xfrm>
            <a:off x="5486263" y="3785358"/>
            <a:ext cx="168552" cy="139055"/>
          </a:xfrm>
          <a:custGeom>
            <a:avLst/>
            <a:gdLst>
              <a:gd name="connsiteX0" fmla="*/ 114468 w 225552"/>
              <a:gd name="connsiteY0" fmla="*/ 5075 h 186080"/>
              <a:gd name="connsiteX1" fmla="*/ 109957 w 225552"/>
              <a:gd name="connsiteY1" fmla="*/ 7330 h 186080"/>
              <a:gd name="connsiteX2" fmla="*/ 93040 w 225552"/>
              <a:gd name="connsiteY2" fmla="*/ 4511 h 186080"/>
              <a:gd name="connsiteX3" fmla="*/ 90785 w 225552"/>
              <a:gd name="connsiteY3" fmla="*/ 8458 h 186080"/>
              <a:gd name="connsiteX4" fmla="*/ 83455 w 225552"/>
              <a:gd name="connsiteY4" fmla="*/ 9022 h 186080"/>
              <a:gd name="connsiteX5" fmla="*/ 60899 w 225552"/>
              <a:gd name="connsiteY5" fmla="*/ 564 h 186080"/>
              <a:gd name="connsiteX6" fmla="*/ 45674 w 225552"/>
              <a:gd name="connsiteY6" fmla="*/ 0 h 186080"/>
              <a:gd name="connsiteX7" fmla="*/ 45110 w 225552"/>
              <a:gd name="connsiteY7" fmla="*/ 11842 h 186080"/>
              <a:gd name="connsiteX8" fmla="*/ 41727 w 225552"/>
              <a:gd name="connsiteY8" fmla="*/ 15789 h 186080"/>
              <a:gd name="connsiteX9" fmla="*/ 43983 w 225552"/>
              <a:gd name="connsiteY9" fmla="*/ 27630 h 186080"/>
              <a:gd name="connsiteX10" fmla="*/ 39472 w 225552"/>
              <a:gd name="connsiteY10" fmla="*/ 32705 h 186080"/>
              <a:gd name="connsiteX11" fmla="*/ 32141 w 225552"/>
              <a:gd name="connsiteY11" fmla="*/ 32705 h 186080"/>
              <a:gd name="connsiteX12" fmla="*/ 24247 w 225552"/>
              <a:gd name="connsiteY12" fmla="*/ 38344 h 186080"/>
              <a:gd name="connsiteX13" fmla="*/ 14661 w 225552"/>
              <a:gd name="connsiteY13" fmla="*/ 37780 h 186080"/>
              <a:gd name="connsiteX14" fmla="*/ 0 w 225552"/>
              <a:gd name="connsiteY14" fmla="*/ 55260 h 186080"/>
              <a:gd name="connsiteX15" fmla="*/ 9022 w 225552"/>
              <a:gd name="connsiteY15" fmla="*/ 61463 h 186080"/>
              <a:gd name="connsiteX16" fmla="*/ 13533 w 225552"/>
              <a:gd name="connsiteY16" fmla="*/ 69357 h 186080"/>
              <a:gd name="connsiteX17" fmla="*/ 17480 w 225552"/>
              <a:gd name="connsiteY17" fmla="*/ 85146 h 186080"/>
              <a:gd name="connsiteX18" fmla="*/ 24811 w 225552"/>
              <a:gd name="connsiteY18" fmla="*/ 91912 h 186080"/>
              <a:gd name="connsiteX19" fmla="*/ 33269 w 225552"/>
              <a:gd name="connsiteY19" fmla="*/ 96987 h 186080"/>
              <a:gd name="connsiteX20" fmla="*/ 45110 w 225552"/>
              <a:gd name="connsiteY20" fmla="*/ 111084 h 186080"/>
              <a:gd name="connsiteX21" fmla="*/ 58644 w 225552"/>
              <a:gd name="connsiteY21" fmla="*/ 131948 h 186080"/>
              <a:gd name="connsiteX22" fmla="*/ 75560 w 225552"/>
              <a:gd name="connsiteY22" fmla="*/ 116159 h 186080"/>
              <a:gd name="connsiteX23" fmla="*/ 79507 w 225552"/>
              <a:gd name="connsiteY23" fmla="*/ 106573 h 186080"/>
              <a:gd name="connsiteX24" fmla="*/ 85146 w 225552"/>
              <a:gd name="connsiteY24" fmla="*/ 98679 h 186080"/>
              <a:gd name="connsiteX25" fmla="*/ 93604 w 225552"/>
              <a:gd name="connsiteY25" fmla="*/ 97551 h 186080"/>
              <a:gd name="connsiteX26" fmla="*/ 100935 w 225552"/>
              <a:gd name="connsiteY26" fmla="*/ 90785 h 186080"/>
              <a:gd name="connsiteX27" fmla="*/ 126309 w 225552"/>
              <a:gd name="connsiteY27" fmla="*/ 90785 h 186080"/>
              <a:gd name="connsiteX28" fmla="*/ 134767 w 225552"/>
              <a:gd name="connsiteY28" fmla="*/ 103754 h 186080"/>
              <a:gd name="connsiteX29" fmla="*/ 141534 w 225552"/>
              <a:gd name="connsiteY29" fmla="*/ 118979 h 186080"/>
              <a:gd name="connsiteX30" fmla="*/ 140406 w 225552"/>
              <a:gd name="connsiteY30" fmla="*/ 129128 h 186080"/>
              <a:gd name="connsiteX31" fmla="*/ 145481 w 225552"/>
              <a:gd name="connsiteY31" fmla="*/ 138715 h 186080"/>
              <a:gd name="connsiteX32" fmla="*/ 145481 w 225552"/>
              <a:gd name="connsiteY32" fmla="*/ 151684 h 186080"/>
              <a:gd name="connsiteX33" fmla="*/ 153940 w 225552"/>
              <a:gd name="connsiteY33" fmla="*/ 149992 h 186080"/>
              <a:gd name="connsiteX34" fmla="*/ 160706 w 225552"/>
              <a:gd name="connsiteY34" fmla="*/ 148864 h 186080"/>
              <a:gd name="connsiteX35" fmla="*/ 169164 w 225552"/>
              <a:gd name="connsiteY35" fmla="*/ 144917 h 186080"/>
              <a:gd name="connsiteX36" fmla="*/ 182134 w 225552"/>
              <a:gd name="connsiteY36" fmla="*/ 166909 h 186080"/>
              <a:gd name="connsiteX37" fmla="*/ 179878 w 225552"/>
              <a:gd name="connsiteY37" fmla="*/ 181569 h 186080"/>
              <a:gd name="connsiteX38" fmla="*/ 186080 w 225552"/>
              <a:gd name="connsiteY38" fmla="*/ 188900 h 186080"/>
              <a:gd name="connsiteX39" fmla="*/ 195103 w 225552"/>
              <a:gd name="connsiteY39" fmla="*/ 189464 h 186080"/>
              <a:gd name="connsiteX40" fmla="*/ 201305 w 225552"/>
              <a:gd name="connsiteY40" fmla="*/ 174803 h 186080"/>
              <a:gd name="connsiteX41" fmla="*/ 210328 w 225552"/>
              <a:gd name="connsiteY41" fmla="*/ 175930 h 186080"/>
              <a:gd name="connsiteX42" fmla="*/ 215402 w 225552"/>
              <a:gd name="connsiteY42" fmla="*/ 175930 h 186080"/>
              <a:gd name="connsiteX43" fmla="*/ 217094 w 225552"/>
              <a:gd name="connsiteY43" fmla="*/ 160142 h 186080"/>
              <a:gd name="connsiteX44" fmla="*/ 214838 w 225552"/>
              <a:gd name="connsiteY44" fmla="*/ 153375 h 186080"/>
              <a:gd name="connsiteX45" fmla="*/ 218222 w 225552"/>
              <a:gd name="connsiteY45" fmla="*/ 148301 h 186080"/>
              <a:gd name="connsiteX46" fmla="*/ 229499 w 225552"/>
              <a:gd name="connsiteY46" fmla="*/ 143789 h 186080"/>
              <a:gd name="connsiteX47" fmla="*/ 222169 w 225552"/>
              <a:gd name="connsiteY47" fmla="*/ 115031 h 186080"/>
              <a:gd name="connsiteX48" fmla="*/ 214838 w 225552"/>
              <a:gd name="connsiteY48" fmla="*/ 100371 h 186080"/>
              <a:gd name="connsiteX49" fmla="*/ 217658 w 225552"/>
              <a:gd name="connsiteY49" fmla="*/ 87965 h 186080"/>
              <a:gd name="connsiteX50" fmla="*/ 223860 w 225552"/>
              <a:gd name="connsiteY50" fmla="*/ 85146 h 186080"/>
              <a:gd name="connsiteX51" fmla="*/ 214274 w 225552"/>
              <a:gd name="connsiteY51" fmla="*/ 74996 h 186080"/>
              <a:gd name="connsiteX52" fmla="*/ 215966 w 225552"/>
              <a:gd name="connsiteY52" fmla="*/ 64282 h 186080"/>
              <a:gd name="connsiteX53" fmla="*/ 212019 w 225552"/>
              <a:gd name="connsiteY53" fmla="*/ 60335 h 186080"/>
              <a:gd name="connsiteX54" fmla="*/ 205252 w 225552"/>
              <a:gd name="connsiteY54" fmla="*/ 63718 h 186080"/>
              <a:gd name="connsiteX55" fmla="*/ 206380 w 225552"/>
              <a:gd name="connsiteY55" fmla="*/ 51877 h 186080"/>
              <a:gd name="connsiteX56" fmla="*/ 213147 w 225552"/>
              <a:gd name="connsiteY56" fmla="*/ 42855 h 186080"/>
              <a:gd name="connsiteX57" fmla="*/ 200177 w 225552"/>
              <a:gd name="connsiteY57" fmla="*/ 27630 h 186080"/>
              <a:gd name="connsiteX58" fmla="*/ 196794 w 225552"/>
              <a:gd name="connsiteY58" fmla="*/ 18044 h 186080"/>
              <a:gd name="connsiteX59" fmla="*/ 189464 w 225552"/>
              <a:gd name="connsiteY59" fmla="*/ 10150 h 186080"/>
              <a:gd name="connsiteX60" fmla="*/ 183261 w 225552"/>
              <a:gd name="connsiteY60" fmla="*/ 9022 h 186080"/>
              <a:gd name="connsiteX61" fmla="*/ 175931 w 225552"/>
              <a:gd name="connsiteY61" fmla="*/ 14097 h 186080"/>
              <a:gd name="connsiteX62" fmla="*/ 165781 w 225552"/>
              <a:gd name="connsiteY62" fmla="*/ 18608 h 186080"/>
              <a:gd name="connsiteX63" fmla="*/ 156759 w 225552"/>
              <a:gd name="connsiteY63" fmla="*/ 26502 h 186080"/>
              <a:gd name="connsiteX64" fmla="*/ 143226 w 225552"/>
              <a:gd name="connsiteY64" fmla="*/ 23683 h 186080"/>
              <a:gd name="connsiteX65" fmla="*/ 134767 w 225552"/>
              <a:gd name="connsiteY65" fmla="*/ 14661 h 186080"/>
              <a:gd name="connsiteX66" fmla="*/ 129692 w 225552"/>
              <a:gd name="connsiteY66" fmla="*/ 13533 h 186080"/>
              <a:gd name="connsiteX67" fmla="*/ 121234 w 225552"/>
              <a:gd name="connsiteY67" fmla="*/ 18044 h 186080"/>
              <a:gd name="connsiteX68" fmla="*/ 116159 w 225552"/>
              <a:gd name="connsiteY68" fmla="*/ 18044 h 186080"/>
              <a:gd name="connsiteX69" fmla="*/ 114468 w 225552"/>
              <a:gd name="connsiteY69" fmla="*/ 5075 h 186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</a:cxnLst>
            <a:rect l="l" t="t" r="r" b="b"/>
            <a:pathLst>
              <a:path w="225552" h="186080">
                <a:moveTo>
                  <a:pt x="114468" y="5075"/>
                </a:moveTo>
                <a:lnTo>
                  <a:pt x="109957" y="7330"/>
                </a:lnTo>
                <a:lnTo>
                  <a:pt x="93040" y="4511"/>
                </a:lnTo>
                <a:lnTo>
                  <a:pt x="90785" y="8458"/>
                </a:lnTo>
                <a:lnTo>
                  <a:pt x="83455" y="9022"/>
                </a:lnTo>
                <a:lnTo>
                  <a:pt x="60899" y="564"/>
                </a:lnTo>
                <a:lnTo>
                  <a:pt x="45674" y="0"/>
                </a:lnTo>
                <a:lnTo>
                  <a:pt x="45110" y="11842"/>
                </a:lnTo>
                <a:lnTo>
                  <a:pt x="41727" y="15789"/>
                </a:lnTo>
                <a:lnTo>
                  <a:pt x="43983" y="27630"/>
                </a:lnTo>
                <a:lnTo>
                  <a:pt x="39472" y="32705"/>
                </a:lnTo>
                <a:lnTo>
                  <a:pt x="32141" y="32705"/>
                </a:lnTo>
                <a:lnTo>
                  <a:pt x="24247" y="38344"/>
                </a:lnTo>
                <a:lnTo>
                  <a:pt x="14661" y="37780"/>
                </a:lnTo>
                <a:lnTo>
                  <a:pt x="0" y="55260"/>
                </a:lnTo>
                <a:lnTo>
                  <a:pt x="9022" y="61463"/>
                </a:lnTo>
                <a:lnTo>
                  <a:pt x="13533" y="69357"/>
                </a:lnTo>
                <a:lnTo>
                  <a:pt x="17480" y="85146"/>
                </a:lnTo>
                <a:lnTo>
                  <a:pt x="24811" y="91912"/>
                </a:lnTo>
                <a:lnTo>
                  <a:pt x="33269" y="96987"/>
                </a:lnTo>
                <a:lnTo>
                  <a:pt x="45110" y="111084"/>
                </a:lnTo>
                <a:lnTo>
                  <a:pt x="58644" y="131948"/>
                </a:lnTo>
                <a:lnTo>
                  <a:pt x="75560" y="116159"/>
                </a:lnTo>
                <a:lnTo>
                  <a:pt x="79507" y="106573"/>
                </a:lnTo>
                <a:lnTo>
                  <a:pt x="85146" y="98679"/>
                </a:lnTo>
                <a:lnTo>
                  <a:pt x="93604" y="97551"/>
                </a:lnTo>
                <a:lnTo>
                  <a:pt x="100935" y="90785"/>
                </a:lnTo>
                <a:lnTo>
                  <a:pt x="126309" y="90785"/>
                </a:lnTo>
                <a:lnTo>
                  <a:pt x="134767" y="103754"/>
                </a:lnTo>
                <a:lnTo>
                  <a:pt x="141534" y="118979"/>
                </a:lnTo>
                <a:lnTo>
                  <a:pt x="140406" y="129128"/>
                </a:lnTo>
                <a:lnTo>
                  <a:pt x="145481" y="138715"/>
                </a:lnTo>
                <a:lnTo>
                  <a:pt x="145481" y="151684"/>
                </a:lnTo>
                <a:lnTo>
                  <a:pt x="153940" y="149992"/>
                </a:lnTo>
                <a:lnTo>
                  <a:pt x="160706" y="148864"/>
                </a:lnTo>
                <a:lnTo>
                  <a:pt x="169164" y="144917"/>
                </a:lnTo>
                <a:lnTo>
                  <a:pt x="182134" y="166909"/>
                </a:lnTo>
                <a:lnTo>
                  <a:pt x="179878" y="181569"/>
                </a:lnTo>
                <a:lnTo>
                  <a:pt x="186080" y="188900"/>
                </a:lnTo>
                <a:lnTo>
                  <a:pt x="195103" y="189464"/>
                </a:lnTo>
                <a:lnTo>
                  <a:pt x="201305" y="174803"/>
                </a:lnTo>
                <a:lnTo>
                  <a:pt x="210328" y="175930"/>
                </a:lnTo>
                <a:lnTo>
                  <a:pt x="215402" y="175930"/>
                </a:lnTo>
                <a:lnTo>
                  <a:pt x="217094" y="160142"/>
                </a:lnTo>
                <a:lnTo>
                  <a:pt x="214838" y="153375"/>
                </a:lnTo>
                <a:lnTo>
                  <a:pt x="218222" y="148301"/>
                </a:lnTo>
                <a:lnTo>
                  <a:pt x="229499" y="143789"/>
                </a:lnTo>
                <a:lnTo>
                  <a:pt x="222169" y="115031"/>
                </a:lnTo>
                <a:lnTo>
                  <a:pt x="214838" y="100371"/>
                </a:lnTo>
                <a:lnTo>
                  <a:pt x="217658" y="87965"/>
                </a:lnTo>
                <a:lnTo>
                  <a:pt x="223860" y="85146"/>
                </a:lnTo>
                <a:lnTo>
                  <a:pt x="214274" y="74996"/>
                </a:lnTo>
                <a:lnTo>
                  <a:pt x="215966" y="64282"/>
                </a:lnTo>
                <a:lnTo>
                  <a:pt x="212019" y="60335"/>
                </a:lnTo>
                <a:lnTo>
                  <a:pt x="205252" y="63718"/>
                </a:lnTo>
                <a:lnTo>
                  <a:pt x="206380" y="51877"/>
                </a:lnTo>
                <a:lnTo>
                  <a:pt x="213147" y="42855"/>
                </a:lnTo>
                <a:lnTo>
                  <a:pt x="200177" y="27630"/>
                </a:lnTo>
                <a:lnTo>
                  <a:pt x="196794" y="18044"/>
                </a:lnTo>
                <a:lnTo>
                  <a:pt x="189464" y="10150"/>
                </a:lnTo>
                <a:lnTo>
                  <a:pt x="183261" y="9022"/>
                </a:lnTo>
                <a:lnTo>
                  <a:pt x="175931" y="14097"/>
                </a:lnTo>
                <a:lnTo>
                  <a:pt x="165781" y="18608"/>
                </a:lnTo>
                <a:lnTo>
                  <a:pt x="156759" y="26502"/>
                </a:lnTo>
                <a:lnTo>
                  <a:pt x="143226" y="23683"/>
                </a:lnTo>
                <a:lnTo>
                  <a:pt x="134767" y="14661"/>
                </a:lnTo>
                <a:lnTo>
                  <a:pt x="129692" y="13533"/>
                </a:lnTo>
                <a:lnTo>
                  <a:pt x="121234" y="18044"/>
                </a:lnTo>
                <a:lnTo>
                  <a:pt x="116159" y="18044"/>
                </a:lnTo>
                <a:lnTo>
                  <a:pt x="114468" y="5075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4" name="Freeform: Shape 297">
            <a:extLst>
              <a:ext uri="{FF2B5EF4-FFF2-40B4-BE49-F238E27FC236}">
                <a16:creationId xmlns:a16="http://schemas.microsoft.com/office/drawing/2014/main" id="{1898625C-5794-4052-8F5E-B51F32FAC784}"/>
              </a:ext>
            </a:extLst>
          </p:cNvPr>
          <p:cNvSpPr/>
          <p:nvPr/>
        </p:nvSpPr>
        <p:spPr>
          <a:xfrm>
            <a:off x="5447075" y="3750805"/>
            <a:ext cx="67421" cy="16855"/>
          </a:xfrm>
          <a:custGeom>
            <a:avLst/>
            <a:gdLst>
              <a:gd name="connsiteX0" fmla="*/ 0 w 90220"/>
              <a:gd name="connsiteY0" fmla="*/ 25939 h 22555"/>
              <a:gd name="connsiteX1" fmla="*/ 28194 w 90220"/>
              <a:gd name="connsiteY1" fmla="*/ 26502 h 22555"/>
              <a:gd name="connsiteX2" fmla="*/ 36088 w 90220"/>
              <a:gd name="connsiteY2" fmla="*/ 21428 h 22555"/>
              <a:gd name="connsiteX3" fmla="*/ 41727 w 90220"/>
              <a:gd name="connsiteY3" fmla="*/ 21428 h 22555"/>
              <a:gd name="connsiteX4" fmla="*/ 53569 w 90220"/>
              <a:gd name="connsiteY4" fmla="*/ 12969 h 22555"/>
              <a:gd name="connsiteX5" fmla="*/ 67102 w 90220"/>
              <a:gd name="connsiteY5" fmla="*/ 20864 h 22555"/>
              <a:gd name="connsiteX6" fmla="*/ 80635 w 90220"/>
              <a:gd name="connsiteY6" fmla="*/ 21428 h 22555"/>
              <a:gd name="connsiteX7" fmla="*/ 94168 w 90220"/>
              <a:gd name="connsiteY7" fmla="*/ 12969 h 22555"/>
              <a:gd name="connsiteX8" fmla="*/ 87965 w 90220"/>
              <a:gd name="connsiteY8" fmla="*/ 2819 h 22555"/>
              <a:gd name="connsiteX9" fmla="*/ 77815 w 90220"/>
              <a:gd name="connsiteY9" fmla="*/ 9022 h 22555"/>
              <a:gd name="connsiteX10" fmla="*/ 67666 w 90220"/>
              <a:gd name="connsiteY10" fmla="*/ 8458 h 22555"/>
              <a:gd name="connsiteX11" fmla="*/ 55824 w 90220"/>
              <a:gd name="connsiteY11" fmla="*/ 0 h 22555"/>
              <a:gd name="connsiteX12" fmla="*/ 45674 w 90220"/>
              <a:gd name="connsiteY12" fmla="*/ 564 h 22555"/>
              <a:gd name="connsiteX13" fmla="*/ 38344 w 90220"/>
              <a:gd name="connsiteY13" fmla="*/ 9022 h 22555"/>
              <a:gd name="connsiteX14" fmla="*/ 3947 w 90220"/>
              <a:gd name="connsiteY14" fmla="*/ 10150 h 22555"/>
              <a:gd name="connsiteX15" fmla="*/ 0 w 90220"/>
              <a:gd name="connsiteY15" fmla="*/ 25939 h 225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90220" h="22555">
                <a:moveTo>
                  <a:pt x="0" y="25939"/>
                </a:moveTo>
                <a:lnTo>
                  <a:pt x="28194" y="26502"/>
                </a:lnTo>
                <a:lnTo>
                  <a:pt x="36088" y="21428"/>
                </a:lnTo>
                <a:lnTo>
                  <a:pt x="41727" y="21428"/>
                </a:lnTo>
                <a:lnTo>
                  <a:pt x="53569" y="12969"/>
                </a:lnTo>
                <a:lnTo>
                  <a:pt x="67102" y="20864"/>
                </a:lnTo>
                <a:lnTo>
                  <a:pt x="80635" y="21428"/>
                </a:lnTo>
                <a:lnTo>
                  <a:pt x="94168" y="12969"/>
                </a:lnTo>
                <a:lnTo>
                  <a:pt x="87965" y="2819"/>
                </a:lnTo>
                <a:lnTo>
                  <a:pt x="77815" y="9022"/>
                </a:lnTo>
                <a:lnTo>
                  <a:pt x="67666" y="8458"/>
                </a:lnTo>
                <a:lnTo>
                  <a:pt x="55824" y="0"/>
                </a:lnTo>
                <a:lnTo>
                  <a:pt x="45674" y="564"/>
                </a:lnTo>
                <a:lnTo>
                  <a:pt x="38344" y="9022"/>
                </a:lnTo>
                <a:lnTo>
                  <a:pt x="3947" y="10150"/>
                </a:lnTo>
                <a:lnTo>
                  <a:pt x="0" y="25939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5" name="Freeform: Shape 298">
            <a:extLst>
              <a:ext uri="{FF2B5EF4-FFF2-40B4-BE49-F238E27FC236}">
                <a16:creationId xmlns:a16="http://schemas.microsoft.com/office/drawing/2014/main" id="{D2A7E58F-C3F9-4394-9876-0A0853697764}"/>
              </a:ext>
            </a:extLst>
          </p:cNvPr>
          <p:cNvSpPr/>
          <p:nvPr/>
        </p:nvSpPr>
        <p:spPr>
          <a:xfrm>
            <a:off x="5450446" y="3784094"/>
            <a:ext cx="67421" cy="42138"/>
          </a:xfrm>
          <a:custGeom>
            <a:avLst/>
            <a:gdLst>
              <a:gd name="connsiteX0" fmla="*/ 93604 w 90220"/>
              <a:gd name="connsiteY0" fmla="*/ 1692 h 56388"/>
              <a:gd name="connsiteX1" fmla="*/ 35525 w 90220"/>
              <a:gd name="connsiteY1" fmla="*/ 0 h 56388"/>
              <a:gd name="connsiteX2" fmla="*/ 27067 w 90220"/>
              <a:gd name="connsiteY2" fmla="*/ 3947 h 56388"/>
              <a:gd name="connsiteX3" fmla="*/ 16916 w 90220"/>
              <a:gd name="connsiteY3" fmla="*/ 2819 h 56388"/>
              <a:gd name="connsiteX4" fmla="*/ 0 w 90220"/>
              <a:gd name="connsiteY4" fmla="*/ 9022 h 56388"/>
              <a:gd name="connsiteX5" fmla="*/ 1692 w 90220"/>
              <a:gd name="connsiteY5" fmla="*/ 16353 h 56388"/>
              <a:gd name="connsiteX6" fmla="*/ 11278 w 90220"/>
              <a:gd name="connsiteY6" fmla="*/ 24247 h 56388"/>
              <a:gd name="connsiteX7" fmla="*/ 11278 w 90220"/>
              <a:gd name="connsiteY7" fmla="*/ 29322 h 56388"/>
              <a:gd name="connsiteX8" fmla="*/ 18044 w 90220"/>
              <a:gd name="connsiteY8" fmla="*/ 39472 h 56388"/>
              <a:gd name="connsiteX9" fmla="*/ 31577 w 90220"/>
              <a:gd name="connsiteY9" fmla="*/ 42291 h 56388"/>
              <a:gd name="connsiteX10" fmla="*/ 47930 w 90220"/>
              <a:gd name="connsiteY10" fmla="*/ 56952 h 56388"/>
              <a:gd name="connsiteX11" fmla="*/ 62591 w 90220"/>
              <a:gd name="connsiteY11" fmla="*/ 39472 h 56388"/>
              <a:gd name="connsiteX12" fmla="*/ 72177 w 90220"/>
              <a:gd name="connsiteY12" fmla="*/ 40036 h 56388"/>
              <a:gd name="connsiteX13" fmla="*/ 80071 w 90220"/>
              <a:gd name="connsiteY13" fmla="*/ 34397 h 56388"/>
              <a:gd name="connsiteX14" fmla="*/ 87401 w 90220"/>
              <a:gd name="connsiteY14" fmla="*/ 34397 h 56388"/>
              <a:gd name="connsiteX15" fmla="*/ 91913 w 90220"/>
              <a:gd name="connsiteY15" fmla="*/ 29322 h 56388"/>
              <a:gd name="connsiteX16" fmla="*/ 89657 w 90220"/>
              <a:gd name="connsiteY16" fmla="*/ 17480 h 56388"/>
              <a:gd name="connsiteX17" fmla="*/ 93040 w 90220"/>
              <a:gd name="connsiteY17" fmla="*/ 13533 h 56388"/>
              <a:gd name="connsiteX18" fmla="*/ 93604 w 90220"/>
              <a:gd name="connsiteY18" fmla="*/ 1692 h 56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90220" h="56388">
                <a:moveTo>
                  <a:pt x="93604" y="1692"/>
                </a:moveTo>
                <a:lnTo>
                  <a:pt x="35525" y="0"/>
                </a:lnTo>
                <a:lnTo>
                  <a:pt x="27067" y="3947"/>
                </a:lnTo>
                <a:lnTo>
                  <a:pt x="16916" y="2819"/>
                </a:lnTo>
                <a:lnTo>
                  <a:pt x="0" y="9022"/>
                </a:lnTo>
                <a:lnTo>
                  <a:pt x="1692" y="16353"/>
                </a:lnTo>
                <a:lnTo>
                  <a:pt x="11278" y="24247"/>
                </a:lnTo>
                <a:lnTo>
                  <a:pt x="11278" y="29322"/>
                </a:lnTo>
                <a:lnTo>
                  <a:pt x="18044" y="39472"/>
                </a:lnTo>
                <a:lnTo>
                  <a:pt x="31577" y="42291"/>
                </a:lnTo>
                <a:lnTo>
                  <a:pt x="47930" y="56952"/>
                </a:lnTo>
                <a:lnTo>
                  <a:pt x="62591" y="39472"/>
                </a:lnTo>
                <a:lnTo>
                  <a:pt x="72177" y="40036"/>
                </a:lnTo>
                <a:lnTo>
                  <a:pt x="80071" y="34397"/>
                </a:lnTo>
                <a:lnTo>
                  <a:pt x="87401" y="34397"/>
                </a:lnTo>
                <a:lnTo>
                  <a:pt x="91913" y="29322"/>
                </a:lnTo>
                <a:lnTo>
                  <a:pt x="89657" y="17480"/>
                </a:lnTo>
                <a:lnTo>
                  <a:pt x="93040" y="13533"/>
                </a:lnTo>
                <a:lnTo>
                  <a:pt x="93604" y="1692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6" name="Freeform: Shape 299">
            <a:extLst>
              <a:ext uri="{FF2B5EF4-FFF2-40B4-BE49-F238E27FC236}">
                <a16:creationId xmlns:a16="http://schemas.microsoft.com/office/drawing/2014/main" id="{29551060-91CD-4DF5-95A7-B107B0CC34C2}"/>
              </a:ext>
            </a:extLst>
          </p:cNvPr>
          <p:cNvSpPr/>
          <p:nvPr/>
        </p:nvSpPr>
        <p:spPr>
          <a:xfrm>
            <a:off x="6063130" y="4061361"/>
            <a:ext cx="46351" cy="33710"/>
          </a:xfrm>
          <a:custGeom>
            <a:avLst/>
            <a:gdLst>
              <a:gd name="connsiteX0" fmla="*/ 62591 w 62026"/>
              <a:gd name="connsiteY0" fmla="*/ 1128 h 45110"/>
              <a:gd name="connsiteX1" fmla="*/ 10714 w 62026"/>
              <a:gd name="connsiteY1" fmla="*/ 0 h 45110"/>
              <a:gd name="connsiteX2" fmla="*/ 0 w 62026"/>
              <a:gd name="connsiteY2" fmla="*/ 40599 h 45110"/>
              <a:gd name="connsiteX3" fmla="*/ 5639 w 62026"/>
              <a:gd name="connsiteY3" fmla="*/ 45674 h 45110"/>
              <a:gd name="connsiteX4" fmla="*/ 16353 w 62026"/>
              <a:gd name="connsiteY4" fmla="*/ 43983 h 45110"/>
              <a:gd name="connsiteX5" fmla="*/ 62591 w 62026"/>
              <a:gd name="connsiteY5" fmla="*/ 43983 h 45110"/>
              <a:gd name="connsiteX6" fmla="*/ 62591 w 62026"/>
              <a:gd name="connsiteY6" fmla="*/ 1128 h 451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026" h="45110">
                <a:moveTo>
                  <a:pt x="62591" y="1128"/>
                </a:moveTo>
                <a:lnTo>
                  <a:pt x="10714" y="0"/>
                </a:lnTo>
                <a:lnTo>
                  <a:pt x="0" y="40599"/>
                </a:lnTo>
                <a:lnTo>
                  <a:pt x="5639" y="45674"/>
                </a:lnTo>
                <a:lnTo>
                  <a:pt x="16353" y="43983"/>
                </a:lnTo>
                <a:lnTo>
                  <a:pt x="62591" y="43983"/>
                </a:lnTo>
                <a:lnTo>
                  <a:pt x="62591" y="1128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7" name="Freeform: Shape 300">
            <a:extLst>
              <a:ext uri="{FF2B5EF4-FFF2-40B4-BE49-F238E27FC236}">
                <a16:creationId xmlns:a16="http://schemas.microsoft.com/office/drawing/2014/main" id="{7EF65C76-BEFC-41BE-B004-12C9814EA660}"/>
              </a:ext>
            </a:extLst>
          </p:cNvPr>
          <p:cNvSpPr/>
          <p:nvPr/>
        </p:nvSpPr>
        <p:spPr>
          <a:xfrm>
            <a:off x="6283512" y="3000750"/>
            <a:ext cx="143269" cy="185407"/>
          </a:xfrm>
          <a:custGeom>
            <a:avLst/>
            <a:gdLst>
              <a:gd name="connsiteX0" fmla="*/ 116159 w 191719"/>
              <a:gd name="connsiteY0" fmla="*/ 219913 h 248107"/>
              <a:gd name="connsiteX1" fmla="*/ 111648 w 191719"/>
              <a:gd name="connsiteY1" fmla="*/ 235702 h 248107"/>
              <a:gd name="connsiteX2" fmla="*/ 148864 w 191719"/>
              <a:gd name="connsiteY2" fmla="*/ 242468 h 248107"/>
              <a:gd name="connsiteX3" fmla="*/ 148864 w 191719"/>
              <a:gd name="connsiteY3" fmla="*/ 248671 h 248107"/>
              <a:gd name="connsiteX4" fmla="*/ 191719 w 191719"/>
              <a:gd name="connsiteY4" fmla="*/ 245288 h 248107"/>
              <a:gd name="connsiteX5" fmla="*/ 194539 w 191719"/>
              <a:gd name="connsiteY5" fmla="*/ 234574 h 248107"/>
              <a:gd name="connsiteX6" fmla="*/ 178750 w 191719"/>
              <a:gd name="connsiteY6" fmla="*/ 239085 h 248107"/>
              <a:gd name="connsiteX7" fmla="*/ 178750 w 191719"/>
              <a:gd name="connsiteY7" fmla="*/ 232883 h 248107"/>
              <a:gd name="connsiteX8" fmla="*/ 156758 w 191719"/>
              <a:gd name="connsiteY8" fmla="*/ 230063 h 248107"/>
              <a:gd name="connsiteX9" fmla="*/ 133639 w 191719"/>
              <a:gd name="connsiteY9" fmla="*/ 232319 h 248107"/>
              <a:gd name="connsiteX10" fmla="*/ 116159 w 191719"/>
              <a:gd name="connsiteY10" fmla="*/ 219913 h 248107"/>
              <a:gd name="connsiteX11" fmla="*/ 181005 w 191719"/>
              <a:gd name="connsiteY11" fmla="*/ 9022 h 248107"/>
              <a:gd name="connsiteX12" fmla="*/ 165780 w 191719"/>
              <a:gd name="connsiteY12" fmla="*/ 0 h 248107"/>
              <a:gd name="connsiteX13" fmla="*/ 167472 w 191719"/>
              <a:gd name="connsiteY13" fmla="*/ 16916 h 248107"/>
              <a:gd name="connsiteX14" fmla="*/ 141534 w 191719"/>
              <a:gd name="connsiteY14" fmla="*/ 20300 h 248107"/>
              <a:gd name="connsiteX15" fmla="*/ 119542 w 191719"/>
              <a:gd name="connsiteY15" fmla="*/ 8458 h 248107"/>
              <a:gd name="connsiteX16" fmla="*/ 97551 w 191719"/>
              <a:gd name="connsiteY16" fmla="*/ 18044 h 248107"/>
              <a:gd name="connsiteX17" fmla="*/ 76124 w 191719"/>
              <a:gd name="connsiteY17" fmla="*/ 16916 h 248107"/>
              <a:gd name="connsiteX18" fmla="*/ 70485 w 191719"/>
              <a:gd name="connsiteY18" fmla="*/ 18044 h 248107"/>
              <a:gd name="connsiteX19" fmla="*/ 66537 w 191719"/>
              <a:gd name="connsiteY19" fmla="*/ 24247 h 248107"/>
              <a:gd name="connsiteX20" fmla="*/ 50749 w 191719"/>
              <a:gd name="connsiteY20" fmla="*/ 23683 h 248107"/>
              <a:gd name="connsiteX21" fmla="*/ 40035 w 191719"/>
              <a:gd name="connsiteY21" fmla="*/ 31013 h 248107"/>
              <a:gd name="connsiteX22" fmla="*/ 21427 w 191719"/>
              <a:gd name="connsiteY22" fmla="*/ 34397 h 248107"/>
              <a:gd name="connsiteX23" fmla="*/ 21427 w 191719"/>
              <a:gd name="connsiteY23" fmla="*/ 43419 h 248107"/>
              <a:gd name="connsiteX24" fmla="*/ 12405 w 191719"/>
              <a:gd name="connsiteY24" fmla="*/ 48494 h 248107"/>
              <a:gd name="connsiteX25" fmla="*/ 11841 w 191719"/>
              <a:gd name="connsiteY25" fmla="*/ 60335 h 248107"/>
              <a:gd name="connsiteX26" fmla="*/ 0 w 191719"/>
              <a:gd name="connsiteY26" fmla="*/ 77252 h 248107"/>
              <a:gd name="connsiteX27" fmla="*/ 2819 w 191719"/>
              <a:gd name="connsiteY27" fmla="*/ 87965 h 248107"/>
              <a:gd name="connsiteX28" fmla="*/ 19171 w 191719"/>
              <a:gd name="connsiteY28" fmla="*/ 108265 h 248107"/>
              <a:gd name="connsiteX29" fmla="*/ 32141 w 191719"/>
              <a:gd name="connsiteY29" fmla="*/ 125181 h 248107"/>
              <a:gd name="connsiteX30" fmla="*/ 39472 w 191719"/>
              <a:gd name="connsiteY30" fmla="*/ 149428 h 248107"/>
              <a:gd name="connsiteX31" fmla="*/ 52440 w 191719"/>
              <a:gd name="connsiteY31" fmla="*/ 178186 h 248107"/>
              <a:gd name="connsiteX32" fmla="*/ 78379 w 191719"/>
              <a:gd name="connsiteY32" fmla="*/ 194539 h 248107"/>
              <a:gd name="connsiteX33" fmla="*/ 97551 w 191719"/>
              <a:gd name="connsiteY33" fmla="*/ 193975 h 248107"/>
              <a:gd name="connsiteX34" fmla="*/ 84018 w 191719"/>
              <a:gd name="connsiteY34" fmla="*/ 161834 h 248107"/>
              <a:gd name="connsiteX35" fmla="*/ 102626 w 191719"/>
              <a:gd name="connsiteY35" fmla="*/ 157886 h 248107"/>
              <a:gd name="connsiteX36" fmla="*/ 91912 w 191719"/>
              <a:gd name="connsiteY36" fmla="*/ 139278 h 248107"/>
              <a:gd name="connsiteX37" fmla="*/ 120106 w 191719"/>
              <a:gd name="connsiteY37" fmla="*/ 148864 h 248107"/>
              <a:gd name="connsiteX38" fmla="*/ 117850 w 191719"/>
              <a:gd name="connsiteY38" fmla="*/ 128001 h 248107"/>
              <a:gd name="connsiteX39" fmla="*/ 102626 w 191719"/>
              <a:gd name="connsiteY39" fmla="*/ 117851 h 248107"/>
              <a:gd name="connsiteX40" fmla="*/ 84582 w 191719"/>
              <a:gd name="connsiteY40" fmla="*/ 100934 h 248107"/>
              <a:gd name="connsiteX41" fmla="*/ 94731 w 191719"/>
              <a:gd name="connsiteY41" fmla="*/ 93040 h 248107"/>
              <a:gd name="connsiteX42" fmla="*/ 78943 w 191719"/>
              <a:gd name="connsiteY42" fmla="*/ 76124 h 248107"/>
              <a:gd name="connsiteX43" fmla="*/ 69921 w 191719"/>
              <a:gd name="connsiteY43" fmla="*/ 54696 h 248107"/>
              <a:gd name="connsiteX44" fmla="*/ 74996 w 191719"/>
              <a:gd name="connsiteY44" fmla="*/ 47366 h 248107"/>
              <a:gd name="connsiteX45" fmla="*/ 91912 w 191719"/>
              <a:gd name="connsiteY45" fmla="*/ 65410 h 248107"/>
              <a:gd name="connsiteX46" fmla="*/ 108265 w 191719"/>
              <a:gd name="connsiteY46" fmla="*/ 65410 h 248107"/>
              <a:gd name="connsiteX47" fmla="*/ 122362 w 191719"/>
              <a:gd name="connsiteY47" fmla="*/ 59771 h 248107"/>
              <a:gd name="connsiteX48" fmla="*/ 100370 w 191719"/>
              <a:gd name="connsiteY48" fmla="*/ 39472 h 248107"/>
              <a:gd name="connsiteX49" fmla="*/ 134767 w 191719"/>
              <a:gd name="connsiteY49" fmla="*/ 30449 h 248107"/>
              <a:gd name="connsiteX50" fmla="*/ 149992 w 191719"/>
              <a:gd name="connsiteY50" fmla="*/ 33833 h 248107"/>
              <a:gd name="connsiteX51" fmla="*/ 168036 w 191719"/>
              <a:gd name="connsiteY51" fmla="*/ 34961 h 248107"/>
              <a:gd name="connsiteX52" fmla="*/ 174238 w 191719"/>
              <a:gd name="connsiteY52" fmla="*/ 31013 h 248107"/>
              <a:gd name="connsiteX53" fmla="*/ 181005 w 191719"/>
              <a:gd name="connsiteY53" fmla="*/ 9022 h 2481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191719" h="248107">
                <a:moveTo>
                  <a:pt x="116159" y="219913"/>
                </a:moveTo>
                <a:lnTo>
                  <a:pt x="111648" y="235702"/>
                </a:lnTo>
                <a:lnTo>
                  <a:pt x="148864" y="242468"/>
                </a:lnTo>
                <a:lnTo>
                  <a:pt x="148864" y="248671"/>
                </a:lnTo>
                <a:lnTo>
                  <a:pt x="191719" y="245288"/>
                </a:lnTo>
                <a:lnTo>
                  <a:pt x="194539" y="234574"/>
                </a:lnTo>
                <a:lnTo>
                  <a:pt x="178750" y="239085"/>
                </a:lnTo>
                <a:lnTo>
                  <a:pt x="178750" y="232883"/>
                </a:lnTo>
                <a:lnTo>
                  <a:pt x="156758" y="230063"/>
                </a:lnTo>
                <a:lnTo>
                  <a:pt x="133639" y="232319"/>
                </a:lnTo>
                <a:lnTo>
                  <a:pt x="116159" y="219913"/>
                </a:lnTo>
                <a:close/>
                <a:moveTo>
                  <a:pt x="181005" y="9022"/>
                </a:moveTo>
                <a:lnTo>
                  <a:pt x="165780" y="0"/>
                </a:lnTo>
                <a:lnTo>
                  <a:pt x="167472" y="16916"/>
                </a:lnTo>
                <a:lnTo>
                  <a:pt x="141534" y="20300"/>
                </a:lnTo>
                <a:lnTo>
                  <a:pt x="119542" y="8458"/>
                </a:lnTo>
                <a:lnTo>
                  <a:pt x="97551" y="18044"/>
                </a:lnTo>
                <a:lnTo>
                  <a:pt x="76124" y="16916"/>
                </a:lnTo>
                <a:lnTo>
                  <a:pt x="70485" y="18044"/>
                </a:lnTo>
                <a:lnTo>
                  <a:pt x="66537" y="24247"/>
                </a:lnTo>
                <a:lnTo>
                  <a:pt x="50749" y="23683"/>
                </a:lnTo>
                <a:lnTo>
                  <a:pt x="40035" y="31013"/>
                </a:lnTo>
                <a:lnTo>
                  <a:pt x="21427" y="34397"/>
                </a:lnTo>
                <a:lnTo>
                  <a:pt x="21427" y="43419"/>
                </a:lnTo>
                <a:lnTo>
                  <a:pt x="12405" y="48494"/>
                </a:lnTo>
                <a:lnTo>
                  <a:pt x="11841" y="60335"/>
                </a:lnTo>
                <a:lnTo>
                  <a:pt x="0" y="77252"/>
                </a:lnTo>
                <a:lnTo>
                  <a:pt x="2819" y="87965"/>
                </a:lnTo>
                <a:lnTo>
                  <a:pt x="19171" y="108265"/>
                </a:lnTo>
                <a:lnTo>
                  <a:pt x="32141" y="125181"/>
                </a:lnTo>
                <a:lnTo>
                  <a:pt x="39472" y="149428"/>
                </a:lnTo>
                <a:lnTo>
                  <a:pt x="52440" y="178186"/>
                </a:lnTo>
                <a:lnTo>
                  <a:pt x="78379" y="194539"/>
                </a:lnTo>
                <a:lnTo>
                  <a:pt x="97551" y="193975"/>
                </a:lnTo>
                <a:lnTo>
                  <a:pt x="84018" y="161834"/>
                </a:lnTo>
                <a:lnTo>
                  <a:pt x="102626" y="157886"/>
                </a:lnTo>
                <a:lnTo>
                  <a:pt x="91912" y="139278"/>
                </a:lnTo>
                <a:lnTo>
                  <a:pt x="120106" y="148864"/>
                </a:lnTo>
                <a:lnTo>
                  <a:pt x="117850" y="128001"/>
                </a:lnTo>
                <a:lnTo>
                  <a:pt x="102626" y="117851"/>
                </a:lnTo>
                <a:lnTo>
                  <a:pt x="84582" y="100934"/>
                </a:lnTo>
                <a:lnTo>
                  <a:pt x="94731" y="93040"/>
                </a:lnTo>
                <a:lnTo>
                  <a:pt x="78943" y="76124"/>
                </a:lnTo>
                <a:lnTo>
                  <a:pt x="69921" y="54696"/>
                </a:lnTo>
                <a:lnTo>
                  <a:pt x="74996" y="47366"/>
                </a:lnTo>
                <a:lnTo>
                  <a:pt x="91912" y="65410"/>
                </a:lnTo>
                <a:lnTo>
                  <a:pt x="108265" y="65410"/>
                </a:lnTo>
                <a:lnTo>
                  <a:pt x="122362" y="59771"/>
                </a:lnTo>
                <a:lnTo>
                  <a:pt x="100370" y="39472"/>
                </a:lnTo>
                <a:lnTo>
                  <a:pt x="134767" y="30449"/>
                </a:lnTo>
                <a:lnTo>
                  <a:pt x="149992" y="33833"/>
                </a:lnTo>
                <a:lnTo>
                  <a:pt x="168036" y="34961"/>
                </a:lnTo>
                <a:lnTo>
                  <a:pt x="174238" y="31013"/>
                </a:lnTo>
                <a:lnTo>
                  <a:pt x="181005" y="9022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8" name="Freeform: Shape 301">
            <a:extLst>
              <a:ext uri="{FF2B5EF4-FFF2-40B4-BE49-F238E27FC236}">
                <a16:creationId xmlns:a16="http://schemas.microsoft.com/office/drawing/2014/main" id="{E2657C20-F44E-4F2B-B165-E8C167F8A749}"/>
              </a:ext>
            </a:extLst>
          </p:cNvPr>
          <p:cNvSpPr/>
          <p:nvPr/>
        </p:nvSpPr>
        <p:spPr>
          <a:xfrm>
            <a:off x="4728623" y="2031579"/>
            <a:ext cx="935461" cy="501440"/>
          </a:xfrm>
          <a:custGeom>
            <a:avLst/>
            <a:gdLst>
              <a:gd name="connsiteX0" fmla="*/ 987354 w 1251813"/>
              <a:gd name="connsiteY0" fmla="*/ 2256 h 671017"/>
              <a:gd name="connsiteX1" fmla="*/ 840745 w 1251813"/>
              <a:gd name="connsiteY1" fmla="*/ 0 h 671017"/>
              <a:gd name="connsiteX2" fmla="*/ 774207 w 1251813"/>
              <a:gd name="connsiteY2" fmla="*/ 1692 h 671017"/>
              <a:gd name="connsiteX3" fmla="*/ 746013 w 1251813"/>
              <a:gd name="connsiteY3" fmla="*/ 9022 h 671017"/>
              <a:gd name="connsiteX4" fmla="*/ 681167 w 1251813"/>
              <a:gd name="connsiteY4" fmla="*/ 8458 h 671017"/>
              <a:gd name="connsiteX5" fmla="*/ 609555 w 1251813"/>
              <a:gd name="connsiteY5" fmla="*/ 20300 h 671017"/>
              <a:gd name="connsiteX6" fmla="*/ 600532 w 1251813"/>
              <a:gd name="connsiteY6" fmla="*/ 29886 h 671017"/>
              <a:gd name="connsiteX7" fmla="*/ 638312 w 1251813"/>
              <a:gd name="connsiteY7" fmla="*/ 41727 h 671017"/>
              <a:gd name="connsiteX8" fmla="*/ 603352 w 1251813"/>
              <a:gd name="connsiteY8" fmla="*/ 34397 h 671017"/>
              <a:gd name="connsiteX9" fmla="*/ 577977 w 1251813"/>
              <a:gd name="connsiteY9" fmla="*/ 32705 h 671017"/>
              <a:gd name="connsiteX10" fmla="*/ 538505 w 1251813"/>
              <a:gd name="connsiteY10" fmla="*/ 24811 h 671017"/>
              <a:gd name="connsiteX11" fmla="*/ 478734 w 1251813"/>
              <a:gd name="connsiteY11" fmla="*/ 36652 h 671017"/>
              <a:gd name="connsiteX12" fmla="*/ 463509 w 1251813"/>
              <a:gd name="connsiteY12" fmla="*/ 29886 h 671017"/>
              <a:gd name="connsiteX13" fmla="*/ 404866 w 1251813"/>
              <a:gd name="connsiteY13" fmla="*/ 29886 h 671017"/>
              <a:gd name="connsiteX14" fmla="*/ 343403 w 1251813"/>
              <a:gd name="connsiteY14" fmla="*/ 33269 h 671017"/>
              <a:gd name="connsiteX15" fmla="*/ 293218 w 1251813"/>
              <a:gd name="connsiteY15" fmla="*/ 38908 h 671017"/>
              <a:gd name="connsiteX16" fmla="*/ 292090 w 1251813"/>
              <a:gd name="connsiteY16" fmla="*/ 49058 h 671017"/>
              <a:gd name="connsiteX17" fmla="*/ 262204 w 1251813"/>
              <a:gd name="connsiteY17" fmla="*/ 51877 h 671017"/>
              <a:gd name="connsiteX18" fmla="*/ 179878 w 1251813"/>
              <a:gd name="connsiteY18" fmla="*/ 68229 h 671017"/>
              <a:gd name="connsiteX19" fmla="*/ 153939 w 1251813"/>
              <a:gd name="connsiteY19" fmla="*/ 77815 h 671017"/>
              <a:gd name="connsiteX20" fmla="*/ 199614 w 1251813"/>
              <a:gd name="connsiteY20" fmla="*/ 86274 h 671017"/>
              <a:gd name="connsiteX21" fmla="*/ 183825 w 1251813"/>
              <a:gd name="connsiteY21" fmla="*/ 95296 h 671017"/>
              <a:gd name="connsiteX22" fmla="*/ 99807 w 1251813"/>
              <a:gd name="connsiteY22" fmla="*/ 107701 h 671017"/>
              <a:gd name="connsiteX23" fmla="*/ 12405 w 1251813"/>
              <a:gd name="connsiteY23" fmla="*/ 120106 h 671017"/>
              <a:gd name="connsiteX24" fmla="*/ 0 w 1251813"/>
              <a:gd name="connsiteY24" fmla="*/ 129692 h 671017"/>
              <a:gd name="connsiteX25" fmla="*/ 36088 w 1251813"/>
              <a:gd name="connsiteY25" fmla="*/ 140970 h 671017"/>
              <a:gd name="connsiteX26" fmla="*/ 117851 w 1251813"/>
              <a:gd name="connsiteY26" fmla="*/ 147737 h 671017"/>
              <a:gd name="connsiteX27" fmla="*/ 75560 w 1251813"/>
              <a:gd name="connsiteY27" fmla="*/ 148864 h 671017"/>
              <a:gd name="connsiteX28" fmla="*/ 14097 w 1251813"/>
              <a:gd name="connsiteY28" fmla="*/ 157323 h 671017"/>
              <a:gd name="connsiteX29" fmla="*/ 35524 w 1251813"/>
              <a:gd name="connsiteY29" fmla="*/ 174803 h 671017"/>
              <a:gd name="connsiteX30" fmla="*/ 52441 w 1251813"/>
              <a:gd name="connsiteY30" fmla="*/ 183261 h 671017"/>
              <a:gd name="connsiteX31" fmla="*/ 105446 w 1251813"/>
              <a:gd name="connsiteY31" fmla="*/ 181569 h 671017"/>
              <a:gd name="connsiteX32" fmla="*/ 162397 w 1251813"/>
              <a:gd name="connsiteY32" fmla="*/ 180442 h 671017"/>
              <a:gd name="connsiteX33" fmla="*/ 205252 w 1251813"/>
              <a:gd name="connsiteY33" fmla="*/ 182133 h 671017"/>
              <a:gd name="connsiteX34" fmla="*/ 250363 w 1251813"/>
              <a:gd name="connsiteY34" fmla="*/ 198486 h 671017"/>
              <a:gd name="connsiteX35" fmla="*/ 242468 w 1251813"/>
              <a:gd name="connsiteY35" fmla="*/ 210327 h 671017"/>
              <a:gd name="connsiteX36" fmla="*/ 262768 w 1251813"/>
              <a:gd name="connsiteY36" fmla="*/ 221041 h 671017"/>
              <a:gd name="connsiteX37" fmla="*/ 270662 w 1251813"/>
              <a:gd name="connsiteY37" fmla="*/ 250927 h 671017"/>
              <a:gd name="connsiteX38" fmla="*/ 276301 w 1251813"/>
              <a:gd name="connsiteY38" fmla="*/ 271226 h 671017"/>
              <a:gd name="connsiteX39" fmla="*/ 284196 w 1251813"/>
              <a:gd name="connsiteY39" fmla="*/ 281940 h 671017"/>
              <a:gd name="connsiteX40" fmla="*/ 244724 w 1251813"/>
              <a:gd name="connsiteY40" fmla="*/ 309006 h 671017"/>
              <a:gd name="connsiteX41" fmla="*/ 259385 w 1251813"/>
              <a:gd name="connsiteY41" fmla="*/ 316337 h 671017"/>
              <a:gd name="connsiteX42" fmla="*/ 284196 w 1251813"/>
              <a:gd name="connsiteY42" fmla="*/ 311826 h 671017"/>
              <a:gd name="connsiteX43" fmla="*/ 298856 w 1251813"/>
              <a:gd name="connsiteY43" fmla="*/ 321975 h 671017"/>
              <a:gd name="connsiteX44" fmla="*/ 328742 w 1251813"/>
              <a:gd name="connsiteY44" fmla="*/ 341147 h 671017"/>
              <a:gd name="connsiteX45" fmla="*/ 286451 w 1251813"/>
              <a:gd name="connsiteY45" fmla="*/ 333253 h 671017"/>
              <a:gd name="connsiteX46" fmla="*/ 265024 w 1251813"/>
              <a:gd name="connsiteY46" fmla="*/ 333253 h 671017"/>
              <a:gd name="connsiteX47" fmla="*/ 248107 w 1251813"/>
              <a:gd name="connsiteY47" fmla="*/ 349042 h 671017"/>
              <a:gd name="connsiteX48" fmla="*/ 239649 w 1251813"/>
              <a:gd name="connsiteY48" fmla="*/ 369341 h 671017"/>
              <a:gd name="connsiteX49" fmla="*/ 263332 w 1251813"/>
              <a:gd name="connsiteY49" fmla="*/ 379491 h 671017"/>
              <a:gd name="connsiteX50" fmla="*/ 285887 w 1251813"/>
              <a:gd name="connsiteY50" fmla="*/ 374980 h 671017"/>
              <a:gd name="connsiteX51" fmla="*/ 300548 w 1251813"/>
              <a:gd name="connsiteY51" fmla="*/ 370469 h 671017"/>
              <a:gd name="connsiteX52" fmla="*/ 331561 w 1251813"/>
              <a:gd name="connsiteY52" fmla="*/ 359755 h 671017"/>
              <a:gd name="connsiteX53" fmla="*/ 315773 w 1251813"/>
              <a:gd name="connsiteY53" fmla="*/ 383438 h 671017"/>
              <a:gd name="connsiteX54" fmla="*/ 301112 w 1251813"/>
              <a:gd name="connsiteY54" fmla="*/ 396408 h 671017"/>
              <a:gd name="connsiteX55" fmla="*/ 261076 w 1251813"/>
              <a:gd name="connsiteY55" fmla="*/ 407685 h 671017"/>
              <a:gd name="connsiteX56" fmla="*/ 221605 w 1251813"/>
              <a:gd name="connsiteY56" fmla="*/ 443210 h 671017"/>
              <a:gd name="connsiteX57" fmla="*/ 232882 w 1251813"/>
              <a:gd name="connsiteY57" fmla="*/ 454487 h 671017"/>
              <a:gd name="connsiteX58" fmla="*/ 213711 w 1251813"/>
              <a:gd name="connsiteY58" fmla="*/ 477043 h 671017"/>
              <a:gd name="connsiteX59" fmla="*/ 234574 w 1251813"/>
              <a:gd name="connsiteY59" fmla="*/ 506364 h 671017"/>
              <a:gd name="connsiteX60" fmla="*/ 226116 w 1251813"/>
              <a:gd name="connsiteY60" fmla="*/ 534558 h 671017"/>
              <a:gd name="connsiteX61" fmla="*/ 230063 w 1251813"/>
              <a:gd name="connsiteY61" fmla="*/ 555422 h 671017"/>
              <a:gd name="connsiteX62" fmla="*/ 257129 w 1251813"/>
              <a:gd name="connsiteY62" fmla="*/ 595457 h 671017"/>
              <a:gd name="connsiteX63" fmla="*/ 261640 w 1251813"/>
              <a:gd name="connsiteY63" fmla="*/ 627035 h 671017"/>
              <a:gd name="connsiteX64" fmla="*/ 279121 w 1251813"/>
              <a:gd name="connsiteY64" fmla="*/ 645079 h 671017"/>
              <a:gd name="connsiteX65" fmla="*/ 329306 w 1251813"/>
              <a:gd name="connsiteY65" fmla="*/ 645079 h 671017"/>
              <a:gd name="connsiteX66" fmla="*/ 357500 w 1251813"/>
              <a:gd name="connsiteY66" fmla="*/ 671581 h 671017"/>
              <a:gd name="connsiteX67" fmla="*/ 394152 w 1251813"/>
              <a:gd name="connsiteY67" fmla="*/ 669889 h 671017"/>
              <a:gd name="connsiteX68" fmla="*/ 417271 w 1251813"/>
              <a:gd name="connsiteY68" fmla="*/ 637748 h 671017"/>
              <a:gd name="connsiteX69" fmla="*/ 437007 w 1251813"/>
              <a:gd name="connsiteY69" fmla="*/ 610682 h 671017"/>
              <a:gd name="connsiteX70" fmla="*/ 435315 w 1251813"/>
              <a:gd name="connsiteY70" fmla="*/ 585871 h 671017"/>
              <a:gd name="connsiteX71" fmla="*/ 483809 w 1251813"/>
              <a:gd name="connsiteY71" fmla="*/ 559933 h 671017"/>
              <a:gd name="connsiteX72" fmla="*/ 502417 w 1251813"/>
              <a:gd name="connsiteY72" fmla="*/ 539069 h 671017"/>
              <a:gd name="connsiteX73" fmla="*/ 510311 w 1251813"/>
              <a:gd name="connsiteY73" fmla="*/ 517078 h 671017"/>
              <a:gd name="connsiteX74" fmla="*/ 536814 w 1251813"/>
              <a:gd name="connsiteY74" fmla="*/ 497342 h 671017"/>
              <a:gd name="connsiteX75" fmla="*/ 573466 w 1251813"/>
              <a:gd name="connsiteY75" fmla="*/ 490012 h 671017"/>
              <a:gd name="connsiteX76" fmla="*/ 607863 w 1251813"/>
              <a:gd name="connsiteY76" fmla="*/ 482117 h 671017"/>
              <a:gd name="connsiteX77" fmla="*/ 624779 w 1251813"/>
              <a:gd name="connsiteY77" fmla="*/ 480990 h 671017"/>
              <a:gd name="connsiteX78" fmla="*/ 682295 w 1251813"/>
              <a:gd name="connsiteY78" fmla="*/ 458998 h 671017"/>
              <a:gd name="connsiteX79" fmla="*/ 724022 w 1251813"/>
              <a:gd name="connsiteY79" fmla="*/ 426857 h 671017"/>
              <a:gd name="connsiteX80" fmla="*/ 751088 w 1251813"/>
              <a:gd name="connsiteY80" fmla="*/ 415016 h 671017"/>
              <a:gd name="connsiteX81" fmla="*/ 777027 w 1251813"/>
              <a:gd name="connsiteY81" fmla="*/ 414452 h 671017"/>
              <a:gd name="connsiteX82" fmla="*/ 847512 w 1251813"/>
              <a:gd name="connsiteY82" fmla="*/ 404302 h 671017"/>
              <a:gd name="connsiteX83" fmla="*/ 915741 w 1251813"/>
              <a:gd name="connsiteY83" fmla="*/ 380055 h 671017"/>
              <a:gd name="connsiteX84" fmla="*/ 982843 w 1251813"/>
              <a:gd name="connsiteY84" fmla="*/ 354117 h 671017"/>
              <a:gd name="connsiteX85" fmla="*/ 951829 w 1251813"/>
              <a:gd name="connsiteY85" fmla="*/ 352425 h 671017"/>
              <a:gd name="connsiteX86" fmla="*/ 892058 w 1251813"/>
              <a:gd name="connsiteY86" fmla="*/ 351297 h 671017"/>
              <a:gd name="connsiteX87" fmla="*/ 921944 w 1251813"/>
              <a:gd name="connsiteY87" fmla="*/ 335509 h 671017"/>
              <a:gd name="connsiteX88" fmla="*/ 919124 w 1251813"/>
              <a:gd name="connsiteY88" fmla="*/ 315209 h 671017"/>
              <a:gd name="connsiteX89" fmla="*/ 942807 w 1251813"/>
              <a:gd name="connsiteY89" fmla="*/ 332125 h 671017"/>
              <a:gd name="connsiteX90" fmla="*/ 958032 w 1251813"/>
              <a:gd name="connsiteY90" fmla="*/ 343967 h 671017"/>
              <a:gd name="connsiteX91" fmla="*/ 999195 w 1251813"/>
              <a:gd name="connsiteY91" fmla="*/ 338328 h 671017"/>
              <a:gd name="connsiteX92" fmla="*/ 995812 w 1251813"/>
              <a:gd name="connsiteY92" fmla="*/ 314081 h 671017"/>
              <a:gd name="connsiteX93" fmla="*/ 970438 w 1251813"/>
              <a:gd name="connsiteY93" fmla="*/ 296601 h 671017"/>
              <a:gd name="connsiteX94" fmla="*/ 942244 w 1251813"/>
              <a:gd name="connsiteY94" fmla="*/ 289270 h 671017"/>
              <a:gd name="connsiteX95" fmla="*/ 955777 w 1251813"/>
              <a:gd name="connsiteY95" fmla="*/ 281376 h 671017"/>
              <a:gd name="connsiteX96" fmla="*/ 996376 w 1251813"/>
              <a:gd name="connsiteY96" fmla="*/ 293218 h 671017"/>
              <a:gd name="connsiteX97" fmla="*/ 999195 w 1251813"/>
              <a:gd name="connsiteY97" fmla="*/ 280248 h 671017"/>
              <a:gd name="connsiteX98" fmla="*/ 976077 w 1251813"/>
              <a:gd name="connsiteY98" fmla="*/ 261076 h 671017"/>
              <a:gd name="connsiteX99" fmla="*/ 1006526 w 1251813"/>
              <a:gd name="connsiteY99" fmla="*/ 261076 h 671017"/>
              <a:gd name="connsiteX100" fmla="*/ 1038103 w 1251813"/>
              <a:gd name="connsiteY100" fmla="*/ 256565 h 671017"/>
              <a:gd name="connsiteX101" fmla="*/ 1047689 w 1251813"/>
              <a:gd name="connsiteY101" fmla="*/ 246416 h 671017"/>
              <a:gd name="connsiteX102" fmla="*/ 1025134 w 1251813"/>
              <a:gd name="connsiteY102" fmla="*/ 234574 h 671017"/>
              <a:gd name="connsiteX103" fmla="*/ 1073628 w 1251813"/>
              <a:gd name="connsiteY103" fmla="*/ 232882 h 671017"/>
              <a:gd name="connsiteX104" fmla="*/ 1051073 w 1251813"/>
              <a:gd name="connsiteY104" fmla="*/ 208636 h 671017"/>
              <a:gd name="connsiteX105" fmla="*/ 1074191 w 1251813"/>
              <a:gd name="connsiteY105" fmla="*/ 205816 h 671017"/>
              <a:gd name="connsiteX106" fmla="*/ 1074756 w 1251813"/>
              <a:gd name="connsiteY106" fmla="*/ 182133 h 671017"/>
              <a:gd name="connsiteX107" fmla="*/ 1039795 w 1251813"/>
              <a:gd name="connsiteY107" fmla="*/ 168036 h 671017"/>
              <a:gd name="connsiteX108" fmla="*/ 1075883 w 1251813"/>
              <a:gd name="connsiteY108" fmla="*/ 159014 h 671017"/>
              <a:gd name="connsiteX109" fmla="*/ 1108588 w 1251813"/>
              <a:gd name="connsiteY109" fmla="*/ 158450 h 671017"/>
              <a:gd name="connsiteX110" fmla="*/ 1088288 w 1251813"/>
              <a:gd name="connsiteY110" fmla="*/ 140406 h 671017"/>
              <a:gd name="connsiteX111" fmla="*/ 1094491 w 1251813"/>
              <a:gd name="connsiteY111" fmla="*/ 111648 h 671017"/>
              <a:gd name="connsiteX112" fmla="*/ 1114791 w 1251813"/>
              <a:gd name="connsiteY112" fmla="*/ 95296 h 671017"/>
              <a:gd name="connsiteX113" fmla="*/ 1142421 w 1251813"/>
              <a:gd name="connsiteY113" fmla="*/ 77252 h 671017"/>
              <a:gd name="connsiteX114" fmla="*/ 1097311 w 1251813"/>
              <a:gd name="connsiteY114" fmla="*/ 76124 h 671017"/>
              <a:gd name="connsiteX115" fmla="*/ 1161029 w 1251813"/>
              <a:gd name="connsiteY115" fmla="*/ 72177 h 671017"/>
              <a:gd name="connsiteX116" fmla="*/ 1173435 w 1251813"/>
              <a:gd name="connsiteY116" fmla="*/ 66538 h 671017"/>
              <a:gd name="connsiteX117" fmla="*/ 1255761 w 1251813"/>
              <a:gd name="connsiteY117" fmla="*/ 50185 h 671017"/>
              <a:gd name="connsiteX118" fmla="*/ 1246739 w 1251813"/>
              <a:gd name="connsiteY118" fmla="*/ 40599 h 671017"/>
              <a:gd name="connsiteX119" fmla="*/ 1190351 w 1251813"/>
              <a:gd name="connsiteY119" fmla="*/ 36088 h 671017"/>
              <a:gd name="connsiteX120" fmla="*/ 1095055 w 1251813"/>
              <a:gd name="connsiteY120" fmla="*/ 44547 h 671017"/>
              <a:gd name="connsiteX121" fmla="*/ 1043178 w 1251813"/>
              <a:gd name="connsiteY121" fmla="*/ 53005 h 671017"/>
              <a:gd name="connsiteX122" fmla="*/ 1068553 w 1251813"/>
              <a:gd name="connsiteY122" fmla="*/ 40035 h 671017"/>
              <a:gd name="connsiteX123" fmla="*/ 1055583 w 1251813"/>
              <a:gd name="connsiteY123" fmla="*/ 32141 h 671017"/>
              <a:gd name="connsiteX124" fmla="*/ 1016112 w 1251813"/>
              <a:gd name="connsiteY124" fmla="*/ 38908 h 671017"/>
              <a:gd name="connsiteX125" fmla="*/ 961415 w 1251813"/>
              <a:gd name="connsiteY125" fmla="*/ 31013 h 671017"/>
              <a:gd name="connsiteX126" fmla="*/ 893186 w 1251813"/>
              <a:gd name="connsiteY126" fmla="*/ 33833 h 671017"/>
              <a:gd name="connsiteX127" fmla="*/ 885292 w 1251813"/>
              <a:gd name="connsiteY127" fmla="*/ 29886 h 671017"/>
              <a:gd name="connsiteX128" fmla="*/ 988482 w 1251813"/>
              <a:gd name="connsiteY128" fmla="*/ 27630 h 671017"/>
              <a:gd name="connsiteX129" fmla="*/ 1061222 w 1251813"/>
              <a:gd name="connsiteY129" fmla="*/ 26502 h 671017"/>
              <a:gd name="connsiteX130" fmla="*/ 1098438 w 1251813"/>
              <a:gd name="connsiteY130" fmla="*/ 18608 h 671017"/>
              <a:gd name="connsiteX131" fmla="*/ 987354 w 1251813"/>
              <a:gd name="connsiteY131" fmla="*/ 2256 h 6710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</a:cxnLst>
            <a:rect l="l" t="t" r="r" b="b"/>
            <a:pathLst>
              <a:path w="1251813" h="671017">
                <a:moveTo>
                  <a:pt x="987354" y="2256"/>
                </a:moveTo>
                <a:lnTo>
                  <a:pt x="840745" y="0"/>
                </a:lnTo>
                <a:lnTo>
                  <a:pt x="774207" y="1692"/>
                </a:lnTo>
                <a:lnTo>
                  <a:pt x="746013" y="9022"/>
                </a:lnTo>
                <a:lnTo>
                  <a:pt x="681167" y="8458"/>
                </a:lnTo>
                <a:lnTo>
                  <a:pt x="609555" y="20300"/>
                </a:lnTo>
                <a:lnTo>
                  <a:pt x="600532" y="29886"/>
                </a:lnTo>
                <a:lnTo>
                  <a:pt x="638312" y="41727"/>
                </a:lnTo>
                <a:lnTo>
                  <a:pt x="603352" y="34397"/>
                </a:lnTo>
                <a:lnTo>
                  <a:pt x="577977" y="32705"/>
                </a:lnTo>
                <a:lnTo>
                  <a:pt x="538505" y="24811"/>
                </a:lnTo>
                <a:lnTo>
                  <a:pt x="478734" y="36652"/>
                </a:lnTo>
                <a:lnTo>
                  <a:pt x="463509" y="29886"/>
                </a:lnTo>
                <a:lnTo>
                  <a:pt x="404866" y="29886"/>
                </a:lnTo>
                <a:lnTo>
                  <a:pt x="343403" y="33269"/>
                </a:lnTo>
                <a:lnTo>
                  <a:pt x="293218" y="38908"/>
                </a:lnTo>
                <a:lnTo>
                  <a:pt x="292090" y="49058"/>
                </a:lnTo>
                <a:lnTo>
                  <a:pt x="262204" y="51877"/>
                </a:lnTo>
                <a:lnTo>
                  <a:pt x="179878" y="68229"/>
                </a:lnTo>
                <a:lnTo>
                  <a:pt x="153939" y="77815"/>
                </a:lnTo>
                <a:lnTo>
                  <a:pt x="199614" y="86274"/>
                </a:lnTo>
                <a:lnTo>
                  <a:pt x="183825" y="95296"/>
                </a:lnTo>
                <a:lnTo>
                  <a:pt x="99807" y="107701"/>
                </a:lnTo>
                <a:lnTo>
                  <a:pt x="12405" y="120106"/>
                </a:lnTo>
                <a:lnTo>
                  <a:pt x="0" y="129692"/>
                </a:lnTo>
                <a:lnTo>
                  <a:pt x="36088" y="140970"/>
                </a:lnTo>
                <a:lnTo>
                  <a:pt x="117851" y="147737"/>
                </a:lnTo>
                <a:lnTo>
                  <a:pt x="75560" y="148864"/>
                </a:lnTo>
                <a:lnTo>
                  <a:pt x="14097" y="157323"/>
                </a:lnTo>
                <a:lnTo>
                  <a:pt x="35524" y="174803"/>
                </a:lnTo>
                <a:lnTo>
                  <a:pt x="52441" y="183261"/>
                </a:lnTo>
                <a:lnTo>
                  <a:pt x="105446" y="181569"/>
                </a:lnTo>
                <a:lnTo>
                  <a:pt x="162397" y="180442"/>
                </a:lnTo>
                <a:lnTo>
                  <a:pt x="205252" y="182133"/>
                </a:lnTo>
                <a:lnTo>
                  <a:pt x="250363" y="198486"/>
                </a:lnTo>
                <a:lnTo>
                  <a:pt x="242468" y="210327"/>
                </a:lnTo>
                <a:lnTo>
                  <a:pt x="262768" y="221041"/>
                </a:lnTo>
                <a:lnTo>
                  <a:pt x="270662" y="250927"/>
                </a:lnTo>
                <a:lnTo>
                  <a:pt x="276301" y="271226"/>
                </a:lnTo>
                <a:lnTo>
                  <a:pt x="284196" y="281940"/>
                </a:lnTo>
                <a:lnTo>
                  <a:pt x="244724" y="309006"/>
                </a:lnTo>
                <a:lnTo>
                  <a:pt x="259385" y="316337"/>
                </a:lnTo>
                <a:lnTo>
                  <a:pt x="284196" y="311826"/>
                </a:lnTo>
                <a:lnTo>
                  <a:pt x="298856" y="321975"/>
                </a:lnTo>
                <a:lnTo>
                  <a:pt x="328742" y="341147"/>
                </a:lnTo>
                <a:lnTo>
                  <a:pt x="286451" y="333253"/>
                </a:lnTo>
                <a:lnTo>
                  <a:pt x="265024" y="333253"/>
                </a:lnTo>
                <a:lnTo>
                  <a:pt x="248107" y="349042"/>
                </a:lnTo>
                <a:lnTo>
                  <a:pt x="239649" y="369341"/>
                </a:lnTo>
                <a:lnTo>
                  <a:pt x="263332" y="379491"/>
                </a:lnTo>
                <a:lnTo>
                  <a:pt x="285887" y="374980"/>
                </a:lnTo>
                <a:lnTo>
                  <a:pt x="300548" y="370469"/>
                </a:lnTo>
                <a:lnTo>
                  <a:pt x="331561" y="359755"/>
                </a:lnTo>
                <a:lnTo>
                  <a:pt x="315773" y="383438"/>
                </a:lnTo>
                <a:lnTo>
                  <a:pt x="301112" y="396408"/>
                </a:lnTo>
                <a:lnTo>
                  <a:pt x="261076" y="407685"/>
                </a:lnTo>
                <a:lnTo>
                  <a:pt x="221605" y="443210"/>
                </a:lnTo>
                <a:lnTo>
                  <a:pt x="232882" y="454487"/>
                </a:lnTo>
                <a:lnTo>
                  <a:pt x="213711" y="477043"/>
                </a:lnTo>
                <a:lnTo>
                  <a:pt x="234574" y="506364"/>
                </a:lnTo>
                <a:lnTo>
                  <a:pt x="226116" y="534558"/>
                </a:lnTo>
                <a:lnTo>
                  <a:pt x="230063" y="555422"/>
                </a:lnTo>
                <a:lnTo>
                  <a:pt x="257129" y="595457"/>
                </a:lnTo>
                <a:lnTo>
                  <a:pt x="261640" y="627035"/>
                </a:lnTo>
                <a:lnTo>
                  <a:pt x="279121" y="645079"/>
                </a:lnTo>
                <a:lnTo>
                  <a:pt x="329306" y="645079"/>
                </a:lnTo>
                <a:lnTo>
                  <a:pt x="357500" y="671581"/>
                </a:lnTo>
                <a:lnTo>
                  <a:pt x="394152" y="669889"/>
                </a:lnTo>
                <a:lnTo>
                  <a:pt x="417271" y="637748"/>
                </a:lnTo>
                <a:lnTo>
                  <a:pt x="437007" y="610682"/>
                </a:lnTo>
                <a:lnTo>
                  <a:pt x="435315" y="585871"/>
                </a:lnTo>
                <a:lnTo>
                  <a:pt x="483809" y="559933"/>
                </a:lnTo>
                <a:lnTo>
                  <a:pt x="502417" y="539069"/>
                </a:lnTo>
                <a:lnTo>
                  <a:pt x="510311" y="517078"/>
                </a:lnTo>
                <a:lnTo>
                  <a:pt x="536814" y="497342"/>
                </a:lnTo>
                <a:lnTo>
                  <a:pt x="573466" y="490012"/>
                </a:lnTo>
                <a:lnTo>
                  <a:pt x="607863" y="482117"/>
                </a:lnTo>
                <a:lnTo>
                  <a:pt x="624779" y="480990"/>
                </a:lnTo>
                <a:lnTo>
                  <a:pt x="682295" y="458998"/>
                </a:lnTo>
                <a:lnTo>
                  <a:pt x="724022" y="426857"/>
                </a:lnTo>
                <a:lnTo>
                  <a:pt x="751088" y="415016"/>
                </a:lnTo>
                <a:lnTo>
                  <a:pt x="777027" y="414452"/>
                </a:lnTo>
                <a:lnTo>
                  <a:pt x="847512" y="404302"/>
                </a:lnTo>
                <a:lnTo>
                  <a:pt x="915741" y="380055"/>
                </a:lnTo>
                <a:lnTo>
                  <a:pt x="982843" y="354117"/>
                </a:lnTo>
                <a:lnTo>
                  <a:pt x="951829" y="352425"/>
                </a:lnTo>
                <a:lnTo>
                  <a:pt x="892058" y="351297"/>
                </a:lnTo>
                <a:lnTo>
                  <a:pt x="921944" y="335509"/>
                </a:lnTo>
                <a:lnTo>
                  <a:pt x="919124" y="315209"/>
                </a:lnTo>
                <a:lnTo>
                  <a:pt x="942807" y="332125"/>
                </a:lnTo>
                <a:lnTo>
                  <a:pt x="958032" y="343967"/>
                </a:lnTo>
                <a:lnTo>
                  <a:pt x="999195" y="338328"/>
                </a:lnTo>
                <a:lnTo>
                  <a:pt x="995812" y="314081"/>
                </a:lnTo>
                <a:lnTo>
                  <a:pt x="970438" y="296601"/>
                </a:lnTo>
                <a:lnTo>
                  <a:pt x="942244" y="289270"/>
                </a:lnTo>
                <a:lnTo>
                  <a:pt x="955777" y="281376"/>
                </a:lnTo>
                <a:lnTo>
                  <a:pt x="996376" y="293218"/>
                </a:lnTo>
                <a:lnTo>
                  <a:pt x="999195" y="280248"/>
                </a:lnTo>
                <a:lnTo>
                  <a:pt x="976077" y="261076"/>
                </a:lnTo>
                <a:lnTo>
                  <a:pt x="1006526" y="261076"/>
                </a:lnTo>
                <a:lnTo>
                  <a:pt x="1038103" y="256565"/>
                </a:lnTo>
                <a:lnTo>
                  <a:pt x="1047689" y="246416"/>
                </a:lnTo>
                <a:lnTo>
                  <a:pt x="1025134" y="234574"/>
                </a:lnTo>
                <a:lnTo>
                  <a:pt x="1073628" y="232882"/>
                </a:lnTo>
                <a:lnTo>
                  <a:pt x="1051073" y="208636"/>
                </a:lnTo>
                <a:lnTo>
                  <a:pt x="1074191" y="205816"/>
                </a:lnTo>
                <a:lnTo>
                  <a:pt x="1074756" y="182133"/>
                </a:lnTo>
                <a:lnTo>
                  <a:pt x="1039795" y="168036"/>
                </a:lnTo>
                <a:lnTo>
                  <a:pt x="1075883" y="159014"/>
                </a:lnTo>
                <a:lnTo>
                  <a:pt x="1108588" y="158450"/>
                </a:lnTo>
                <a:lnTo>
                  <a:pt x="1088288" y="140406"/>
                </a:lnTo>
                <a:lnTo>
                  <a:pt x="1094491" y="111648"/>
                </a:lnTo>
                <a:lnTo>
                  <a:pt x="1114791" y="95296"/>
                </a:lnTo>
                <a:lnTo>
                  <a:pt x="1142421" y="77252"/>
                </a:lnTo>
                <a:lnTo>
                  <a:pt x="1097311" y="76124"/>
                </a:lnTo>
                <a:lnTo>
                  <a:pt x="1161029" y="72177"/>
                </a:lnTo>
                <a:lnTo>
                  <a:pt x="1173435" y="66538"/>
                </a:lnTo>
                <a:lnTo>
                  <a:pt x="1255761" y="50185"/>
                </a:lnTo>
                <a:lnTo>
                  <a:pt x="1246739" y="40599"/>
                </a:lnTo>
                <a:lnTo>
                  <a:pt x="1190351" y="36088"/>
                </a:lnTo>
                <a:lnTo>
                  <a:pt x="1095055" y="44547"/>
                </a:lnTo>
                <a:lnTo>
                  <a:pt x="1043178" y="53005"/>
                </a:lnTo>
                <a:lnTo>
                  <a:pt x="1068553" y="40035"/>
                </a:lnTo>
                <a:lnTo>
                  <a:pt x="1055583" y="32141"/>
                </a:lnTo>
                <a:lnTo>
                  <a:pt x="1016112" y="38908"/>
                </a:lnTo>
                <a:lnTo>
                  <a:pt x="961415" y="31013"/>
                </a:lnTo>
                <a:lnTo>
                  <a:pt x="893186" y="33833"/>
                </a:lnTo>
                <a:lnTo>
                  <a:pt x="885292" y="29886"/>
                </a:lnTo>
                <a:lnTo>
                  <a:pt x="988482" y="27630"/>
                </a:lnTo>
                <a:lnTo>
                  <a:pt x="1061222" y="26502"/>
                </a:lnTo>
                <a:lnTo>
                  <a:pt x="1098438" y="18608"/>
                </a:lnTo>
                <a:lnTo>
                  <a:pt x="987354" y="2256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9" name="Freeform: Shape 302">
            <a:extLst>
              <a:ext uri="{FF2B5EF4-FFF2-40B4-BE49-F238E27FC236}">
                <a16:creationId xmlns:a16="http://schemas.microsoft.com/office/drawing/2014/main" id="{F2D31B7F-1977-463B-863F-0AE6621C8602}"/>
              </a:ext>
            </a:extLst>
          </p:cNvPr>
          <p:cNvSpPr/>
          <p:nvPr/>
        </p:nvSpPr>
        <p:spPr>
          <a:xfrm>
            <a:off x="3678969" y="3645039"/>
            <a:ext cx="96917" cy="109559"/>
          </a:xfrm>
          <a:custGeom>
            <a:avLst/>
            <a:gdLst>
              <a:gd name="connsiteX0" fmla="*/ 110520 w 129692"/>
              <a:gd name="connsiteY0" fmla="*/ 564 h 146608"/>
              <a:gd name="connsiteX1" fmla="*/ 81763 w 129692"/>
              <a:gd name="connsiteY1" fmla="*/ 0 h 146608"/>
              <a:gd name="connsiteX2" fmla="*/ 52441 w 129692"/>
              <a:gd name="connsiteY2" fmla="*/ 0 h 146608"/>
              <a:gd name="connsiteX3" fmla="*/ 50185 w 129692"/>
              <a:gd name="connsiteY3" fmla="*/ 20300 h 146608"/>
              <a:gd name="connsiteX4" fmla="*/ 35524 w 129692"/>
              <a:gd name="connsiteY4" fmla="*/ 20300 h 146608"/>
              <a:gd name="connsiteX5" fmla="*/ 45674 w 129692"/>
              <a:gd name="connsiteY5" fmla="*/ 32141 h 146608"/>
              <a:gd name="connsiteX6" fmla="*/ 56388 w 129692"/>
              <a:gd name="connsiteY6" fmla="*/ 40599 h 146608"/>
              <a:gd name="connsiteX7" fmla="*/ 59207 w 129692"/>
              <a:gd name="connsiteY7" fmla="*/ 48494 h 146608"/>
              <a:gd name="connsiteX8" fmla="*/ 63718 w 129692"/>
              <a:gd name="connsiteY8" fmla="*/ 50749 h 146608"/>
              <a:gd name="connsiteX9" fmla="*/ 61463 w 129692"/>
              <a:gd name="connsiteY9" fmla="*/ 62591 h 146608"/>
              <a:gd name="connsiteX10" fmla="*/ 21427 w 129692"/>
              <a:gd name="connsiteY10" fmla="*/ 62591 h 146608"/>
              <a:gd name="connsiteX11" fmla="*/ 2819 w 129692"/>
              <a:gd name="connsiteY11" fmla="*/ 91913 h 146608"/>
              <a:gd name="connsiteX12" fmla="*/ 6766 w 129692"/>
              <a:gd name="connsiteY12" fmla="*/ 98679 h 146608"/>
              <a:gd name="connsiteX13" fmla="*/ 2255 w 129692"/>
              <a:gd name="connsiteY13" fmla="*/ 107137 h 146608"/>
              <a:gd name="connsiteX14" fmla="*/ 0 w 129692"/>
              <a:gd name="connsiteY14" fmla="*/ 117851 h 146608"/>
              <a:gd name="connsiteX15" fmla="*/ 15225 w 129692"/>
              <a:gd name="connsiteY15" fmla="*/ 132512 h 146608"/>
              <a:gd name="connsiteX16" fmla="*/ 29322 w 129692"/>
              <a:gd name="connsiteY16" fmla="*/ 139842 h 146608"/>
              <a:gd name="connsiteX17" fmla="*/ 48494 w 129692"/>
              <a:gd name="connsiteY17" fmla="*/ 140406 h 146608"/>
              <a:gd name="connsiteX18" fmla="*/ 64282 w 129692"/>
              <a:gd name="connsiteY18" fmla="*/ 146609 h 146608"/>
              <a:gd name="connsiteX19" fmla="*/ 65410 w 129692"/>
              <a:gd name="connsiteY19" fmla="*/ 140970 h 146608"/>
              <a:gd name="connsiteX20" fmla="*/ 77251 w 129692"/>
              <a:gd name="connsiteY20" fmla="*/ 131948 h 146608"/>
              <a:gd name="connsiteX21" fmla="*/ 83454 w 129692"/>
              <a:gd name="connsiteY21" fmla="*/ 128001 h 146608"/>
              <a:gd name="connsiteX22" fmla="*/ 82326 w 129692"/>
              <a:gd name="connsiteY22" fmla="*/ 124054 h 146608"/>
              <a:gd name="connsiteX23" fmla="*/ 90221 w 129692"/>
              <a:gd name="connsiteY23" fmla="*/ 121798 h 146608"/>
              <a:gd name="connsiteX24" fmla="*/ 97551 w 129692"/>
              <a:gd name="connsiteY24" fmla="*/ 112776 h 146608"/>
              <a:gd name="connsiteX25" fmla="*/ 95860 w 129692"/>
              <a:gd name="connsiteY25" fmla="*/ 105446 h 146608"/>
              <a:gd name="connsiteX26" fmla="*/ 98679 w 129692"/>
              <a:gd name="connsiteY26" fmla="*/ 98679 h 146608"/>
              <a:gd name="connsiteX27" fmla="*/ 114468 w 129692"/>
              <a:gd name="connsiteY27" fmla="*/ 88529 h 146608"/>
              <a:gd name="connsiteX28" fmla="*/ 130256 w 129692"/>
              <a:gd name="connsiteY28" fmla="*/ 74996 h 146608"/>
              <a:gd name="connsiteX29" fmla="*/ 121798 w 129692"/>
              <a:gd name="connsiteY29" fmla="*/ 70485 h 146608"/>
              <a:gd name="connsiteX30" fmla="*/ 118415 w 129692"/>
              <a:gd name="connsiteY30" fmla="*/ 75560 h 146608"/>
              <a:gd name="connsiteX31" fmla="*/ 108829 w 129692"/>
              <a:gd name="connsiteY31" fmla="*/ 69357 h 146608"/>
              <a:gd name="connsiteX32" fmla="*/ 99807 w 129692"/>
              <a:gd name="connsiteY32" fmla="*/ 69357 h 146608"/>
              <a:gd name="connsiteX33" fmla="*/ 106573 w 129692"/>
              <a:gd name="connsiteY33" fmla="*/ 28758 h 146608"/>
              <a:gd name="connsiteX34" fmla="*/ 110520 w 129692"/>
              <a:gd name="connsiteY34" fmla="*/ 564 h 1466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29692" h="146608">
                <a:moveTo>
                  <a:pt x="110520" y="564"/>
                </a:moveTo>
                <a:lnTo>
                  <a:pt x="81763" y="0"/>
                </a:lnTo>
                <a:lnTo>
                  <a:pt x="52441" y="0"/>
                </a:lnTo>
                <a:lnTo>
                  <a:pt x="50185" y="20300"/>
                </a:lnTo>
                <a:lnTo>
                  <a:pt x="35524" y="20300"/>
                </a:lnTo>
                <a:lnTo>
                  <a:pt x="45674" y="32141"/>
                </a:lnTo>
                <a:lnTo>
                  <a:pt x="56388" y="40599"/>
                </a:lnTo>
                <a:lnTo>
                  <a:pt x="59207" y="48494"/>
                </a:lnTo>
                <a:lnTo>
                  <a:pt x="63718" y="50749"/>
                </a:lnTo>
                <a:lnTo>
                  <a:pt x="61463" y="62591"/>
                </a:lnTo>
                <a:lnTo>
                  <a:pt x="21427" y="62591"/>
                </a:lnTo>
                <a:lnTo>
                  <a:pt x="2819" y="91913"/>
                </a:lnTo>
                <a:lnTo>
                  <a:pt x="6766" y="98679"/>
                </a:lnTo>
                <a:lnTo>
                  <a:pt x="2255" y="107137"/>
                </a:lnTo>
                <a:lnTo>
                  <a:pt x="0" y="117851"/>
                </a:lnTo>
                <a:lnTo>
                  <a:pt x="15225" y="132512"/>
                </a:lnTo>
                <a:lnTo>
                  <a:pt x="29322" y="139842"/>
                </a:lnTo>
                <a:lnTo>
                  <a:pt x="48494" y="140406"/>
                </a:lnTo>
                <a:lnTo>
                  <a:pt x="64282" y="146609"/>
                </a:lnTo>
                <a:lnTo>
                  <a:pt x="65410" y="140970"/>
                </a:lnTo>
                <a:lnTo>
                  <a:pt x="77251" y="131948"/>
                </a:lnTo>
                <a:lnTo>
                  <a:pt x="83454" y="128001"/>
                </a:lnTo>
                <a:lnTo>
                  <a:pt x="82326" y="124054"/>
                </a:lnTo>
                <a:lnTo>
                  <a:pt x="90221" y="121798"/>
                </a:lnTo>
                <a:lnTo>
                  <a:pt x="97551" y="112776"/>
                </a:lnTo>
                <a:lnTo>
                  <a:pt x="95860" y="105446"/>
                </a:lnTo>
                <a:lnTo>
                  <a:pt x="98679" y="98679"/>
                </a:lnTo>
                <a:lnTo>
                  <a:pt x="114468" y="88529"/>
                </a:lnTo>
                <a:lnTo>
                  <a:pt x="130256" y="74996"/>
                </a:lnTo>
                <a:lnTo>
                  <a:pt x="121798" y="70485"/>
                </a:lnTo>
                <a:lnTo>
                  <a:pt x="118415" y="75560"/>
                </a:lnTo>
                <a:lnTo>
                  <a:pt x="108829" y="69357"/>
                </a:lnTo>
                <a:lnTo>
                  <a:pt x="99807" y="69357"/>
                </a:lnTo>
                <a:lnTo>
                  <a:pt x="106573" y="28758"/>
                </a:lnTo>
                <a:lnTo>
                  <a:pt x="110520" y="564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0" name="Freeform: Shape 303">
            <a:extLst>
              <a:ext uri="{FF2B5EF4-FFF2-40B4-BE49-F238E27FC236}">
                <a16:creationId xmlns:a16="http://schemas.microsoft.com/office/drawing/2014/main" id="{3BDD2F0E-E754-457E-A8EF-82426BCC99FA}"/>
              </a:ext>
            </a:extLst>
          </p:cNvPr>
          <p:cNvSpPr/>
          <p:nvPr/>
        </p:nvSpPr>
        <p:spPr>
          <a:xfrm>
            <a:off x="4391099" y="3898288"/>
            <a:ext cx="109559" cy="189620"/>
          </a:xfrm>
          <a:custGeom>
            <a:avLst/>
            <a:gdLst>
              <a:gd name="connsiteX0" fmla="*/ 134767 w 146608"/>
              <a:gd name="connsiteY0" fmla="*/ 86274 h 253746"/>
              <a:gd name="connsiteX1" fmla="*/ 122926 w 146608"/>
              <a:gd name="connsiteY1" fmla="*/ 73304 h 253746"/>
              <a:gd name="connsiteX2" fmla="*/ 106573 w 146608"/>
              <a:gd name="connsiteY2" fmla="*/ 55824 h 253746"/>
              <a:gd name="connsiteX3" fmla="*/ 94732 w 146608"/>
              <a:gd name="connsiteY3" fmla="*/ 55260 h 253746"/>
              <a:gd name="connsiteX4" fmla="*/ 94168 w 146608"/>
              <a:gd name="connsiteY4" fmla="*/ 36652 h 253746"/>
              <a:gd name="connsiteX5" fmla="*/ 75560 w 146608"/>
              <a:gd name="connsiteY5" fmla="*/ 13533 h 253746"/>
              <a:gd name="connsiteX6" fmla="*/ 55260 w 146608"/>
              <a:gd name="connsiteY6" fmla="*/ 0 h 253746"/>
              <a:gd name="connsiteX7" fmla="*/ 29322 w 146608"/>
              <a:gd name="connsiteY7" fmla="*/ 21427 h 253746"/>
              <a:gd name="connsiteX8" fmla="*/ 25938 w 146608"/>
              <a:gd name="connsiteY8" fmla="*/ 34397 h 253746"/>
              <a:gd name="connsiteX9" fmla="*/ 36652 w 146608"/>
              <a:gd name="connsiteY9" fmla="*/ 47366 h 253746"/>
              <a:gd name="connsiteX10" fmla="*/ 28194 w 146608"/>
              <a:gd name="connsiteY10" fmla="*/ 54132 h 253746"/>
              <a:gd name="connsiteX11" fmla="*/ 9022 w 146608"/>
              <a:gd name="connsiteY11" fmla="*/ 60335 h 253746"/>
              <a:gd name="connsiteX12" fmla="*/ 9022 w 146608"/>
              <a:gd name="connsiteY12" fmla="*/ 76688 h 253746"/>
              <a:gd name="connsiteX13" fmla="*/ 0 w 146608"/>
              <a:gd name="connsiteY13" fmla="*/ 86837 h 253746"/>
              <a:gd name="connsiteX14" fmla="*/ 20864 w 146608"/>
              <a:gd name="connsiteY14" fmla="*/ 113903 h 253746"/>
              <a:gd name="connsiteX15" fmla="*/ 37216 w 146608"/>
              <a:gd name="connsiteY15" fmla="*/ 112212 h 253746"/>
              <a:gd name="connsiteX16" fmla="*/ 44546 w 146608"/>
              <a:gd name="connsiteY16" fmla="*/ 120670 h 253746"/>
              <a:gd name="connsiteX17" fmla="*/ 40035 w 146608"/>
              <a:gd name="connsiteY17" fmla="*/ 136459 h 253746"/>
              <a:gd name="connsiteX18" fmla="*/ 50749 w 146608"/>
              <a:gd name="connsiteY18" fmla="*/ 141534 h 253746"/>
              <a:gd name="connsiteX19" fmla="*/ 57516 w 146608"/>
              <a:gd name="connsiteY19" fmla="*/ 158450 h 253746"/>
              <a:gd name="connsiteX20" fmla="*/ 48494 w 146608"/>
              <a:gd name="connsiteY20" fmla="*/ 170856 h 253746"/>
              <a:gd name="connsiteX21" fmla="*/ 42855 w 146608"/>
              <a:gd name="connsiteY21" fmla="*/ 201305 h 253746"/>
              <a:gd name="connsiteX22" fmla="*/ 50749 w 146608"/>
              <a:gd name="connsiteY22" fmla="*/ 219913 h 253746"/>
              <a:gd name="connsiteX23" fmla="*/ 52441 w 146608"/>
              <a:gd name="connsiteY23" fmla="*/ 236266 h 253746"/>
              <a:gd name="connsiteX24" fmla="*/ 72177 w 146608"/>
              <a:gd name="connsiteY24" fmla="*/ 253182 h 253746"/>
              <a:gd name="connsiteX25" fmla="*/ 87401 w 146608"/>
              <a:gd name="connsiteY25" fmla="*/ 254874 h 253746"/>
              <a:gd name="connsiteX26" fmla="*/ 91349 w 146608"/>
              <a:gd name="connsiteY26" fmla="*/ 247543 h 253746"/>
              <a:gd name="connsiteX27" fmla="*/ 100934 w 146608"/>
              <a:gd name="connsiteY27" fmla="*/ 246415 h 253746"/>
              <a:gd name="connsiteX28" fmla="*/ 115595 w 146608"/>
              <a:gd name="connsiteY28" fmla="*/ 240213 h 253746"/>
              <a:gd name="connsiteX29" fmla="*/ 125745 w 146608"/>
              <a:gd name="connsiteY29" fmla="*/ 230627 h 253746"/>
              <a:gd name="connsiteX30" fmla="*/ 143225 w 146608"/>
              <a:gd name="connsiteY30" fmla="*/ 233446 h 253746"/>
              <a:gd name="connsiteX31" fmla="*/ 151120 w 146608"/>
              <a:gd name="connsiteY31" fmla="*/ 232318 h 253746"/>
              <a:gd name="connsiteX32" fmla="*/ 132512 w 146608"/>
              <a:gd name="connsiteY32" fmla="*/ 200741 h 253746"/>
              <a:gd name="connsiteX33" fmla="*/ 128565 w 146608"/>
              <a:gd name="connsiteY33" fmla="*/ 181005 h 253746"/>
              <a:gd name="connsiteX34" fmla="*/ 118415 w 146608"/>
              <a:gd name="connsiteY34" fmla="*/ 180442 h 253746"/>
              <a:gd name="connsiteX35" fmla="*/ 104882 w 146608"/>
              <a:gd name="connsiteY35" fmla="*/ 154503 h 253746"/>
              <a:gd name="connsiteX36" fmla="*/ 111084 w 146608"/>
              <a:gd name="connsiteY36" fmla="*/ 135895 h 253746"/>
              <a:gd name="connsiteX37" fmla="*/ 109393 w 146608"/>
              <a:gd name="connsiteY37" fmla="*/ 127437 h 253746"/>
              <a:gd name="connsiteX38" fmla="*/ 129128 w 146608"/>
              <a:gd name="connsiteY38" fmla="*/ 118415 h 253746"/>
              <a:gd name="connsiteX39" fmla="*/ 134767 w 146608"/>
              <a:gd name="connsiteY39" fmla="*/ 86274 h 253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6608" h="253746">
                <a:moveTo>
                  <a:pt x="134767" y="86274"/>
                </a:moveTo>
                <a:lnTo>
                  <a:pt x="122926" y="73304"/>
                </a:lnTo>
                <a:lnTo>
                  <a:pt x="106573" y="55824"/>
                </a:lnTo>
                <a:lnTo>
                  <a:pt x="94732" y="55260"/>
                </a:lnTo>
                <a:lnTo>
                  <a:pt x="94168" y="36652"/>
                </a:lnTo>
                <a:lnTo>
                  <a:pt x="75560" y="13533"/>
                </a:lnTo>
                <a:lnTo>
                  <a:pt x="55260" y="0"/>
                </a:lnTo>
                <a:lnTo>
                  <a:pt x="29322" y="21427"/>
                </a:lnTo>
                <a:lnTo>
                  <a:pt x="25938" y="34397"/>
                </a:lnTo>
                <a:lnTo>
                  <a:pt x="36652" y="47366"/>
                </a:lnTo>
                <a:lnTo>
                  <a:pt x="28194" y="54132"/>
                </a:lnTo>
                <a:lnTo>
                  <a:pt x="9022" y="60335"/>
                </a:lnTo>
                <a:lnTo>
                  <a:pt x="9022" y="76688"/>
                </a:lnTo>
                <a:lnTo>
                  <a:pt x="0" y="86837"/>
                </a:lnTo>
                <a:lnTo>
                  <a:pt x="20864" y="113903"/>
                </a:lnTo>
                <a:lnTo>
                  <a:pt x="37216" y="112212"/>
                </a:lnTo>
                <a:lnTo>
                  <a:pt x="44546" y="120670"/>
                </a:lnTo>
                <a:lnTo>
                  <a:pt x="40035" y="136459"/>
                </a:lnTo>
                <a:lnTo>
                  <a:pt x="50749" y="141534"/>
                </a:lnTo>
                <a:lnTo>
                  <a:pt x="57516" y="158450"/>
                </a:lnTo>
                <a:lnTo>
                  <a:pt x="48494" y="170856"/>
                </a:lnTo>
                <a:lnTo>
                  <a:pt x="42855" y="201305"/>
                </a:lnTo>
                <a:lnTo>
                  <a:pt x="50749" y="219913"/>
                </a:lnTo>
                <a:lnTo>
                  <a:pt x="52441" y="236266"/>
                </a:lnTo>
                <a:lnTo>
                  <a:pt x="72177" y="253182"/>
                </a:lnTo>
                <a:lnTo>
                  <a:pt x="87401" y="254874"/>
                </a:lnTo>
                <a:lnTo>
                  <a:pt x="91349" y="247543"/>
                </a:lnTo>
                <a:lnTo>
                  <a:pt x="100934" y="246415"/>
                </a:lnTo>
                <a:lnTo>
                  <a:pt x="115595" y="240213"/>
                </a:lnTo>
                <a:lnTo>
                  <a:pt x="125745" y="230627"/>
                </a:lnTo>
                <a:lnTo>
                  <a:pt x="143225" y="233446"/>
                </a:lnTo>
                <a:lnTo>
                  <a:pt x="151120" y="232318"/>
                </a:lnTo>
                <a:lnTo>
                  <a:pt x="132512" y="200741"/>
                </a:lnTo>
                <a:lnTo>
                  <a:pt x="128565" y="181005"/>
                </a:lnTo>
                <a:lnTo>
                  <a:pt x="118415" y="180442"/>
                </a:lnTo>
                <a:lnTo>
                  <a:pt x="104882" y="154503"/>
                </a:lnTo>
                <a:lnTo>
                  <a:pt x="111084" y="135895"/>
                </a:lnTo>
                <a:lnTo>
                  <a:pt x="109393" y="127437"/>
                </a:lnTo>
                <a:lnTo>
                  <a:pt x="129128" y="118415"/>
                </a:lnTo>
                <a:lnTo>
                  <a:pt x="134767" y="86274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1" name="Freeform: Shape 304">
            <a:extLst>
              <a:ext uri="{FF2B5EF4-FFF2-40B4-BE49-F238E27FC236}">
                <a16:creationId xmlns:a16="http://schemas.microsoft.com/office/drawing/2014/main" id="{3DFCD5A0-2A57-49B3-BE59-3159508DA43F}"/>
              </a:ext>
            </a:extLst>
          </p:cNvPr>
          <p:cNvSpPr/>
          <p:nvPr/>
        </p:nvSpPr>
        <p:spPr>
          <a:xfrm>
            <a:off x="3746390" y="3693497"/>
            <a:ext cx="143269" cy="80062"/>
          </a:xfrm>
          <a:custGeom>
            <a:avLst/>
            <a:gdLst>
              <a:gd name="connsiteX0" fmla="*/ 196794 w 191719"/>
              <a:gd name="connsiteY0" fmla="*/ 36652 h 107137"/>
              <a:gd name="connsiteX1" fmla="*/ 189464 w 191719"/>
              <a:gd name="connsiteY1" fmla="*/ 26502 h 107137"/>
              <a:gd name="connsiteX2" fmla="*/ 178750 w 191719"/>
              <a:gd name="connsiteY2" fmla="*/ 20864 h 107137"/>
              <a:gd name="connsiteX3" fmla="*/ 170292 w 191719"/>
              <a:gd name="connsiteY3" fmla="*/ 12969 h 107137"/>
              <a:gd name="connsiteX4" fmla="*/ 161270 w 191719"/>
              <a:gd name="connsiteY4" fmla="*/ 6203 h 107137"/>
              <a:gd name="connsiteX5" fmla="*/ 156759 w 191719"/>
              <a:gd name="connsiteY5" fmla="*/ 5639 h 107137"/>
              <a:gd name="connsiteX6" fmla="*/ 142662 w 191719"/>
              <a:gd name="connsiteY6" fmla="*/ 564 h 107137"/>
              <a:gd name="connsiteX7" fmla="*/ 136459 w 191719"/>
              <a:gd name="connsiteY7" fmla="*/ 3383 h 107137"/>
              <a:gd name="connsiteX8" fmla="*/ 128001 w 191719"/>
              <a:gd name="connsiteY8" fmla="*/ 4511 h 107137"/>
              <a:gd name="connsiteX9" fmla="*/ 120670 w 191719"/>
              <a:gd name="connsiteY9" fmla="*/ 2256 h 107137"/>
              <a:gd name="connsiteX10" fmla="*/ 111084 w 191719"/>
              <a:gd name="connsiteY10" fmla="*/ 0 h 107137"/>
              <a:gd name="connsiteX11" fmla="*/ 106573 w 191719"/>
              <a:gd name="connsiteY11" fmla="*/ 3947 h 107137"/>
              <a:gd name="connsiteX12" fmla="*/ 96423 w 191719"/>
              <a:gd name="connsiteY12" fmla="*/ 7894 h 107137"/>
              <a:gd name="connsiteX13" fmla="*/ 81763 w 191719"/>
              <a:gd name="connsiteY13" fmla="*/ 9022 h 107137"/>
              <a:gd name="connsiteX14" fmla="*/ 67666 w 191719"/>
              <a:gd name="connsiteY14" fmla="*/ 5639 h 107137"/>
              <a:gd name="connsiteX15" fmla="*/ 62591 w 191719"/>
              <a:gd name="connsiteY15" fmla="*/ 7894 h 107137"/>
              <a:gd name="connsiteX16" fmla="*/ 59771 w 191719"/>
              <a:gd name="connsiteY16" fmla="*/ 4511 h 107137"/>
              <a:gd name="connsiteX17" fmla="*/ 50749 w 191719"/>
              <a:gd name="connsiteY17" fmla="*/ 5075 h 107137"/>
              <a:gd name="connsiteX18" fmla="*/ 43419 w 191719"/>
              <a:gd name="connsiteY18" fmla="*/ 11278 h 107137"/>
              <a:gd name="connsiteX19" fmla="*/ 40035 w 191719"/>
              <a:gd name="connsiteY19" fmla="*/ 10150 h 107137"/>
              <a:gd name="connsiteX20" fmla="*/ 24247 w 191719"/>
              <a:gd name="connsiteY20" fmla="*/ 23683 h 107137"/>
              <a:gd name="connsiteX21" fmla="*/ 8458 w 191719"/>
              <a:gd name="connsiteY21" fmla="*/ 33833 h 107137"/>
              <a:gd name="connsiteX22" fmla="*/ 5639 w 191719"/>
              <a:gd name="connsiteY22" fmla="*/ 40599 h 107137"/>
              <a:gd name="connsiteX23" fmla="*/ 7330 w 191719"/>
              <a:gd name="connsiteY23" fmla="*/ 47930 h 107137"/>
              <a:gd name="connsiteX24" fmla="*/ 0 w 191719"/>
              <a:gd name="connsiteY24" fmla="*/ 56952 h 107137"/>
              <a:gd name="connsiteX25" fmla="*/ 8458 w 191719"/>
              <a:gd name="connsiteY25" fmla="*/ 59771 h 107137"/>
              <a:gd name="connsiteX26" fmla="*/ 14661 w 191719"/>
              <a:gd name="connsiteY26" fmla="*/ 67102 h 107137"/>
              <a:gd name="connsiteX27" fmla="*/ 23683 w 191719"/>
              <a:gd name="connsiteY27" fmla="*/ 72741 h 107137"/>
              <a:gd name="connsiteX28" fmla="*/ 24247 w 191719"/>
              <a:gd name="connsiteY28" fmla="*/ 77816 h 107137"/>
              <a:gd name="connsiteX29" fmla="*/ 38344 w 191719"/>
              <a:gd name="connsiteY29" fmla="*/ 73304 h 107137"/>
              <a:gd name="connsiteX30" fmla="*/ 44546 w 191719"/>
              <a:gd name="connsiteY30" fmla="*/ 76124 h 107137"/>
              <a:gd name="connsiteX31" fmla="*/ 48494 w 191719"/>
              <a:gd name="connsiteY31" fmla="*/ 80071 h 107137"/>
              <a:gd name="connsiteX32" fmla="*/ 45110 w 191719"/>
              <a:gd name="connsiteY32" fmla="*/ 94168 h 107137"/>
              <a:gd name="connsiteX33" fmla="*/ 54696 w 191719"/>
              <a:gd name="connsiteY33" fmla="*/ 97551 h 107137"/>
              <a:gd name="connsiteX34" fmla="*/ 58643 w 191719"/>
              <a:gd name="connsiteY34" fmla="*/ 108829 h 107137"/>
              <a:gd name="connsiteX35" fmla="*/ 68793 w 191719"/>
              <a:gd name="connsiteY35" fmla="*/ 107137 h 107137"/>
              <a:gd name="connsiteX36" fmla="*/ 73304 w 191719"/>
              <a:gd name="connsiteY36" fmla="*/ 98679 h 107137"/>
              <a:gd name="connsiteX37" fmla="*/ 77815 w 191719"/>
              <a:gd name="connsiteY37" fmla="*/ 98679 h 107137"/>
              <a:gd name="connsiteX38" fmla="*/ 78943 w 191719"/>
              <a:gd name="connsiteY38" fmla="*/ 81199 h 107137"/>
              <a:gd name="connsiteX39" fmla="*/ 86274 w 191719"/>
              <a:gd name="connsiteY39" fmla="*/ 80071 h 107137"/>
              <a:gd name="connsiteX40" fmla="*/ 93040 w 191719"/>
              <a:gd name="connsiteY40" fmla="*/ 80071 h 107137"/>
              <a:gd name="connsiteX41" fmla="*/ 100934 w 191719"/>
              <a:gd name="connsiteY41" fmla="*/ 70485 h 107137"/>
              <a:gd name="connsiteX42" fmla="*/ 109393 w 191719"/>
              <a:gd name="connsiteY42" fmla="*/ 77816 h 107137"/>
              <a:gd name="connsiteX43" fmla="*/ 112776 w 191719"/>
              <a:gd name="connsiteY43" fmla="*/ 73304 h 107137"/>
              <a:gd name="connsiteX44" fmla="*/ 118979 w 191719"/>
              <a:gd name="connsiteY44" fmla="*/ 69357 h 107137"/>
              <a:gd name="connsiteX45" fmla="*/ 130820 w 191719"/>
              <a:gd name="connsiteY45" fmla="*/ 59207 h 107137"/>
              <a:gd name="connsiteX46" fmla="*/ 132512 w 191719"/>
              <a:gd name="connsiteY46" fmla="*/ 51877 h 107137"/>
              <a:gd name="connsiteX47" fmla="*/ 135331 w 191719"/>
              <a:gd name="connsiteY47" fmla="*/ 52441 h 107137"/>
              <a:gd name="connsiteX48" fmla="*/ 139842 w 191719"/>
              <a:gd name="connsiteY48" fmla="*/ 43983 h 107137"/>
              <a:gd name="connsiteX49" fmla="*/ 143225 w 191719"/>
              <a:gd name="connsiteY49" fmla="*/ 42855 h 107137"/>
              <a:gd name="connsiteX50" fmla="*/ 148300 w 191719"/>
              <a:gd name="connsiteY50" fmla="*/ 47930 h 107137"/>
              <a:gd name="connsiteX51" fmla="*/ 154503 w 191719"/>
              <a:gd name="connsiteY51" fmla="*/ 49622 h 107137"/>
              <a:gd name="connsiteX52" fmla="*/ 161833 w 191719"/>
              <a:gd name="connsiteY52" fmla="*/ 45110 h 107137"/>
              <a:gd name="connsiteX53" fmla="*/ 169728 w 191719"/>
              <a:gd name="connsiteY53" fmla="*/ 45110 h 107137"/>
              <a:gd name="connsiteX54" fmla="*/ 181005 w 191719"/>
              <a:gd name="connsiteY54" fmla="*/ 40599 h 107137"/>
              <a:gd name="connsiteX55" fmla="*/ 186080 w 191719"/>
              <a:gd name="connsiteY55" fmla="*/ 35525 h 107137"/>
              <a:gd name="connsiteX56" fmla="*/ 196794 w 191719"/>
              <a:gd name="connsiteY56" fmla="*/ 36652 h 107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</a:cxnLst>
            <a:rect l="l" t="t" r="r" b="b"/>
            <a:pathLst>
              <a:path w="191719" h="107137">
                <a:moveTo>
                  <a:pt x="196794" y="36652"/>
                </a:moveTo>
                <a:lnTo>
                  <a:pt x="189464" y="26502"/>
                </a:lnTo>
                <a:lnTo>
                  <a:pt x="178750" y="20864"/>
                </a:lnTo>
                <a:lnTo>
                  <a:pt x="170292" y="12969"/>
                </a:lnTo>
                <a:lnTo>
                  <a:pt x="161270" y="6203"/>
                </a:lnTo>
                <a:lnTo>
                  <a:pt x="156759" y="5639"/>
                </a:lnTo>
                <a:lnTo>
                  <a:pt x="142662" y="564"/>
                </a:lnTo>
                <a:lnTo>
                  <a:pt x="136459" y="3383"/>
                </a:lnTo>
                <a:lnTo>
                  <a:pt x="128001" y="4511"/>
                </a:lnTo>
                <a:lnTo>
                  <a:pt x="120670" y="2256"/>
                </a:lnTo>
                <a:lnTo>
                  <a:pt x="111084" y="0"/>
                </a:lnTo>
                <a:lnTo>
                  <a:pt x="106573" y="3947"/>
                </a:lnTo>
                <a:lnTo>
                  <a:pt x="96423" y="7894"/>
                </a:lnTo>
                <a:lnTo>
                  <a:pt x="81763" y="9022"/>
                </a:lnTo>
                <a:lnTo>
                  <a:pt x="67666" y="5639"/>
                </a:lnTo>
                <a:lnTo>
                  <a:pt x="62591" y="7894"/>
                </a:lnTo>
                <a:lnTo>
                  <a:pt x="59771" y="4511"/>
                </a:lnTo>
                <a:lnTo>
                  <a:pt x="50749" y="5075"/>
                </a:lnTo>
                <a:lnTo>
                  <a:pt x="43419" y="11278"/>
                </a:lnTo>
                <a:lnTo>
                  <a:pt x="40035" y="10150"/>
                </a:lnTo>
                <a:lnTo>
                  <a:pt x="24247" y="23683"/>
                </a:lnTo>
                <a:lnTo>
                  <a:pt x="8458" y="33833"/>
                </a:lnTo>
                <a:lnTo>
                  <a:pt x="5639" y="40599"/>
                </a:lnTo>
                <a:lnTo>
                  <a:pt x="7330" y="47930"/>
                </a:lnTo>
                <a:lnTo>
                  <a:pt x="0" y="56952"/>
                </a:lnTo>
                <a:lnTo>
                  <a:pt x="8458" y="59771"/>
                </a:lnTo>
                <a:lnTo>
                  <a:pt x="14661" y="67102"/>
                </a:lnTo>
                <a:lnTo>
                  <a:pt x="23683" y="72741"/>
                </a:lnTo>
                <a:lnTo>
                  <a:pt x="24247" y="77816"/>
                </a:lnTo>
                <a:lnTo>
                  <a:pt x="38344" y="73304"/>
                </a:lnTo>
                <a:lnTo>
                  <a:pt x="44546" y="76124"/>
                </a:lnTo>
                <a:lnTo>
                  <a:pt x="48494" y="80071"/>
                </a:lnTo>
                <a:lnTo>
                  <a:pt x="45110" y="94168"/>
                </a:lnTo>
                <a:lnTo>
                  <a:pt x="54696" y="97551"/>
                </a:lnTo>
                <a:lnTo>
                  <a:pt x="58643" y="108829"/>
                </a:lnTo>
                <a:lnTo>
                  <a:pt x="68793" y="107137"/>
                </a:lnTo>
                <a:lnTo>
                  <a:pt x="73304" y="98679"/>
                </a:lnTo>
                <a:lnTo>
                  <a:pt x="77815" y="98679"/>
                </a:lnTo>
                <a:lnTo>
                  <a:pt x="78943" y="81199"/>
                </a:lnTo>
                <a:lnTo>
                  <a:pt x="86274" y="80071"/>
                </a:lnTo>
                <a:lnTo>
                  <a:pt x="93040" y="80071"/>
                </a:lnTo>
                <a:lnTo>
                  <a:pt x="100934" y="70485"/>
                </a:lnTo>
                <a:lnTo>
                  <a:pt x="109393" y="77816"/>
                </a:lnTo>
                <a:lnTo>
                  <a:pt x="112776" y="73304"/>
                </a:lnTo>
                <a:lnTo>
                  <a:pt x="118979" y="69357"/>
                </a:lnTo>
                <a:lnTo>
                  <a:pt x="130820" y="59207"/>
                </a:lnTo>
                <a:lnTo>
                  <a:pt x="132512" y="51877"/>
                </a:lnTo>
                <a:lnTo>
                  <a:pt x="135331" y="52441"/>
                </a:lnTo>
                <a:lnTo>
                  <a:pt x="139842" y="43983"/>
                </a:lnTo>
                <a:lnTo>
                  <a:pt x="143225" y="42855"/>
                </a:lnTo>
                <a:lnTo>
                  <a:pt x="148300" y="47930"/>
                </a:lnTo>
                <a:lnTo>
                  <a:pt x="154503" y="49622"/>
                </a:lnTo>
                <a:lnTo>
                  <a:pt x="161833" y="45110"/>
                </a:lnTo>
                <a:lnTo>
                  <a:pt x="169728" y="45110"/>
                </a:lnTo>
                <a:lnTo>
                  <a:pt x="181005" y="40599"/>
                </a:lnTo>
                <a:lnTo>
                  <a:pt x="186080" y="35525"/>
                </a:lnTo>
                <a:lnTo>
                  <a:pt x="196794" y="36652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2" name="Freeform: Shape 305">
            <a:extLst>
              <a:ext uri="{FF2B5EF4-FFF2-40B4-BE49-F238E27FC236}">
                <a16:creationId xmlns:a16="http://schemas.microsoft.com/office/drawing/2014/main" id="{5B376EEF-BBEC-437B-B7CE-8A8782794347}"/>
              </a:ext>
            </a:extLst>
          </p:cNvPr>
          <p:cNvSpPr/>
          <p:nvPr/>
        </p:nvSpPr>
        <p:spPr>
          <a:xfrm>
            <a:off x="6132237" y="2878972"/>
            <a:ext cx="117986" cy="101131"/>
          </a:xfrm>
          <a:custGeom>
            <a:avLst/>
            <a:gdLst>
              <a:gd name="connsiteX0" fmla="*/ 110520 w 157886"/>
              <a:gd name="connsiteY0" fmla="*/ 19172 h 135331"/>
              <a:gd name="connsiteX1" fmla="*/ 87965 w 157886"/>
              <a:gd name="connsiteY1" fmla="*/ 4511 h 135331"/>
              <a:gd name="connsiteX2" fmla="*/ 78943 w 157886"/>
              <a:gd name="connsiteY2" fmla="*/ 0 h 135331"/>
              <a:gd name="connsiteX3" fmla="*/ 56952 w 157886"/>
              <a:gd name="connsiteY3" fmla="*/ 9586 h 135331"/>
              <a:gd name="connsiteX4" fmla="*/ 55260 w 157886"/>
              <a:gd name="connsiteY4" fmla="*/ 23683 h 135331"/>
              <a:gd name="connsiteX5" fmla="*/ 45674 w 157886"/>
              <a:gd name="connsiteY5" fmla="*/ 27066 h 135331"/>
              <a:gd name="connsiteX6" fmla="*/ 46802 w 157886"/>
              <a:gd name="connsiteY6" fmla="*/ 36652 h 135331"/>
              <a:gd name="connsiteX7" fmla="*/ 35524 w 157886"/>
              <a:gd name="connsiteY7" fmla="*/ 36088 h 135331"/>
              <a:gd name="connsiteX8" fmla="*/ 25375 w 157886"/>
              <a:gd name="connsiteY8" fmla="*/ 30449 h 135331"/>
              <a:gd name="connsiteX9" fmla="*/ 20863 w 157886"/>
              <a:gd name="connsiteY9" fmla="*/ 36088 h 135331"/>
              <a:gd name="connsiteX10" fmla="*/ 1127 w 157886"/>
              <a:gd name="connsiteY10" fmla="*/ 34961 h 135331"/>
              <a:gd name="connsiteX11" fmla="*/ 0 w 157886"/>
              <a:gd name="connsiteY11" fmla="*/ 35524 h 135331"/>
              <a:gd name="connsiteX12" fmla="*/ 0 w 157886"/>
              <a:gd name="connsiteY12" fmla="*/ 47930 h 135331"/>
              <a:gd name="connsiteX13" fmla="*/ 9586 w 157886"/>
              <a:gd name="connsiteY13" fmla="*/ 59207 h 135331"/>
              <a:gd name="connsiteX14" fmla="*/ 16916 w 157886"/>
              <a:gd name="connsiteY14" fmla="*/ 44546 h 135331"/>
              <a:gd name="connsiteX15" fmla="*/ 35524 w 157886"/>
              <a:gd name="connsiteY15" fmla="*/ 50185 h 135331"/>
              <a:gd name="connsiteX16" fmla="*/ 37216 w 157886"/>
              <a:gd name="connsiteY16" fmla="*/ 61463 h 135331"/>
              <a:gd name="connsiteX17" fmla="*/ 51313 w 157886"/>
              <a:gd name="connsiteY17" fmla="*/ 76124 h 135331"/>
              <a:gd name="connsiteX18" fmla="*/ 45674 w 157886"/>
              <a:gd name="connsiteY18" fmla="*/ 78943 h 135331"/>
              <a:gd name="connsiteX19" fmla="*/ 71612 w 157886"/>
              <a:gd name="connsiteY19" fmla="*/ 104318 h 135331"/>
              <a:gd name="connsiteX20" fmla="*/ 98679 w 157886"/>
              <a:gd name="connsiteY20" fmla="*/ 114468 h 135331"/>
              <a:gd name="connsiteX21" fmla="*/ 116159 w 157886"/>
              <a:gd name="connsiteY21" fmla="*/ 126873 h 135331"/>
              <a:gd name="connsiteX22" fmla="*/ 144353 w 157886"/>
              <a:gd name="connsiteY22" fmla="*/ 139842 h 135331"/>
              <a:gd name="connsiteX23" fmla="*/ 144353 w 157886"/>
              <a:gd name="connsiteY23" fmla="*/ 139842 h 135331"/>
              <a:gd name="connsiteX24" fmla="*/ 147173 w 157886"/>
              <a:gd name="connsiteY24" fmla="*/ 134203 h 135331"/>
              <a:gd name="connsiteX25" fmla="*/ 120670 w 157886"/>
              <a:gd name="connsiteY25" fmla="*/ 120670 h 135331"/>
              <a:gd name="connsiteX26" fmla="*/ 108265 w 157886"/>
              <a:gd name="connsiteY26" fmla="*/ 106573 h 135331"/>
              <a:gd name="connsiteX27" fmla="*/ 96987 w 157886"/>
              <a:gd name="connsiteY27" fmla="*/ 98679 h 135331"/>
              <a:gd name="connsiteX28" fmla="*/ 82890 w 157886"/>
              <a:gd name="connsiteY28" fmla="*/ 85710 h 135331"/>
              <a:gd name="connsiteX29" fmla="*/ 75560 w 157886"/>
              <a:gd name="connsiteY29" fmla="*/ 74996 h 135331"/>
              <a:gd name="connsiteX30" fmla="*/ 60335 w 157886"/>
              <a:gd name="connsiteY30" fmla="*/ 58643 h 135331"/>
              <a:gd name="connsiteX31" fmla="*/ 65410 w 157886"/>
              <a:gd name="connsiteY31" fmla="*/ 44546 h 135331"/>
              <a:gd name="connsiteX32" fmla="*/ 76124 w 157886"/>
              <a:gd name="connsiteY32" fmla="*/ 52441 h 135331"/>
              <a:gd name="connsiteX33" fmla="*/ 81763 w 157886"/>
              <a:gd name="connsiteY33" fmla="*/ 45110 h 135331"/>
              <a:gd name="connsiteX34" fmla="*/ 94731 w 157886"/>
              <a:gd name="connsiteY34" fmla="*/ 44546 h 135331"/>
              <a:gd name="connsiteX35" fmla="*/ 119542 w 157886"/>
              <a:gd name="connsiteY35" fmla="*/ 50185 h 135331"/>
              <a:gd name="connsiteX36" fmla="*/ 139278 w 157886"/>
              <a:gd name="connsiteY36" fmla="*/ 49621 h 135331"/>
              <a:gd name="connsiteX37" fmla="*/ 152811 w 157886"/>
              <a:gd name="connsiteY37" fmla="*/ 57516 h 135331"/>
              <a:gd name="connsiteX38" fmla="*/ 152811 w 157886"/>
              <a:gd name="connsiteY38" fmla="*/ 57516 h 135331"/>
              <a:gd name="connsiteX39" fmla="*/ 162397 w 157886"/>
              <a:gd name="connsiteY39" fmla="*/ 44546 h 135331"/>
              <a:gd name="connsiteX40" fmla="*/ 152811 w 157886"/>
              <a:gd name="connsiteY40" fmla="*/ 34397 h 135331"/>
              <a:gd name="connsiteX41" fmla="*/ 144353 w 157886"/>
              <a:gd name="connsiteY41" fmla="*/ 20864 h 135331"/>
              <a:gd name="connsiteX42" fmla="*/ 144353 w 157886"/>
              <a:gd name="connsiteY42" fmla="*/ 20864 h 135331"/>
              <a:gd name="connsiteX43" fmla="*/ 134203 w 157886"/>
              <a:gd name="connsiteY43" fmla="*/ 25939 h 135331"/>
              <a:gd name="connsiteX44" fmla="*/ 110520 w 157886"/>
              <a:gd name="connsiteY44" fmla="*/ 19172 h 1353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</a:cxnLst>
            <a:rect l="l" t="t" r="r" b="b"/>
            <a:pathLst>
              <a:path w="157886" h="135331">
                <a:moveTo>
                  <a:pt x="110520" y="19172"/>
                </a:moveTo>
                <a:lnTo>
                  <a:pt x="87965" y="4511"/>
                </a:lnTo>
                <a:lnTo>
                  <a:pt x="78943" y="0"/>
                </a:lnTo>
                <a:lnTo>
                  <a:pt x="56952" y="9586"/>
                </a:lnTo>
                <a:lnTo>
                  <a:pt x="55260" y="23683"/>
                </a:lnTo>
                <a:lnTo>
                  <a:pt x="45674" y="27066"/>
                </a:lnTo>
                <a:lnTo>
                  <a:pt x="46802" y="36652"/>
                </a:lnTo>
                <a:lnTo>
                  <a:pt x="35524" y="36088"/>
                </a:lnTo>
                <a:lnTo>
                  <a:pt x="25375" y="30449"/>
                </a:lnTo>
                <a:lnTo>
                  <a:pt x="20863" y="36088"/>
                </a:lnTo>
                <a:lnTo>
                  <a:pt x="1127" y="34961"/>
                </a:lnTo>
                <a:lnTo>
                  <a:pt x="0" y="35524"/>
                </a:lnTo>
                <a:lnTo>
                  <a:pt x="0" y="47930"/>
                </a:lnTo>
                <a:lnTo>
                  <a:pt x="9586" y="59207"/>
                </a:lnTo>
                <a:lnTo>
                  <a:pt x="16916" y="44546"/>
                </a:lnTo>
                <a:lnTo>
                  <a:pt x="35524" y="50185"/>
                </a:lnTo>
                <a:lnTo>
                  <a:pt x="37216" y="61463"/>
                </a:lnTo>
                <a:lnTo>
                  <a:pt x="51313" y="76124"/>
                </a:lnTo>
                <a:lnTo>
                  <a:pt x="45674" y="78943"/>
                </a:lnTo>
                <a:lnTo>
                  <a:pt x="71612" y="104318"/>
                </a:lnTo>
                <a:lnTo>
                  <a:pt x="98679" y="114468"/>
                </a:lnTo>
                <a:lnTo>
                  <a:pt x="116159" y="126873"/>
                </a:lnTo>
                <a:lnTo>
                  <a:pt x="144353" y="139842"/>
                </a:lnTo>
                <a:lnTo>
                  <a:pt x="144353" y="139842"/>
                </a:lnTo>
                <a:lnTo>
                  <a:pt x="147173" y="134203"/>
                </a:lnTo>
                <a:lnTo>
                  <a:pt x="120670" y="120670"/>
                </a:lnTo>
                <a:lnTo>
                  <a:pt x="108265" y="106573"/>
                </a:lnTo>
                <a:lnTo>
                  <a:pt x="96987" y="98679"/>
                </a:lnTo>
                <a:lnTo>
                  <a:pt x="82890" y="85710"/>
                </a:lnTo>
                <a:lnTo>
                  <a:pt x="75560" y="74996"/>
                </a:lnTo>
                <a:lnTo>
                  <a:pt x="60335" y="58643"/>
                </a:lnTo>
                <a:lnTo>
                  <a:pt x="65410" y="44546"/>
                </a:lnTo>
                <a:lnTo>
                  <a:pt x="76124" y="52441"/>
                </a:lnTo>
                <a:lnTo>
                  <a:pt x="81763" y="45110"/>
                </a:lnTo>
                <a:lnTo>
                  <a:pt x="94731" y="44546"/>
                </a:lnTo>
                <a:lnTo>
                  <a:pt x="119542" y="50185"/>
                </a:lnTo>
                <a:lnTo>
                  <a:pt x="139278" y="49621"/>
                </a:lnTo>
                <a:lnTo>
                  <a:pt x="152811" y="57516"/>
                </a:lnTo>
                <a:lnTo>
                  <a:pt x="152811" y="57516"/>
                </a:lnTo>
                <a:lnTo>
                  <a:pt x="162397" y="44546"/>
                </a:lnTo>
                <a:lnTo>
                  <a:pt x="152811" y="34397"/>
                </a:lnTo>
                <a:lnTo>
                  <a:pt x="144353" y="20864"/>
                </a:lnTo>
                <a:lnTo>
                  <a:pt x="144353" y="20864"/>
                </a:lnTo>
                <a:lnTo>
                  <a:pt x="134203" y="25939"/>
                </a:lnTo>
                <a:lnTo>
                  <a:pt x="110520" y="19172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3" name="Freeform: Shape 306">
            <a:extLst>
              <a:ext uri="{FF2B5EF4-FFF2-40B4-BE49-F238E27FC236}">
                <a16:creationId xmlns:a16="http://schemas.microsoft.com/office/drawing/2014/main" id="{82F4F3DB-F68C-498C-8FAE-389B30C0DAA7}"/>
              </a:ext>
            </a:extLst>
          </p:cNvPr>
          <p:cNvSpPr/>
          <p:nvPr/>
        </p:nvSpPr>
        <p:spPr>
          <a:xfrm>
            <a:off x="4105826" y="3588995"/>
            <a:ext cx="67421" cy="46352"/>
          </a:xfrm>
          <a:custGeom>
            <a:avLst/>
            <a:gdLst>
              <a:gd name="connsiteX0" fmla="*/ 90785 w 90220"/>
              <a:gd name="connsiteY0" fmla="*/ 6767 h 62026"/>
              <a:gd name="connsiteX1" fmla="*/ 64846 w 90220"/>
              <a:gd name="connsiteY1" fmla="*/ 1128 h 62026"/>
              <a:gd name="connsiteX2" fmla="*/ 45674 w 90220"/>
              <a:gd name="connsiteY2" fmla="*/ 0 h 62026"/>
              <a:gd name="connsiteX3" fmla="*/ 37780 w 90220"/>
              <a:gd name="connsiteY3" fmla="*/ 9586 h 62026"/>
              <a:gd name="connsiteX4" fmla="*/ 56952 w 90220"/>
              <a:gd name="connsiteY4" fmla="*/ 15225 h 62026"/>
              <a:gd name="connsiteX5" fmla="*/ 55260 w 90220"/>
              <a:gd name="connsiteY5" fmla="*/ 28758 h 62026"/>
              <a:gd name="connsiteX6" fmla="*/ 67666 w 90220"/>
              <a:gd name="connsiteY6" fmla="*/ 44546 h 62026"/>
              <a:gd name="connsiteX7" fmla="*/ 55824 w 90220"/>
              <a:gd name="connsiteY7" fmla="*/ 52441 h 62026"/>
              <a:gd name="connsiteX8" fmla="*/ 32141 w 90220"/>
              <a:gd name="connsiteY8" fmla="*/ 49621 h 62026"/>
              <a:gd name="connsiteX9" fmla="*/ 3947 w 90220"/>
              <a:gd name="connsiteY9" fmla="*/ 44546 h 62026"/>
              <a:gd name="connsiteX10" fmla="*/ 0 w 90220"/>
              <a:gd name="connsiteY10" fmla="*/ 56388 h 62026"/>
              <a:gd name="connsiteX11" fmla="*/ 15789 w 90220"/>
              <a:gd name="connsiteY11" fmla="*/ 67102 h 62026"/>
              <a:gd name="connsiteX12" fmla="*/ 31013 w 90220"/>
              <a:gd name="connsiteY12" fmla="*/ 60899 h 62026"/>
              <a:gd name="connsiteX13" fmla="*/ 49621 w 90220"/>
              <a:gd name="connsiteY13" fmla="*/ 63155 h 62026"/>
              <a:gd name="connsiteX14" fmla="*/ 64846 w 90220"/>
              <a:gd name="connsiteY14" fmla="*/ 60899 h 62026"/>
              <a:gd name="connsiteX15" fmla="*/ 85146 w 90220"/>
              <a:gd name="connsiteY15" fmla="*/ 67102 h 62026"/>
              <a:gd name="connsiteX16" fmla="*/ 86274 w 90220"/>
              <a:gd name="connsiteY16" fmla="*/ 56952 h 62026"/>
              <a:gd name="connsiteX17" fmla="*/ 79507 w 90220"/>
              <a:gd name="connsiteY17" fmla="*/ 46238 h 62026"/>
              <a:gd name="connsiteX18" fmla="*/ 87965 w 90220"/>
              <a:gd name="connsiteY18" fmla="*/ 40036 h 62026"/>
              <a:gd name="connsiteX19" fmla="*/ 91912 w 90220"/>
              <a:gd name="connsiteY19" fmla="*/ 26502 h 62026"/>
              <a:gd name="connsiteX20" fmla="*/ 90785 w 90220"/>
              <a:gd name="connsiteY20" fmla="*/ 6767 h 620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90220" h="62026">
                <a:moveTo>
                  <a:pt x="90785" y="6767"/>
                </a:moveTo>
                <a:lnTo>
                  <a:pt x="64846" y="1128"/>
                </a:lnTo>
                <a:lnTo>
                  <a:pt x="45674" y="0"/>
                </a:lnTo>
                <a:lnTo>
                  <a:pt x="37780" y="9586"/>
                </a:lnTo>
                <a:lnTo>
                  <a:pt x="56952" y="15225"/>
                </a:lnTo>
                <a:lnTo>
                  <a:pt x="55260" y="28758"/>
                </a:lnTo>
                <a:lnTo>
                  <a:pt x="67666" y="44546"/>
                </a:lnTo>
                <a:lnTo>
                  <a:pt x="55824" y="52441"/>
                </a:lnTo>
                <a:lnTo>
                  <a:pt x="32141" y="49621"/>
                </a:lnTo>
                <a:lnTo>
                  <a:pt x="3947" y="44546"/>
                </a:lnTo>
                <a:lnTo>
                  <a:pt x="0" y="56388"/>
                </a:lnTo>
                <a:lnTo>
                  <a:pt x="15789" y="67102"/>
                </a:lnTo>
                <a:lnTo>
                  <a:pt x="31013" y="60899"/>
                </a:lnTo>
                <a:lnTo>
                  <a:pt x="49621" y="63155"/>
                </a:lnTo>
                <a:lnTo>
                  <a:pt x="64846" y="60899"/>
                </a:lnTo>
                <a:lnTo>
                  <a:pt x="85146" y="67102"/>
                </a:lnTo>
                <a:lnTo>
                  <a:pt x="86274" y="56952"/>
                </a:lnTo>
                <a:lnTo>
                  <a:pt x="79507" y="46238"/>
                </a:lnTo>
                <a:lnTo>
                  <a:pt x="87965" y="40036"/>
                </a:lnTo>
                <a:lnTo>
                  <a:pt x="91912" y="26502"/>
                </a:lnTo>
                <a:lnTo>
                  <a:pt x="90785" y="6767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4" name="Freeform: Shape 307">
            <a:extLst>
              <a:ext uri="{FF2B5EF4-FFF2-40B4-BE49-F238E27FC236}">
                <a16:creationId xmlns:a16="http://schemas.microsoft.com/office/drawing/2014/main" id="{6F32FE61-1396-42A5-800F-98A0400B2265}"/>
              </a:ext>
            </a:extLst>
          </p:cNvPr>
          <p:cNvSpPr/>
          <p:nvPr/>
        </p:nvSpPr>
        <p:spPr>
          <a:xfrm>
            <a:off x="6182802" y="2823350"/>
            <a:ext cx="130628" cy="71634"/>
          </a:xfrm>
          <a:custGeom>
            <a:avLst/>
            <a:gdLst>
              <a:gd name="connsiteX0" fmla="*/ 122362 w 174802"/>
              <a:gd name="connsiteY0" fmla="*/ 0 h 95859"/>
              <a:gd name="connsiteX1" fmla="*/ 113340 w 174802"/>
              <a:gd name="connsiteY1" fmla="*/ 2256 h 95859"/>
              <a:gd name="connsiteX2" fmla="*/ 107701 w 174802"/>
              <a:gd name="connsiteY2" fmla="*/ 10714 h 95859"/>
              <a:gd name="connsiteX3" fmla="*/ 95296 w 174802"/>
              <a:gd name="connsiteY3" fmla="*/ 14661 h 95859"/>
              <a:gd name="connsiteX4" fmla="*/ 91912 w 174802"/>
              <a:gd name="connsiteY4" fmla="*/ 12405 h 95859"/>
              <a:gd name="connsiteX5" fmla="*/ 78943 w 174802"/>
              <a:gd name="connsiteY5" fmla="*/ 18044 h 95859"/>
              <a:gd name="connsiteX6" fmla="*/ 68229 w 174802"/>
              <a:gd name="connsiteY6" fmla="*/ 19172 h 95859"/>
              <a:gd name="connsiteX7" fmla="*/ 66537 w 174802"/>
              <a:gd name="connsiteY7" fmla="*/ 25939 h 95859"/>
              <a:gd name="connsiteX8" fmla="*/ 43418 w 174802"/>
              <a:gd name="connsiteY8" fmla="*/ 30450 h 95859"/>
              <a:gd name="connsiteX9" fmla="*/ 32705 w 174802"/>
              <a:gd name="connsiteY9" fmla="*/ 26502 h 95859"/>
              <a:gd name="connsiteX10" fmla="*/ 18044 w 174802"/>
              <a:gd name="connsiteY10" fmla="*/ 17480 h 95859"/>
              <a:gd name="connsiteX11" fmla="*/ 16916 w 174802"/>
              <a:gd name="connsiteY11" fmla="*/ 32141 h 95859"/>
              <a:gd name="connsiteX12" fmla="*/ 1127 w 174802"/>
              <a:gd name="connsiteY12" fmla="*/ 32141 h 95859"/>
              <a:gd name="connsiteX13" fmla="*/ 7330 w 174802"/>
              <a:gd name="connsiteY13" fmla="*/ 39472 h 95859"/>
              <a:gd name="connsiteX14" fmla="*/ 0 w 174802"/>
              <a:gd name="connsiteY14" fmla="*/ 62027 h 95859"/>
              <a:gd name="connsiteX15" fmla="*/ 4511 w 174802"/>
              <a:gd name="connsiteY15" fmla="*/ 62591 h 95859"/>
              <a:gd name="connsiteX16" fmla="*/ 11278 w 174802"/>
              <a:gd name="connsiteY16" fmla="*/ 74432 h 95859"/>
              <a:gd name="connsiteX17" fmla="*/ 20300 w 174802"/>
              <a:gd name="connsiteY17" fmla="*/ 78943 h 95859"/>
              <a:gd name="connsiteX18" fmla="*/ 42855 w 174802"/>
              <a:gd name="connsiteY18" fmla="*/ 93604 h 95859"/>
              <a:gd name="connsiteX19" fmla="*/ 66537 w 174802"/>
              <a:gd name="connsiteY19" fmla="*/ 100371 h 95859"/>
              <a:gd name="connsiteX20" fmla="*/ 76688 w 174802"/>
              <a:gd name="connsiteY20" fmla="*/ 95296 h 95859"/>
              <a:gd name="connsiteX21" fmla="*/ 76688 w 174802"/>
              <a:gd name="connsiteY21" fmla="*/ 95296 h 95859"/>
              <a:gd name="connsiteX22" fmla="*/ 97551 w 174802"/>
              <a:gd name="connsiteY22" fmla="*/ 86274 h 95859"/>
              <a:gd name="connsiteX23" fmla="*/ 115595 w 174802"/>
              <a:gd name="connsiteY23" fmla="*/ 87401 h 95859"/>
              <a:gd name="connsiteX24" fmla="*/ 137022 w 174802"/>
              <a:gd name="connsiteY24" fmla="*/ 81199 h 95859"/>
              <a:gd name="connsiteX25" fmla="*/ 151684 w 174802"/>
              <a:gd name="connsiteY25" fmla="*/ 56952 h 95859"/>
              <a:gd name="connsiteX26" fmla="*/ 162397 w 174802"/>
              <a:gd name="connsiteY26" fmla="*/ 33269 h 95859"/>
              <a:gd name="connsiteX27" fmla="*/ 178750 w 174802"/>
              <a:gd name="connsiteY27" fmla="*/ 25939 h 95859"/>
              <a:gd name="connsiteX28" fmla="*/ 175367 w 174802"/>
              <a:gd name="connsiteY28" fmla="*/ 16916 h 95859"/>
              <a:gd name="connsiteX29" fmla="*/ 159014 w 174802"/>
              <a:gd name="connsiteY29" fmla="*/ 7331 h 95859"/>
              <a:gd name="connsiteX30" fmla="*/ 153375 w 174802"/>
              <a:gd name="connsiteY30" fmla="*/ 10714 h 95859"/>
              <a:gd name="connsiteX31" fmla="*/ 122362 w 174802"/>
              <a:gd name="connsiteY31" fmla="*/ 0 h 958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174802" h="95859">
                <a:moveTo>
                  <a:pt x="122362" y="0"/>
                </a:moveTo>
                <a:lnTo>
                  <a:pt x="113340" y="2256"/>
                </a:lnTo>
                <a:lnTo>
                  <a:pt x="107701" y="10714"/>
                </a:lnTo>
                <a:lnTo>
                  <a:pt x="95296" y="14661"/>
                </a:lnTo>
                <a:lnTo>
                  <a:pt x="91912" y="12405"/>
                </a:lnTo>
                <a:lnTo>
                  <a:pt x="78943" y="18044"/>
                </a:lnTo>
                <a:lnTo>
                  <a:pt x="68229" y="19172"/>
                </a:lnTo>
                <a:lnTo>
                  <a:pt x="66537" y="25939"/>
                </a:lnTo>
                <a:lnTo>
                  <a:pt x="43418" y="30450"/>
                </a:lnTo>
                <a:lnTo>
                  <a:pt x="32705" y="26502"/>
                </a:lnTo>
                <a:lnTo>
                  <a:pt x="18044" y="17480"/>
                </a:lnTo>
                <a:lnTo>
                  <a:pt x="16916" y="32141"/>
                </a:lnTo>
                <a:lnTo>
                  <a:pt x="1127" y="32141"/>
                </a:lnTo>
                <a:lnTo>
                  <a:pt x="7330" y="39472"/>
                </a:lnTo>
                <a:lnTo>
                  <a:pt x="0" y="62027"/>
                </a:lnTo>
                <a:lnTo>
                  <a:pt x="4511" y="62591"/>
                </a:lnTo>
                <a:lnTo>
                  <a:pt x="11278" y="74432"/>
                </a:lnTo>
                <a:lnTo>
                  <a:pt x="20300" y="78943"/>
                </a:lnTo>
                <a:lnTo>
                  <a:pt x="42855" y="93604"/>
                </a:lnTo>
                <a:lnTo>
                  <a:pt x="66537" y="100371"/>
                </a:lnTo>
                <a:lnTo>
                  <a:pt x="76688" y="95296"/>
                </a:lnTo>
                <a:lnTo>
                  <a:pt x="76688" y="95296"/>
                </a:lnTo>
                <a:lnTo>
                  <a:pt x="97551" y="86274"/>
                </a:lnTo>
                <a:lnTo>
                  <a:pt x="115595" y="87401"/>
                </a:lnTo>
                <a:lnTo>
                  <a:pt x="137022" y="81199"/>
                </a:lnTo>
                <a:lnTo>
                  <a:pt x="151684" y="56952"/>
                </a:lnTo>
                <a:lnTo>
                  <a:pt x="162397" y="33269"/>
                </a:lnTo>
                <a:lnTo>
                  <a:pt x="178750" y="25939"/>
                </a:lnTo>
                <a:lnTo>
                  <a:pt x="175367" y="16916"/>
                </a:lnTo>
                <a:lnTo>
                  <a:pt x="159014" y="7331"/>
                </a:lnTo>
                <a:lnTo>
                  <a:pt x="153375" y="10714"/>
                </a:lnTo>
                <a:lnTo>
                  <a:pt x="122362" y="0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5" name="Freeform: Shape 308">
            <a:extLst>
              <a:ext uri="{FF2B5EF4-FFF2-40B4-BE49-F238E27FC236}">
                <a16:creationId xmlns:a16="http://schemas.microsoft.com/office/drawing/2014/main" id="{C5F7E169-7A23-42F4-BA68-985A79B601C3}"/>
              </a:ext>
            </a:extLst>
          </p:cNvPr>
          <p:cNvSpPr/>
          <p:nvPr/>
        </p:nvSpPr>
        <p:spPr>
          <a:xfrm>
            <a:off x="8095862" y="3975821"/>
            <a:ext cx="1082943" cy="421379"/>
          </a:xfrm>
          <a:custGeom>
            <a:avLst/>
            <a:gdLst>
              <a:gd name="connsiteX0" fmla="*/ 792251 w 1449171"/>
              <a:gd name="connsiteY0" fmla="*/ 563880 h 563880"/>
              <a:gd name="connsiteX1" fmla="*/ 795071 w 1449171"/>
              <a:gd name="connsiteY1" fmla="*/ 554294 h 563880"/>
              <a:gd name="connsiteX2" fmla="*/ 784921 w 1449171"/>
              <a:gd name="connsiteY2" fmla="*/ 543581 h 563880"/>
              <a:gd name="connsiteX3" fmla="*/ 769132 w 1449171"/>
              <a:gd name="connsiteY3" fmla="*/ 532303 h 563880"/>
              <a:gd name="connsiteX4" fmla="*/ 739247 w 1449171"/>
              <a:gd name="connsiteY4" fmla="*/ 539633 h 563880"/>
              <a:gd name="connsiteX5" fmla="*/ 778718 w 1449171"/>
              <a:gd name="connsiteY5" fmla="*/ 564444 h 563880"/>
              <a:gd name="connsiteX6" fmla="*/ 792251 w 1449171"/>
              <a:gd name="connsiteY6" fmla="*/ 563880 h 563880"/>
              <a:gd name="connsiteX7" fmla="*/ 910102 w 1449171"/>
              <a:gd name="connsiteY7" fmla="*/ 560497 h 563880"/>
              <a:gd name="connsiteX8" fmla="*/ 932658 w 1449171"/>
              <a:gd name="connsiteY8" fmla="*/ 533431 h 563880"/>
              <a:gd name="connsiteX9" fmla="*/ 933221 w 1449171"/>
              <a:gd name="connsiteY9" fmla="*/ 522717 h 563880"/>
              <a:gd name="connsiteX10" fmla="*/ 930402 w 1449171"/>
              <a:gd name="connsiteY10" fmla="*/ 515386 h 563880"/>
              <a:gd name="connsiteX11" fmla="*/ 898260 w 1449171"/>
              <a:gd name="connsiteY11" fmla="*/ 530047 h 563880"/>
              <a:gd name="connsiteX12" fmla="*/ 882472 w 1449171"/>
              <a:gd name="connsiteY12" fmla="*/ 552039 h 563880"/>
              <a:gd name="connsiteX13" fmla="*/ 878525 w 1449171"/>
              <a:gd name="connsiteY13" fmla="*/ 563880 h 563880"/>
              <a:gd name="connsiteX14" fmla="*/ 881908 w 1449171"/>
              <a:gd name="connsiteY14" fmla="*/ 568391 h 563880"/>
              <a:gd name="connsiteX15" fmla="*/ 910102 w 1449171"/>
              <a:gd name="connsiteY15" fmla="*/ 560497 h 563880"/>
              <a:gd name="connsiteX16" fmla="*/ 709361 w 1449171"/>
              <a:gd name="connsiteY16" fmla="*/ 487192 h 563880"/>
              <a:gd name="connsiteX17" fmla="*/ 700339 w 1449171"/>
              <a:gd name="connsiteY17" fmla="*/ 499598 h 563880"/>
              <a:gd name="connsiteX18" fmla="*/ 682859 w 1449171"/>
              <a:gd name="connsiteY18" fmla="*/ 500162 h 563880"/>
              <a:gd name="connsiteX19" fmla="*/ 670453 w 1449171"/>
              <a:gd name="connsiteY19" fmla="*/ 520461 h 563880"/>
              <a:gd name="connsiteX20" fmla="*/ 687370 w 1449171"/>
              <a:gd name="connsiteY20" fmla="*/ 521025 h 563880"/>
              <a:gd name="connsiteX21" fmla="*/ 709361 w 1449171"/>
              <a:gd name="connsiteY21" fmla="*/ 515950 h 563880"/>
              <a:gd name="connsiteX22" fmla="*/ 746577 w 1449171"/>
              <a:gd name="connsiteY22" fmla="*/ 509184 h 563880"/>
              <a:gd name="connsiteX23" fmla="*/ 739810 w 1449171"/>
              <a:gd name="connsiteY23" fmla="*/ 493395 h 563880"/>
              <a:gd name="connsiteX24" fmla="*/ 720075 w 1449171"/>
              <a:gd name="connsiteY24" fmla="*/ 496779 h 563880"/>
              <a:gd name="connsiteX25" fmla="*/ 709361 w 1449171"/>
              <a:gd name="connsiteY25" fmla="*/ 487192 h 563880"/>
              <a:gd name="connsiteX26" fmla="*/ 867811 w 1449171"/>
              <a:gd name="connsiteY26" fmla="*/ 487192 h 563880"/>
              <a:gd name="connsiteX27" fmla="*/ 838489 w 1449171"/>
              <a:gd name="connsiteY27" fmla="*/ 500162 h 563880"/>
              <a:gd name="connsiteX28" fmla="*/ 817062 w 1449171"/>
              <a:gd name="connsiteY28" fmla="*/ 502981 h 563880"/>
              <a:gd name="connsiteX29" fmla="*/ 797890 w 1449171"/>
              <a:gd name="connsiteY29" fmla="*/ 492267 h 563880"/>
              <a:gd name="connsiteX30" fmla="*/ 772516 w 1449171"/>
              <a:gd name="connsiteY30" fmla="*/ 499598 h 563880"/>
              <a:gd name="connsiteX31" fmla="*/ 771387 w 1449171"/>
              <a:gd name="connsiteY31" fmla="*/ 512567 h 563880"/>
              <a:gd name="connsiteX32" fmla="*/ 813115 w 1449171"/>
              <a:gd name="connsiteY32" fmla="*/ 517078 h 563880"/>
              <a:gd name="connsiteX33" fmla="*/ 861608 w 1449171"/>
              <a:gd name="connsiteY33" fmla="*/ 506928 h 563880"/>
              <a:gd name="connsiteX34" fmla="*/ 867811 w 1449171"/>
              <a:gd name="connsiteY34" fmla="*/ 487192 h 563880"/>
              <a:gd name="connsiteX35" fmla="*/ 419527 w 1449171"/>
              <a:gd name="connsiteY35" fmla="*/ 439826 h 563880"/>
              <a:gd name="connsiteX36" fmla="*/ 415579 w 1449171"/>
              <a:gd name="connsiteY36" fmla="*/ 426857 h 563880"/>
              <a:gd name="connsiteX37" fmla="*/ 402610 w 1449171"/>
              <a:gd name="connsiteY37" fmla="*/ 424038 h 563880"/>
              <a:gd name="connsiteX38" fmla="*/ 377800 w 1449171"/>
              <a:gd name="connsiteY38" fmla="*/ 410505 h 563880"/>
              <a:gd name="connsiteX39" fmla="*/ 339456 w 1449171"/>
              <a:gd name="connsiteY39" fmla="*/ 408249 h 563880"/>
              <a:gd name="connsiteX40" fmla="*/ 316337 w 1449171"/>
              <a:gd name="connsiteY40" fmla="*/ 442646 h 563880"/>
              <a:gd name="connsiteX41" fmla="*/ 345094 w 1449171"/>
              <a:gd name="connsiteY41" fmla="*/ 444901 h 563880"/>
              <a:gd name="connsiteX42" fmla="*/ 349606 w 1449171"/>
              <a:gd name="connsiteY42" fmla="*/ 460690 h 563880"/>
              <a:gd name="connsiteX43" fmla="*/ 405994 w 1449171"/>
              <a:gd name="connsiteY43" fmla="*/ 475351 h 563880"/>
              <a:gd name="connsiteX44" fmla="*/ 419527 w 1449171"/>
              <a:gd name="connsiteY44" fmla="*/ 470840 h 563880"/>
              <a:gd name="connsiteX45" fmla="*/ 442646 w 1449171"/>
              <a:gd name="connsiteY45" fmla="*/ 474223 h 563880"/>
              <a:gd name="connsiteX46" fmla="*/ 478170 w 1449171"/>
              <a:gd name="connsiteY46" fmla="*/ 487756 h 563880"/>
              <a:gd name="connsiteX47" fmla="*/ 507492 w 1449171"/>
              <a:gd name="connsiteY47" fmla="*/ 494523 h 563880"/>
              <a:gd name="connsiteX48" fmla="*/ 540197 w 1449171"/>
              <a:gd name="connsiteY48" fmla="*/ 497342 h 563880"/>
              <a:gd name="connsiteX49" fmla="*/ 568955 w 1449171"/>
              <a:gd name="connsiteY49" fmla="*/ 496214 h 563880"/>
              <a:gd name="connsiteX50" fmla="*/ 602223 w 1449171"/>
              <a:gd name="connsiteY50" fmla="*/ 510311 h 563880"/>
              <a:gd name="connsiteX51" fmla="*/ 639440 w 1449171"/>
              <a:gd name="connsiteY51" fmla="*/ 496779 h 563880"/>
              <a:gd name="connsiteX52" fmla="*/ 602223 w 1449171"/>
              <a:gd name="connsiteY52" fmla="*/ 475351 h 563880"/>
              <a:gd name="connsiteX53" fmla="*/ 555422 w 1449171"/>
              <a:gd name="connsiteY53" fmla="*/ 469148 h 563880"/>
              <a:gd name="connsiteX54" fmla="*/ 545272 w 1449171"/>
              <a:gd name="connsiteY54" fmla="*/ 446029 h 563880"/>
              <a:gd name="connsiteX55" fmla="*/ 487192 w 1449171"/>
              <a:gd name="connsiteY55" fmla="*/ 428549 h 563880"/>
              <a:gd name="connsiteX56" fmla="*/ 479862 w 1449171"/>
              <a:gd name="connsiteY56" fmla="*/ 443210 h 563880"/>
              <a:gd name="connsiteX57" fmla="*/ 419527 w 1449171"/>
              <a:gd name="connsiteY57" fmla="*/ 439826 h 563880"/>
              <a:gd name="connsiteX58" fmla="*/ 1246175 w 1449171"/>
              <a:gd name="connsiteY58" fmla="*/ 419527 h 563880"/>
              <a:gd name="connsiteX59" fmla="*/ 1247302 w 1449171"/>
              <a:gd name="connsiteY59" fmla="*/ 402610 h 563880"/>
              <a:gd name="connsiteX60" fmla="*/ 1240536 w 1449171"/>
              <a:gd name="connsiteY60" fmla="*/ 391897 h 563880"/>
              <a:gd name="connsiteX61" fmla="*/ 1233205 w 1449171"/>
              <a:gd name="connsiteY61" fmla="*/ 404302 h 563880"/>
              <a:gd name="connsiteX62" fmla="*/ 1226439 w 1449171"/>
              <a:gd name="connsiteY62" fmla="*/ 416707 h 563880"/>
              <a:gd name="connsiteX63" fmla="*/ 1228130 w 1449171"/>
              <a:gd name="connsiteY63" fmla="*/ 443774 h 563880"/>
              <a:gd name="connsiteX64" fmla="*/ 1246175 w 1449171"/>
              <a:gd name="connsiteY64" fmla="*/ 419527 h 563880"/>
              <a:gd name="connsiteX65" fmla="*/ 1014984 w 1449171"/>
              <a:gd name="connsiteY65" fmla="*/ 320848 h 563880"/>
              <a:gd name="connsiteX66" fmla="*/ 1007090 w 1449171"/>
              <a:gd name="connsiteY66" fmla="*/ 309006 h 563880"/>
              <a:gd name="connsiteX67" fmla="*/ 974949 w 1449171"/>
              <a:gd name="connsiteY67" fmla="*/ 310698 h 563880"/>
              <a:gd name="connsiteX68" fmla="*/ 980587 w 1449171"/>
              <a:gd name="connsiteY68" fmla="*/ 325923 h 563880"/>
              <a:gd name="connsiteX69" fmla="*/ 1002578 w 1449171"/>
              <a:gd name="connsiteY69" fmla="*/ 332689 h 563880"/>
              <a:gd name="connsiteX70" fmla="*/ 1014984 w 1449171"/>
              <a:gd name="connsiteY70" fmla="*/ 320848 h 563880"/>
              <a:gd name="connsiteX71" fmla="*/ 1117046 w 1449171"/>
              <a:gd name="connsiteY71" fmla="*/ 307315 h 563880"/>
              <a:gd name="connsiteX72" fmla="*/ 1082650 w 1449171"/>
              <a:gd name="connsiteY72" fmla="*/ 297165 h 563880"/>
              <a:gd name="connsiteX73" fmla="*/ 1043742 w 1449171"/>
              <a:gd name="connsiteY73" fmla="*/ 298856 h 563880"/>
              <a:gd name="connsiteX74" fmla="*/ 1035284 w 1449171"/>
              <a:gd name="connsiteY74" fmla="*/ 318592 h 563880"/>
              <a:gd name="connsiteX75" fmla="*/ 1057275 w 1449171"/>
              <a:gd name="connsiteY75" fmla="*/ 319720 h 563880"/>
              <a:gd name="connsiteX76" fmla="*/ 1075319 w 1449171"/>
              <a:gd name="connsiteY76" fmla="*/ 317464 h 563880"/>
              <a:gd name="connsiteX77" fmla="*/ 1101257 w 1449171"/>
              <a:gd name="connsiteY77" fmla="*/ 320284 h 563880"/>
              <a:gd name="connsiteX78" fmla="*/ 1127760 w 1449171"/>
              <a:gd name="connsiteY78" fmla="*/ 334945 h 563880"/>
              <a:gd name="connsiteX79" fmla="*/ 1117046 w 1449171"/>
              <a:gd name="connsiteY79" fmla="*/ 307315 h 563880"/>
              <a:gd name="connsiteX80" fmla="*/ 1235461 w 1449171"/>
              <a:gd name="connsiteY80" fmla="*/ 237957 h 563880"/>
              <a:gd name="connsiteX81" fmla="*/ 1230950 w 1449171"/>
              <a:gd name="connsiteY81" fmla="*/ 224424 h 563880"/>
              <a:gd name="connsiteX82" fmla="*/ 1180200 w 1449171"/>
              <a:gd name="connsiteY82" fmla="*/ 209763 h 563880"/>
              <a:gd name="connsiteX83" fmla="*/ 1163849 w 1449171"/>
              <a:gd name="connsiteY83" fmla="*/ 221605 h 563880"/>
              <a:gd name="connsiteX84" fmla="*/ 1120993 w 1449171"/>
              <a:gd name="connsiteY84" fmla="*/ 230063 h 563880"/>
              <a:gd name="connsiteX85" fmla="*/ 1133963 w 1449171"/>
              <a:gd name="connsiteY85" fmla="*/ 248107 h 563880"/>
              <a:gd name="connsiteX86" fmla="*/ 1162157 w 1449171"/>
              <a:gd name="connsiteY86" fmla="*/ 254874 h 563880"/>
              <a:gd name="connsiteX87" fmla="*/ 1173998 w 1449171"/>
              <a:gd name="connsiteY87" fmla="*/ 275737 h 563880"/>
              <a:gd name="connsiteX88" fmla="*/ 1220800 w 1449171"/>
              <a:gd name="connsiteY88" fmla="*/ 276301 h 563880"/>
              <a:gd name="connsiteX89" fmla="*/ 1223056 w 1449171"/>
              <a:gd name="connsiteY89" fmla="*/ 285324 h 563880"/>
              <a:gd name="connsiteX90" fmla="*/ 1200501 w 1449171"/>
              <a:gd name="connsiteY90" fmla="*/ 284759 h 563880"/>
              <a:gd name="connsiteX91" fmla="*/ 1165540 w 1449171"/>
              <a:gd name="connsiteY91" fmla="*/ 297729 h 563880"/>
              <a:gd name="connsiteX92" fmla="*/ 1189223 w 1449171"/>
              <a:gd name="connsiteY92" fmla="*/ 315209 h 563880"/>
              <a:gd name="connsiteX93" fmla="*/ 1188659 w 1449171"/>
              <a:gd name="connsiteY93" fmla="*/ 330998 h 563880"/>
              <a:gd name="connsiteX94" fmla="*/ 1195426 w 1449171"/>
              <a:gd name="connsiteY94" fmla="*/ 343967 h 563880"/>
              <a:gd name="connsiteX95" fmla="*/ 1207267 w 1449171"/>
              <a:gd name="connsiteY95" fmla="*/ 341147 h 563880"/>
              <a:gd name="connsiteX96" fmla="*/ 1217417 w 1449171"/>
              <a:gd name="connsiteY96" fmla="*/ 323667 h 563880"/>
              <a:gd name="connsiteX97" fmla="*/ 1263655 w 1449171"/>
              <a:gd name="connsiteY97" fmla="*/ 356936 h 563880"/>
              <a:gd name="connsiteX98" fmla="*/ 1289593 w 1449171"/>
              <a:gd name="connsiteY98" fmla="*/ 359755 h 563880"/>
              <a:gd name="connsiteX99" fmla="*/ 1349364 w 1449171"/>
              <a:gd name="connsiteY99" fmla="*/ 390205 h 563880"/>
              <a:gd name="connsiteX100" fmla="*/ 1362334 w 1449171"/>
              <a:gd name="connsiteY100" fmla="*/ 420091 h 563880"/>
              <a:gd name="connsiteX101" fmla="*/ 1367973 w 1449171"/>
              <a:gd name="connsiteY101" fmla="*/ 458998 h 563880"/>
              <a:gd name="connsiteX102" fmla="*/ 1347110 w 1449171"/>
              <a:gd name="connsiteY102" fmla="*/ 469148 h 563880"/>
              <a:gd name="connsiteX103" fmla="*/ 1331321 w 1449171"/>
              <a:gd name="connsiteY103" fmla="*/ 498470 h 563880"/>
              <a:gd name="connsiteX104" fmla="*/ 1371356 w 1449171"/>
              <a:gd name="connsiteY104" fmla="*/ 497342 h 563880"/>
              <a:gd name="connsiteX105" fmla="*/ 1380378 w 1449171"/>
              <a:gd name="connsiteY105" fmla="*/ 487192 h 563880"/>
              <a:gd name="connsiteX106" fmla="*/ 1411391 w 1449171"/>
              <a:gd name="connsiteY106" fmla="*/ 494523 h 563880"/>
              <a:gd name="connsiteX107" fmla="*/ 1437330 w 1449171"/>
              <a:gd name="connsiteY107" fmla="*/ 523845 h 563880"/>
              <a:gd name="connsiteX108" fmla="*/ 1445789 w 1449171"/>
              <a:gd name="connsiteY108" fmla="*/ 406558 h 563880"/>
              <a:gd name="connsiteX109" fmla="*/ 1451427 w 1449171"/>
              <a:gd name="connsiteY109" fmla="*/ 289834 h 563880"/>
              <a:gd name="connsiteX110" fmla="*/ 1417595 w 1449171"/>
              <a:gd name="connsiteY110" fmla="*/ 283068 h 563880"/>
              <a:gd name="connsiteX111" fmla="*/ 1394475 w 1449171"/>
              <a:gd name="connsiteY111" fmla="*/ 270099 h 563880"/>
              <a:gd name="connsiteX112" fmla="*/ 1367973 w 1449171"/>
              <a:gd name="connsiteY112" fmla="*/ 257693 h 563880"/>
              <a:gd name="connsiteX113" fmla="*/ 1339779 w 1449171"/>
              <a:gd name="connsiteY113" fmla="*/ 257693 h 563880"/>
              <a:gd name="connsiteX114" fmla="*/ 1302563 w 1449171"/>
              <a:gd name="connsiteY114" fmla="*/ 279121 h 563880"/>
              <a:gd name="connsiteX115" fmla="*/ 1274933 w 1449171"/>
              <a:gd name="connsiteY115" fmla="*/ 317464 h 563880"/>
              <a:gd name="connsiteX116" fmla="*/ 1242792 w 1449171"/>
              <a:gd name="connsiteY116" fmla="*/ 296037 h 563880"/>
              <a:gd name="connsiteX117" fmla="*/ 1235461 w 1449171"/>
              <a:gd name="connsiteY117" fmla="*/ 237957 h 563880"/>
              <a:gd name="connsiteX118" fmla="*/ 953521 w 1449171"/>
              <a:gd name="connsiteY118" fmla="*/ 145481 h 563880"/>
              <a:gd name="connsiteX119" fmla="*/ 947882 w 1449171"/>
              <a:gd name="connsiteY119" fmla="*/ 137587 h 563880"/>
              <a:gd name="connsiteX120" fmla="*/ 916869 w 1449171"/>
              <a:gd name="connsiteY120" fmla="*/ 163525 h 563880"/>
              <a:gd name="connsiteX121" fmla="*/ 880217 w 1449171"/>
              <a:gd name="connsiteY121" fmla="*/ 165217 h 563880"/>
              <a:gd name="connsiteX122" fmla="*/ 840181 w 1449171"/>
              <a:gd name="connsiteY122" fmla="*/ 160142 h 563880"/>
              <a:gd name="connsiteX123" fmla="*/ 815370 w 1449171"/>
              <a:gd name="connsiteY123" fmla="*/ 149428 h 563880"/>
              <a:gd name="connsiteX124" fmla="*/ 788868 w 1449171"/>
              <a:gd name="connsiteY124" fmla="*/ 176494 h 563880"/>
              <a:gd name="connsiteX125" fmla="*/ 782101 w 1449171"/>
              <a:gd name="connsiteY125" fmla="*/ 191155 h 563880"/>
              <a:gd name="connsiteX126" fmla="*/ 765749 w 1449171"/>
              <a:gd name="connsiteY126" fmla="*/ 245288 h 563880"/>
              <a:gd name="connsiteX127" fmla="*/ 760674 w 1449171"/>
              <a:gd name="connsiteY127" fmla="*/ 273482 h 563880"/>
              <a:gd name="connsiteX128" fmla="*/ 747141 w 1449171"/>
              <a:gd name="connsiteY128" fmla="*/ 297165 h 563880"/>
              <a:gd name="connsiteX129" fmla="*/ 756163 w 1449171"/>
              <a:gd name="connsiteY129" fmla="*/ 321412 h 563880"/>
              <a:gd name="connsiteX130" fmla="*/ 769132 w 1449171"/>
              <a:gd name="connsiteY130" fmla="*/ 321976 h 563880"/>
              <a:gd name="connsiteX131" fmla="*/ 772516 w 1449171"/>
              <a:gd name="connsiteY131" fmla="*/ 356372 h 563880"/>
              <a:gd name="connsiteX132" fmla="*/ 761802 w 1449171"/>
              <a:gd name="connsiteY132" fmla="*/ 389641 h 563880"/>
              <a:gd name="connsiteX133" fmla="*/ 774771 w 1449171"/>
              <a:gd name="connsiteY133" fmla="*/ 400355 h 563880"/>
              <a:gd name="connsiteX134" fmla="*/ 795071 w 1449171"/>
              <a:gd name="connsiteY134" fmla="*/ 394716 h 563880"/>
              <a:gd name="connsiteX135" fmla="*/ 796762 w 1449171"/>
              <a:gd name="connsiteY135" fmla="*/ 343403 h 563880"/>
              <a:gd name="connsiteX136" fmla="*/ 795635 w 1449171"/>
              <a:gd name="connsiteY136" fmla="*/ 301676 h 563880"/>
              <a:gd name="connsiteX137" fmla="*/ 817062 w 1449171"/>
              <a:gd name="connsiteY137" fmla="*/ 290962 h 563880"/>
              <a:gd name="connsiteX138" fmla="*/ 813115 w 1449171"/>
              <a:gd name="connsiteY138" fmla="*/ 325923 h 563880"/>
              <a:gd name="connsiteX139" fmla="*/ 835106 w 1449171"/>
              <a:gd name="connsiteY139" fmla="*/ 346786 h 563880"/>
              <a:gd name="connsiteX140" fmla="*/ 830595 w 1449171"/>
              <a:gd name="connsiteY140" fmla="*/ 360883 h 563880"/>
              <a:gd name="connsiteX141" fmla="*/ 837926 w 1449171"/>
              <a:gd name="connsiteY141" fmla="*/ 370469 h 563880"/>
              <a:gd name="connsiteX142" fmla="*/ 869503 w 1449171"/>
              <a:gd name="connsiteY142" fmla="*/ 356936 h 563880"/>
              <a:gd name="connsiteX143" fmla="*/ 852586 w 1449171"/>
              <a:gd name="connsiteY143" fmla="*/ 386258 h 563880"/>
              <a:gd name="connsiteX144" fmla="*/ 864428 w 1449171"/>
              <a:gd name="connsiteY144" fmla="*/ 398663 h 563880"/>
              <a:gd name="connsiteX145" fmla="*/ 881908 w 1449171"/>
              <a:gd name="connsiteY145" fmla="*/ 387949 h 563880"/>
              <a:gd name="connsiteX146" fmla="*/ 883600 w 1449171"/>
              <a:gd name="connsiteY146" fmla="*/ 364830 h 563880"/>
              <a:gd name="connsiteX147" fmla="*/ 857098 w 1449171"/>
              <a:gd name="connsiteY147" fmla="*/ 323103 h 563880"/>
              <a:gd name="connsiteX148" fmla="*/ 863300 w 1449171"/>
              <a:gd name="connsiteY148" fmla="*/ 310698 h 563880"/>
              <a:gd name="connsiteX149" fmla="*/ 834542 w 1449171"/>
              <a:gd name="connsiteY149" fmla="*/ 265024 h 563880"/>
              <a:gd name="connsiteX150" fmla="*/ 862736 w 1449171"/>
              <a:gd name="connsiteY150" fmla="*/ 250927 h 563880"/>
              <a:gd name="connsiteX151" fmla="*/ 877397 w 1449171"/>
              <a:gd name="connsiteY151" fmla="*/ 230063 h 563880"/>
              <a:gd name="connsiteX152" fmla="*/ 890930 w 1449171"/>
              <a:gd name="connsiteY152" fmla="*/ 235138 h 563880"/>
              <a:gd name="connsiteX153" fmla="*/ 893750 w 1449171"/>
              <a:gd name="connsiteY153" fmla="*/ 218785 h 563880"/>
              <a:gd name="connsiteX154" fmla="*/ 834542 w 1449171"/>
              <a:gd name="connsiteY154" fmla="*/ 230627 h 563880"/>
              <a:gd name="connsiteX155" fmla="*/ 817062 w 1449171"/>
              <a:gd name="connsiteY155" fmla="*/ 246979 h 563880"/>
              <a:gd name="connsiteX156" fmla="*/ 788868 w 1449171"/>
              <a:gd name="connsiteY156" fmla="*/ 215402 h 563880"/>
              <a:gd name="connsiteX157" fmla="*/ 793943 w 1449171"/>
              <a:gd name="connsiteY157" fmla="*/ 188336 h 563880"/>
              <a:gd name="connsiteX158" fmla="*/ 821573 w 1449171"/>
              <a:gd name="connsiteY158" fmla="*/ 182697 h 563880"/>
              <a:gd name="connsiteX159" fmla="*/ 874014 w 1449171"/>
              <a:gd name="connsiteY159" fmla="*/ 181006 h 563880"/>
              <a:gd name="connsiteX160" fmla="*/ 904464 w 1449171"/>
              <a:gd name="connsiteY160" fmla="*/ 188336 h 563880"/>
              <a:gd name="connsiteX161" fmla="*/ 928710 w 1449171"/>
              <a:gd name="connsiteY161" fmla="*/ 181006 h 563880"/>
              <a:gd name="connsiteX162" fmla="*/ 953521 w 1449171"/>
              <a:gd name="connsiteY162" fmla="*/ 145481 h 563880"/>
              <a:gd name="connsiteX163" fmla="*/ 1062914 w 1449171"/>
              <a:gd name="connsiteY163" fmla="*/ 156195 h 563880"/>
              <a:gd name="connsiteX164" fmla="*/ 1059531 w 1449171"/>
              <a:gd name="connsiteY164" fmla="*/ 141534 h 563880"/>
              <a:gd name="connsiteX165" fmla="*/ 1040922 w 1449171"/>
              <a:gd name="connsiteY165" fmla="*/ 138151 h 563880"/>
              <a:gd name="connsiteX166" fmla="*/ 1038103 w 1449171"/>
              <a:gd name="connsiteY166" fmla="*/ 118415 h 563880"/>
              <a:gd name="connsiteX167" fmla="*/ 1027953 w 1449171"/>
              <a:gd name="connsiteY167" fmla="*/ 131384 h 563880"/>
              <a:gd name="connsiteX168" fmla="*/ 1022314 w 1449171"/>
              <a:gd name="connsiteY168" fmla="*/ 160142 h 563880"/>
              <a:gd name="connsiteX169" fmla="*/ 1031900 w 1449171"/>
              <a:gd name="connsiteY169" fmla="*/ 206380 h 563880"/>
              <a:gd name="connsiteX170" fmla="*/ 1044306 w 1449171"/>
              <a:gd name="connsiteY170" fmla="*/ 228936 h 563880"/>
              <a:gd name="connsiteX171" fmla="*/ 1053327 w 1449171"/>
              <a:gd name="connsiteY171" fmla="*/ 224424 h 563880"/>
              <a:gd name="connsiteX172" fmla="*/ 1040359 w 1449171"/>
              <a:gd name="connsiteY172" fmla="*/ 205816 h 563880"/>
              <a:gd name="connsiteX173" fmla="*/ 1045434 w 1449171"/>
              <a:gd name="connsiteY173" fmla="*/ 183825 h 563880"/>
              <a:gd name="connsiteX174" fmla="*/ 1061786 w 1449171"/>
              <a:gd name="connsiteY174" fmla="*/ 187208 h 563880"/>
              <a:gd name="connsiteX175" fmla="*/ 1062914 w 1449171"/>
              <a:gd name="connsiteY175" fmla="*/ 156195 h 563880"/>
              <a:gd name="connsiteX176" fmla="*/ 719511 w 1449171"/>
              <a:gd name="connsiteY176" fmla="*/ 130820 h 563880"/>
              <a:gd name="connsiteX177" fmla="*/ 724586 w 1449171"/>
              <a:gd name="connsiteY177" fmla="*/ 114468 h 563880"/>
              <a:gd name="connsiteX178" fmla="*/ 700339 w 1449171"/>
              <a:gd name="connsiteY178" fmla="*/ 80635 h 563880"/>
              <a:gd name="connsiteX179" fmla="*/ 717255 w 1449171"/>
              <a:gd name="connsiteY179" fmla="*/ 47930 h 563880"/>
              <a:gd name="connsiteX180" fmla="*/ 689061 w 1449171"/>
              <a:gd name="connsiteY180" fmla="*/ 42291 h 563880"/>
              <a:gd name="connsiteX181" fmla="*/ 652973 w 1449171"/>
              <a:gd name="connsiteY181" fmla="*/ 42291 h 563880"/>
              <a:gd name="connsiteX182" fmla="*/ 643387 w 1449171"/>
              <a:gd name="connsiteY182" fmla="*/ 82890 h 563880"/>
              <a:gd name="connsiteX183" fmla="*/ 632109 w 1449171"/>
              <a:gd name="connsiteY183" fmla="*/ 95296 h 563880"/>
              <a:gd name="connsiteX184" fmla="*/ 616885 w 1449171"/>
              <a:gd name="connsiteY184" fmla="*/ 145481 h 563880"/>
              <a:gd name="connsiteX185" fmla="*/ 591510 w 1449171"/>
              <a:gd name="connsiteY185" fmla="*/ 152812 h 563880"/>
              <a:gd name="connsiteX186" fmla="*/ 561061 w 1449171"/>
              <a:gd name="connsiteY186" fmla="*/ 142662 h 563880"/>
              <a:gd name="connsiteX187" fmla="*/ 545835 w 1449171"/>
              <a:gd name="connsiteY187" fmla="*/ 146045 h 563880"/>
              <a:gd name="connsiteX188" fmla="*/ 527792 w 1449171"/>
              <a:gd name="connsiteY188" fmla="*/ 164089 h 563880"/>
              <a:gd name="connsiteX189" fmla="*/ 507492 w 1449171"/>
              <a:gd name="connsiteY189" fmla="*/ 161834 h 563880"/>
              <a:gd name="connsiteX190" fmla="*/ 487192 w 1449171"/>
              <a:gd name="connsiteY190" fmla="*/ 168600 h 563880"/>
              <a:gd name="connsiteX191" fmla="*/ 465201 w 1449171"/>
              <a:gd name="connsiteY191" fmla="*/ 148864 h 563880"/>
              <a:gd name="connsiteX192" fmla="*/ 459562 w 1449171"/>
              <a:gd name="connsiteY192" fmla="*/ 124618 h 563880"/>
              <a:gd name="connsiteX193" fmla="*/ 440954 w 1449171"/>
              <a:gd name="connsiteY193" fmla="*/ 148300 h 563880"/>
              <a:gd name="connsiteX194" fmla="*/ 437571 w 1449171"/>
              <a:gd name="connsiteY194" fmla="*/ 181569 h 563880"/>
              <a:gd name="connsiteX195" fmla="*/ 442082 w 1449171"/>
              <a:gd name="connsiteY195" fmla="*/ 213147 h 563880"/>
              <a:gd name="connsiteX196" fmla="*/ 456743 w 1449171"/>
              <a:gd name="connsiteY196" fmla="*/ 243596 h 563880"/>
              <a:gd name="connsiteX197" fmla="*/ 472531 w 1449171"/>
              <a:gd name="connsiteY197" fmla="*/ 253746 h 563880"/>
              <a:gd name="connsiteX198" fmla="*/ 476479 w 1449171"/>
              <a:gd name="connsiteY198" fmla="*/ 301676 h 563880"/>
              <a:gd name="connsiteX199" fmla="*/ 502417 w 1449171"/>
              <a:gd name="connsiteY199" fmla="*/ 306187 h 563880"/>
              <a:gd name="connsiteX200" fmla="*/ 522717 w 1449171"/>
              <a:gd name="connsiteY200" fmla="*/ 303931 h 563880"/>
              <a:gd name="connsiteX201" fmla="*/ 533994 w 1449171"/>
              <a:gd name="connsiteY201" fmla="*/ 321412 h 563880"/>
              <a:gd name="connsiteX202" fmla="*/ 571774 w 1449171"/>
              <a:gd name="connsiteY202" fmla="*/ 308442 h 563880"/>
              <a:gd name="connsiteX203" fmla="*/ 587563 w 1449171"/>
              <a:gd name="connsiteY203" fmla="*/ 319720 h 563880"/>
              <a:gd name="connsiteX204" fmla="*/ 610118 w 1449171"/>
              <a:gd name="connsiteY204" fmla="*/ 321976 h 563880"/>
              <a:gd name="connsiteX205" fmla="*/ 621396 w 1449171"/>
              <a:gd name="connsiteY205" fmla="*/ 343967 h 563880"/>
              <a:gd name="connsiteX206" fmla="*/ 658048 w 1449171"/>
              <a:gd name="connsiteY206" fmla="*/ 327615 h 563880"/>
              <a:gd name="connsiteX207" fmla="*/ 662559 w 1449171"/>
              <a:gd name="connsiteY207" fmla="*/ 340584 h 563880"/>
              <a:gd name="connsiteX208" fmla="*/ 676656 w 1449171"/>
              <a:gd name="connsiteY208" fmla="*/ 285887 h 563880"/>
              <a:gd name="connsiteX209" fmla="*/ 678347 w 1449171"/>
              <a:gd name="connsiteY209" fmla="*/ 249799 h 563880"/>
              <a:gd name="connsiteX210" fmla="*/ 709361 w 1449171"/>
              <a:gd name="connsiteY210" fmla="*/ 225552 h 563880"/>
              <a:gd name="connsiteX211" fmla="*/ 708233 w 1449171"/>
              <a:gd name="connsiteY211" fmla="*/ 192847 h 563880"/>
              <a:gd name="connsiteX212" fmla="*/ 718383 w 1449171"/>
              <a:gd name="connsiteY212" fmla="*/ 168600 h 563880"/>
              <a:gd name="connsiteX213" fmla="*/ 756163 w 1449171"/>
              <a:gd name="connsiteY213" fmla="*/ 164089 h 563880"/>
              <a:gd name="connsiteX214" fmla="*/ 719511 w 1449171"/>
              <a:gd name="connsiteY214" fmla="*/ 130820 h 563880"/>
              <a:gd name="connsiteX215" fmla="*/ 332125 w 1449171"/>
              <a:gd name="connsiteY215" fmla="*/ 406558 h 563880"/>
              <a:gd name="connsiteX216" fmla="*/ 336072 w 1449171"/>
              <a:gd name="connsiteY216" fmla="*/ 351297 h 563880"/>
              <a:gd name="connsiteX217" fmla="*/ 345658 w 1449171"/>
              <a:gd name="connsiteY217" fmla="*/ 306187 h 563880"/>
              <a:gd name="connsiteX218" fmla="*/ 330997 w 1449171"/>
              <a:gd name="connsiteY218" fmla="*/ 283632 h 563880"/>
              <a:gd name="connsiteX219" fmla="*/ 307878 w 1449171"/>
              <a:gd name="connsiteY219" fmla="*/ 280812 h 563880"/>
              <a:gd name="connsiteX220" fmla="*/ 297165 w 1449171"/>
              <a:gd name="connsiteY220" fmla="*/ 260513 h 563880"/>
              <a:gd name="connsiteX221" fmla="*/ 292089 w 1449171"/>
              <a:gd name="connsiteY221" fmla="*/ 235702 h 563880"/>
              <a:gd name="connsiteX222" fmla="*/ 280812 w 1449171"/>
              <a:gd name="connsiteY222" fmla="*/ 234574 h 563880"/>
              <a:gd name="connsiteX223" fmla="*/ 262768 w 1449171"/>
              <a:gd name="connsiteY223" fmla="*/ 222169 h 563880"/>
              <a:gd name="connsiteX224" fmla="*/ 275737 w 1449171"/>
              <a:gd name="connsiteY224" fmla="*/ 192847 h 563880"/>
              <a:gd name="connsiteX225" fmla="*/ 251490 w 1449171"/>
              <a:gd name="connsiteY225" fmla="*/ 176494 h 563880"/>
              <a:gd name="connsiteX226" fmla="*/ 232882 w 1449171"/>
              <a:gd name="connsiteY226" fmla="*/ 146609 h 563880"/>
              <a:gd name="connsiteX227" fmla="*/ 205816 w 1449171"/>
              <a:gd name="connsiteY227" fmla="*/ 121798 h 563880"/>
              <a:gd name="connsiteX228" fmla="*/ 173675 w 1449171"/>
              <a:gd name="connsiteY228" fmla="*/ 121234 h 563880"/>
              <a:gd name="connsiteX229" fmla="*/ 142661 w 1449171"/>
              <a:gd name="connsiteY229" fmla="*/ 82890 h 563880"/>
              <a:gd name="connsiteX230" fmla="*/ 124617 w 1449171"/>
              <a:gd name="connsiteY230" fmla="*/ 67666 h 563880"/>
              <a:gd name="connsiteX231" fmla="*/ 99243 w 1449171"/>
              <a:gd name="connsiteY231" fmla="*/ 43419 h 563880"/>
              <a:gd name="connsiteX232" fmla="*/ 69921 w 1449171"/>
              <a:gd name="connsiteY232" fmla="*/ 8458 h 563880"/>
              <a:gd name="connsiteX233" fmla="*/ 20300 w 1449171"/>
              <a:gd name="connsiteY233" fmla="*/ 1692 h 563880"/>
              <a:gd name="connsiteX234" fmla="*/ 0 w 1449171"/>
              <a:gd name="connsiteY234" fmla="*/ 0 h 563880"/>
              <a:gd name="connsiteX235" fmla="*/ 3383 w 1449171"/>
              <a:gd name="connsiteY235" fmla="*/ 18044 h 563880"/>
              <a:gd name="connsiteX236" fmla="*/ 37780 w 1449171"/>
              <a:gd name="connsiteY236" fmla="*/ 57516 h 563880"/>
              <a:gd name="connsiteX237" fmla="*/ 62591 w 1449171"/>
              <a:gd name="connsiteY237" fmla="*/ 77815 h 563880"/>
              <a:gd name="connsiteX238" fmla="*/ 80071 w 1449171"/>
              <a:gd name="connsiteY238" fmla="*/ 108829 h 563880"/>
              <a:gd name="connsiteX239" fmla="*/ 108828 w 1449171"/>
              <a:gd name="connsiteY239" fmla="*/ 131384 h 563880"/>
              <a:gd name="connsiteX240" fmla="*/ 121234 w 1449171"/>
              <a:gd name="connsiteY240" fmla="*/ 159014 h 563880"/>
              <a:gd name="connsiteX241" fmla="*/ 130820 w 1449171"/>
              <a:gd name="connsiteY241" fmla="*/ 190028 h 563880"/>
              <a:gd name="connsiteX242" fmla="*/ 158450 w 1449171"/>
              <a:gd name="connsiteY242" fmla="*/ 219913 h 563880"/>
              <a:gd name="connsiteX243" fmla="*/ 181569 w 1449171"/>
              <a:gd name="connsiteY243" fmla="*/ 270099 h 563880"/>
              <a:gd name="connsiteX244" fmla="*/ 196794 w 1449171"/>
              <a:gd name="connsiteY244" fmla="*/ 297165 h 563880"/>
              <a:gd name="connsiteX245" fmla="*/ 219913 w 1449171"/>
              <a:gd name="connsiteY245" fmla="*/ 326487 h 563880"/>
              <a:gd name="connsiteX246" fmla="*/ 232318 w 1449171"/>
              <a:gd name="connsiteY246" fmla="*/ 347914 h 563880"/>
              <a:gd name="connsiteX247" fmla="*/ 271790 w 1449171"/>
              <a:gd name="connsiteY247" fmla="*/ 377236 h 563880"/>
              <a:gd name="connsiteX248" fmla="*/ 297165 w 1449171"/>
              <a:gd name="connsiteY248" fmla="*/ 407121 h 563880"/>
              <a:gd name="connsiteX249" fmla="*/ 332125 w 1449171"/>
              <a:gd name="connsiteY249" fmla="*/ 406558 h 5638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</a:cxnLst>
            <a:rect l="l" t="t" r="r" b="b"/>
            <a:pathLst>
              <a:path w="1449171" h="563880">
                <a:moveTo>
                  <a:pt x="792251" y="563880"/>
                </a:moveTo>
                <a:lnTo>
                  <a:pt x="795071" y="554294"/>
                </a:lnTo>
                <a:lnTo>
                  <a:pt x="784921" y="543581"/>
                </a:lnTo>
                <a:lnTo>
                  <a:pt x="769132" y="532303"/>
                </a:lnTo>
                <a:lnTo>
                  <a:pt x="739247" y="539633"/>
                </a:lnTo>
                <a:lnTo>
                  <a:pt x="778718" y="564444"/>
                </a:lnTo>
                <a:lnTo>
                  <a:pt x="792251" y="563880"/>
                </a:lnTo>
                <a:close/>
                <a:moveTo>
                  <a:pt x="910102" y="560497"/>
                </a:moveTo>
                <a:lnTo>
                  <a:pt x="932658" y="533431"/>
                </a:lnTo>
                <a:lnTo>
                  <a:pt x="933221" y="522717"/>
                </a:lnTo>
                <a:lnTo>
                  <a:pt x="930402" y="515386"/>
                </a:lnTo>
                <a:lnTo>
                  <a:pt x="898260" y="530047"/>
                </a:lnTo>
                <a:lnTo>
                  <a:pt x="882472" y="552039"/>
                </a:lnTo>
                <a:lnTo>
                  <a:pt x="878525" y="563880"/>
                </a:lnTo>
                <a:lnTo>
                  <a:pt x="881908" y="568391"/>
                </a:lnTo>
                <a:lnTo>
                  <a:pt x="910102" y="560497"/>
                </a:lnTo>
                <a:close/>
                <a:moveTo>
                  <a:pt x="709361" y="487192"/>
                </a:moveTo>
                <a:lnTo>
                  <a:pt x="700339" y="499598"/>
                </a:lnTo>
                <a:lnTo>
                  <a:pt x="682859" y="500162"/>
                </a:lnTo>
                <a:lnTo>
                  <a:pt x="670453" y="520461"/>
                </a:lnTo>
                <a:lnTo>
                  <a:pt x="687370" y="521025"/>
                </a:lnTo>
                <a:lnTo>
                  <a:pt x="709361" y="515950"/>
                </a:lnTo>
                <a:lnTo>
                  <a:pt x="746577" y="509184"/>
                </a:lnTo>
                <a:lnTo>
                  <a:pt x="739810" y="493395"/>
                </a:lnTo>
                <a:lnTo>
                  <a:pt x="720075" y="496779"/>
                </a:lnTo>
                <a:lnTo>
                  <a:pt x="709361" y="487192"/>
                </a:lnTo>
                <a:close/>
                <a:moveTo>
                  <a:pt x="867811" y="487192"/>
                </a:moveTo>
                <a:lnTo>
                  <a:pt x="838489" y="500162"/>
                </a:lnTo>
                <a:lnTo>
                  <a:pt x="817062" y="502981"/>
                </a:lnTo>
                <a:lnTo>
                  <a:pt x="797890" y="492267"/>
                </a:lnTo>
                <a:lnTo>
                  <a:pt x="772516" y="499598"/>
                </a:lnTo>
                <a:lnTo>
                  <a:pt x="771387" y="512567"/>
                </a:lnTo>
                <a:lnTo>
                  <a:pt x="813115" y="517078"/>
                </a:lnTo>
                <a:lnTo>
                  <a:pt x="861608" y="506928"/>
                </a:lnTo>
                <a:lnTo>
                  <a:pt x="867811" y="487192"/>
                </a:lnTo>
                <a:close/>
                <a:moveTo>
                  <a:pt x="419527" y="439826"/>
                </a:moveTo>
                <a:lnTo>
                  <a:pt x="415579" y="426857"/>
                </a:lnTo>
                <a:lnTo>
                  <a:pt x="402610" y="424038"/>
                </a:lnTo>
                <a:lnTo>
                  <a:pt x="377800" y="410505"/>
                </a:lnTo>
                <a:lnTo>
                  <a:pt x="339456" y="408249"/>
                </a:lnTo>
                <a:lnTo>
                  <a:pt x="316337" y="442646"/>
                </a:lnTo>
                <a:lnTo>
                  <a:pt x="345094" y="444901"/>
                </a:lnTo>
                <a:lnTo>
                  <a:pt x="349606" y="460690"/>
                </a:lnTo>
                <a:lnTo>
                  <a:pt x="405994" y="475351"/>
                </a:lnTo>
                <a:lnTo>
                  <a:pt x="419527" y="470840"/>
                </a:lnTo>
                <a:lnTo>
                  <a:pt x="442646" y="474223"/>
                </a:lnTo>
                <a:lnTo>
                  <a:pt x="478170" y="487756"/>
                </a:lnTo>
                <a:lnTo>
                  <a:pt x="507492" y="494523"/>
                </a:lnTo>
                <a:lnTo>
                  <a:pt x="540197" y="497342"/>
                </a:lnTo>
                <a:lnTo>
                  <a:pt x="568955" y="496214"/>
                </a:lnTo>
                <a:lnTo>
                  <a:pt x="602223" y="510311"/>
                </a:lnTo>
                <a:lnTo>
                  <a:pt x="639440" y="496779"/>
                </a:lnTo>
                <a:lnTo>
                  <a:pt x="602223" y="475351"/>
                </a:lnTo>
                <a:lnTo>
                  <a:pt x="555422" y="469148"/>
                </a:lnTo>
                <a:lnTo>
                  <a:pt x="545272" y="446029"/>
                </a:lnTo>
                <a:lnTo>
                  <a:pt x="487192" y="428549"/>
                </a:lnTo>
                <a:lnTo>
                  <a:pt x="479862" y="443210"/>
                </a:lnTo>
                <a:lnTo>
                  <a:pt x="419527" y="439826"/>
                </a:lnTo>
                <a:close/>
                <a:moveTo>
                  <a:pt x="1246175" y="419527"/>
                </a:moveTo>
                <a:lnTo>
                  <a:pt x="1247302" y="402610"/>
                </a:lnTo>
                <a:lnTo>
                  <a:pt x="1240536" y="391897"/>
                </a:lnTo>
                <a:lnTo>
                  <a:pt x="1233205" y="404302"/>
                </a:lnTo>
                <a:lnTo>
                  <a:pt x="1226439" y="416707"/>
                </a:lnTo>
                <a:lnTo>
                  <a:pt x="1228130" y="443774"/>
                </a:lnTo>
                <a:lnTo>
                  <a:pt x="1246175" y="419527"/>
                </a:lnTo>
                <a:close/>
                <a:moveTo>
                  <a:pt x="1014984" y="320848"/>
                </a:moveTo>
                <a:lnTo>
                  <a:pt x="1007090" y="309006"/>
                </a:lnTo>
                <a:lnTo>
                  <a:pt x="974949" y="310698"/>
                </a:lnTo>
                <a:lnTo>
                  <a:pt x="980587" y="325923"/>
                </a:lnTo>
                <a:lnTo>
                  <a:pt x="1002578" y="332689"/>
                </a:lnTo>
                <a:lnTo>
                  <a:pt x="1014984" y="320848"/>
                </a:lnTo>
                <a:close/>
                <a:moveTo>
                  <a:pt x="1117046" y="307315"/>
                </a:moveTo>
                <a:lnTo>
                  <a:pt x="1082650" y="297165"/>
                </a:lnTo>
                <a:lnTo>
                  <a:pt x="1043742" y="298856"/>
                </a:lnTo>
                <a:lnTo>
                  <a:pt x="1035284" y="318592"/>
                </a:lnTo>
                <a:lnTo>
                  <a:pt x="1057275" y="319720"/>
                </a:lnTo>
                <a:lnTo>
                  <a:pt x="1075319" y="317464"/>
                </a:lnTo>
                <a:lnTo>
                  <a:pt x="1101257" y="320284"/>
                </a:lnTo>
                <a:lnTo>
                  <a:pt x="1127760" y="334945"/>
                </a:lnTo>
                <a:lnTo>
                  <a:pt x="1117046" y="307315"/>
                </a:lnTo>
                <a:close/>
                <a:moveTo>
                  <a:pt x="1235461" y="237957"/>
                </a:moveTo>
                <a:lnTo>
                  <a:pt x="1230950" y="224424"/>
                </a:lnTo>
                <a:lnTo>
                  <a:pt x="1180200" y="209763"/>
                </a:lnTo>
                <a:lnTo>
                  <a:pt x="1163849" y="221605"/>
                </a:lnTo>
                <a:lnTo>
                  <a:pt x="1120993" y="230063"/>
                </a:lnTo>
                <a:lnTo>
                  <a:pt x="1133963" y="248107"/>
                </a:lnTo>
                <a:lnTo>
                  <a:pt x="1162157" y="254874"/>
                </a:lnTo>
                <a:lnTo>
                  <a:pt x="1173998" y="275737"/>
                </a:lnTo>
                <a:lnTo>
                  <a:pt x="1220800" y="276301"/>
                </a:lnTo>
                <a:lnTo>
                  <a:pt x="1223056" y="285324"/>
                </a:lnTo>
                <a:lnTo>
                  <a:pt x="1200501" y="284759"/>
                </a:lnTo>
                <a:lnTo>
                  <a:pt x="1165540" y="297729"/>
                </a:lnTo>
                <a:lnTo>
                  <a:pt x="1189223" y="315209"/>
                </a:lnTo>
                <a:lnTo>
                  <a:pt x="1188659" y="330998"/>
                </a:lnTo>
                <a:lnTo>
                  <a:pt x="1195426" y="343967"/>
                </a:lnTo>
                <a:lnTo>
                  <a:pt x="1207267" y="341147"/>
                </a:lnTo>
                <a:lnTo>
                  <a:pt x="1217417" y="323667"/>
                </a:lnTo>
                <a:lnTo>
                  <a:pt x="1263655" y="356936"/>
                </a:lnTo>
                <a:lnTo>
                  <a:pt x="1289593" y="359755"/>
                </a:lnTo>
                <a:lnTo>
                  <a:pt x="1349364" y="390205"/>
                </a:lnTo>
                <a:lnTo>
                  <a:pt x="1362334" y="420091"/>
                </a:lnTo>
                <a:lnTo>
                  <a:pt x="1367973" y="458998"/>
                </a:lnTo>
                <a:lnTo>
                  <a:pt x="1347110" y="469148"/>
                </a:lnTo>
                <a:lnTo>
                  <a:pt x="1331321" y="498470"/>
                </a:lnTo>
                <a:lnTo>
                  <a:pt x="1371356" y="497342"/>
                </a:lnTo>
                <a:lnTo>
                  <a:pt x="1380378" y="487192"/>
                </a:lnTo>
                <a:lnTo>
                  <a:pt x="1411391" y="494523"/>
                </a:lnTo>
                <a:lnTo>
                  <a:pt x="1437330" y="523845"/>
                </a:lnTo>
                <a:lnTo>
                  <a:pt x="1445789" y="406558"/>
                </a:lnTo>
                <a:lnTo>
                  <a:pt x="1451427" y="289834"/>
                </a:lnTo>
                <a:lnTo>
                  <a:pt x="1417595" y="283068"/>
                </a:lnTo>
                <a:lnTo>
                  <a:pt x="1394475" y="270099"/>
                </a:lnTo>
                <a:lnTo>
                  <a:pt x="1367973" y="257693"/>
                </a:lnTo>
                <a:lnTo>
                  <a:pt x="1339779" y="257693"/>
                </a:lnTo>
                <a:lnTo>
                  <a:pt x="1302563" y="279121"/>
                </a:lnTo>
                <a:lnTo>
                  <a:pt x="1274933" y="317464"/>
                </a:lnTo>
                <a:lnTo>
                  <a:pt x="1242792" y="296037"/>
                </a:lnTo>
                <a:lnTo>
                  <a:pt x="1235461" y="237957"/>
                </a:lnTo>
                <a:close/>
                <a:moveTo>
                  <a:pt x="953521" y="145481"/>
                </a:moveTo>
                <a:lnTo>
                  <a:pt x="947882" y="137587"/>
                </a:lnTo>
                <a:lnTo>
                  <a:pt x="916869" y="163525"/>
                </a:lnTo>
                <a:lnTo>
                  <a:pt x="880217" y="165217"/>
                </a:lnTo>
                <a:lnTo>
                  <a:pt x="840181" y="160142"/>
                </a:lnTo>
                <a:lnTo>
                  <a:pt x="815370" y="149428"/>
                </a:lnTo>
                <a:lnTo>
                  <a:pt x="788868" y="176494"/>
                </a:lnTo>
                <a:lnTo>
                  <a:pt x="782101" y="191155"/>
                </a:lnTo>
                <a:lnTo>
                  <a:pt x="765749" y="245288"/>
                </a:lnTo>
                <a:lnTo>
                  <a:pt x="760674" y="273482"/>
                </a:lnTo>
                <a:lnTo>
                  <a:pt x="747141" y="297165"/>
                </a:lnTo>
                <a:lnTo>
                  <a:pt x="756163" y="321412"/>
                </a:lnTo>
                <a:lnTo>
                  <a:pt x="769132" y="321976"/>
                </a:lnTo>
                <a:lnTo>
                  <a:pt x="772516" y="356372"/>
                </a:lnTo>
                <a:lnTo>
                  <a:pt x="761802" y="389641"/>
                </a:lnTo>
                <a:lnTo>
                  <a:pt x="774771" y="400355"/>
                </a:lnTo>
                <a:lnTo>
                  <a:pt x="795071" y="394716"/>
                </a:lnTo>
                <a:lnTo>
                  <a:pt x="796762" y="343403"/>
                </a:lnTo>
                <a:lnTo>
                  <a:pt x="795635" y="301676"/>
                </a:lnTo>
                <a:lnTo>
                  <a:pt x="817062" y="290962"/>
                </a:lnTo>
                <a:lnTo>
                  <a:pt x="813115" y="325923"/>
                </a:lnTo>
                <a:lnTo>
                  <a:pt x="835106" y="346786"/>
                </a:lnTo>
                <a:lnTo>
                  <a:pt x="830595" y="360883"/>
                </a:lnTo>
                <a:lnTo>
                  <a:pt x="837926" y="370469"/>
                </a:lnTo>
                <a:lnTo>
                  <a:pt x="869503" y="356936"/>
                </a:lnTo>
                <a:lnTo>
                  <a:pt x="852586" y="386258"/>
                </a:lnTo>
                <a:lnTo>
                  <a:pt x="864428" y="398663"/>
                </a:lnTo>
                <a:lnTo>
                  <a:pt x="881908" y="387949"/>
                </a:lnTo>
                <a:lnTo>
                  <a:pt x="883600" y="364830"/>
                </a:lnTo>
                <a:lnTo>
                  <a:pt x="857098" y="323103"/>
                </a:lnTo>
                <a:lnTo>
                  <a:pt x="863300" y="310698"/>
                </a:lnTo>
                <a:lnTo>
                  <a:pt x="834542" y="265024"/>
                </a:lnTo>
                <a:lnTo>
                  <a:pt x="862736" y="250927"/>
                </a:lnTo>
                <a:lnTo>
                  <a:pt x="877397" y="230063"/>
                </a:lnTo>
                <a:lnTo>
                  <a:pt x="890930" y="235138"/>
                </a:lnTo>
                <a:lnTo>
                  <a:pt x="893750" y="218785"/>
                </a:lnTo>
                <a:lnTo>
                  <a:pt x="834542" y="230627"/>
                </a:lnTo>
                <a:lnTo>
                  <a:pt x="817062" y="246979"/>
                </a:lnTo>
                <a:lnTo>
                  <a:pt x="788868" y="215402"/>
                </a:lnTo>
                <a:lnTo>
                  <a:pt x="793943" y="188336"/>
                </a:lnTo>
                <a:lnTo>
                  <a:pt x="821573" y="182697"/>
                </a:lnTo>
                <a:lnTo>
                  <a:pt x="874014" y="181006"/>
                </a:lnTo>
                <a:lnTo>
                  <a:pt x="904464" y="188336"/>
                </a:lnTo>
                <a:lnTo>
                  <a:pt x="928710" y="181006"/>
                </a:lnTo>
                <a:lnTo>
                  <a:pt x="953521" y="145481"/>
                </a:lnTo>
                <a:close/>
                <a:moveTo>
                  <a:pt x="1062914" y="156195"/>
                </a:moveTo>
                <a:lnTo>
                  <a:pt x="1059531" y="141534"/>
                </a:lnTo>
                <a:lnTo>
                  <a:pt x="1040922" y="138151"/>
                </a:lnTo>
                <a:lnTo>
                  <a:pt x="1038103" y="118415"/>
                </a:lnTo>
                <a:lnTo>
                  <a:pt x="1027953" y="131384"/>
                </a:lnTo>
                <a:lnTo>
                  <a:pt x="1022314" y="160142"/>
                </a:lnTo>
                <a:lnTo>
                  <a:pt x="1031900" y="206380"/>
                </a:lnTo>
                <a:lnTo>
                  <a:pt x="1044306" y="228936"/>
                </a:lnTo>
                <a:lnTo>
                  <a:pt x="1053327" y="224424"/>
                </a:lnTo>
                <a:lnTo>
                  <a:pt x="1040359" y="205816"/>
                </a:lnTo>
                <a:lnTo>
                  <a:pt x="1045434" y="183825"/>
                </a:lnTo>
                <a:lnTo>
                  <a:pt x="1061786" y="187208"/>
                </a:lnTo>
                <a:lnTo>
                  <a:pt x="1062914" y="156195"/>
                </a:lnTo>
                <a:close/>
                <a:moveTo>
                  <a:pt x="719511" y="130820"/>
                </a:moveTo>
                <a:lnTo>
                  <a:pt x="724586" y="114468"/>
                </a:lnTo>
                <a:lnTo>
                  <a:pt x="700339" y="80635"/>
                </a:lnTo>
                <a:lnTo>
                  <a:pt x="717255" y="47930"/>
                </a:lnTo>
                <a:lnTo>
                  <a:pt x="689061" y="42291"/>
                </a:lnTo>
                <a:lnTo>
                  <a:pt x="652973" y="42291"/>
                </a:lnTo>
                <a:lnTo>
                  <a:pt x="643387" y="82890"/>
                </a:lnTo>
                <a:lnTo>
                  <a:pt x="632109" y="95296"/>
                </a:lnTo>
                <a:lnTo>
                  <a:pt x="616885" y="145481"/>
                </a:lnTo>
                <a:lnTo>
                  <a:pt x="591510" y="152812"/>
                </a:lnTo>
                <a:lnTo>
                  <a:pt x="561061" y="142662"/>
                </a:lnTo>
                <a:lnTo>
                  <a:pt x="545835" y="146045"/>
                </a:lnTo>
                <a:lnTo>
                  <a:pt x="527792" y="164089"/>
                </a:lnTo>
                <a:lnTo>
                  <a:pt x="507492" y="161834"/>
                </a:lnTo>
                <a:lnTo>
                  <a:pt x="487192" y="168600"/>
                </a:lnTo>
                <a:lnTo>
                  <a:pt x="465201" y="148864"/>
                </a:lnTo>
                <a:lnTo>
                  <a:pt x="459562" y="124618"/>
                </a:lnTo>
                <a:lnTo>
                  <a:pt x="440954" y="148300"/>
                </a:lnTo>
                <a:lnTo>
                  <a:pt x="437571" y="181569"/>
                </a:lnTo>
                <a:lnTo>
                  <a:pt x="442082" y="213147"/>
                </a:lnTo>
                <a:lnTo>
                  <a:pt x="456743" y="243596"/>
                </a:lnTo>
                <a:lnTo>
                  <a:pt x="472531" y="253746"/>
                </a:lnTo>
                <a:lnTo>
                  <a:pt x="476479" y="301676"/>
                </a:lnTo>
                <a:lnTo>
                  <a:pt x="502417" y="306187"/>
                </a:lnTo>
                <a:lnTo>
                  <a:pt x="522717" y="303931"/>
                </a:lnTo>
                <a:lnTo>
                  <a:pt x="533994" y="321412"/>
                </a:lnTo>
                <a:lnTo>
                  <a:pt x="571774" y="308442"/>
                </a:lnTo>
                <a:lnTo>
                  <a:pt x="587563" y="319720"/>
                </a:lnTo>
                <a:lnTo>
                  <a:pt x="610118" y="321976"/>
                </a:lnTo>
                <a:lnTo>
                  <a:pt x="621396" y="343967"/>
                </a:lnTo>
                <a:lnTo>
                  <a:pt x="658048" y="327615"/>
                </a:lnTo>
                <a:lnTo>
                  <a:pt x="662559" y="340584"/>
                </a:lnTo>
                <a:lnTo>
                  <a:pt x="676656" y="285887"/>
                </a:lnTo>
                <a:lnTo>
                  <a:pt x="678347" y="249799"/>
                </a:lnTo>
                <a:lnTo>
                  <a:pt x="709361" y="225552"/>
                </a:lnTo>
                <a:lnTo>
                  <a:pt x="708233" y="192847"/>
                </a:lnTo>
                <a:lnTo>
                  <a:pt x="718383" y="168600"/>
                </a:lnTo>
                <a:lnTo>
                  <a:pt x="756163" y="164089"/>
                </a:lnTo>
                <a:lnTo>
                  <a:pt x="719511" y="130820"/>
                </a:lnTo>
                <a:close/>
                <a:moveTo>
                  <a:pt x="332125" y="406558"/>
                </a:moveTo>
                <a:lnTo>
                  <a:pt x="336072" y="351297"/>
                </a:lnTo>
                <a:lnTo>
                  <a:pt x="345658" y="306187"/>
                </a:lnTo>
                <a:lnTo>
                  <a:pt x="330997" y="283632"/>
                </a:lnTo>
                <a:lnTo>
                  <a:pt x="307878" y="280812"/>
                </a:lnTo>
                <a:lnTo>
                  <a:pt x="297165" y="260513"/>
                </a:lnTo>
                <a:lnTo>
                  <a:pt x="292089" y="235702"/>
                </a:lnTo>
                <a:lnTo>
                  <a:pt x="280812" y="234574"/>
                </a:lnTo>
                <a:lnTo>
                  <a:pt x="262768" y="222169"/>
                </a:lnTo>
                <a:lnTo>
                  <a:pt x="275737" y="192847"/>
                </a:lnTo>
                <a:lnTo>
                  <a:pt x="251490" y="176494"/>
                </a:lnTo>
                <a:lnTo>
                  <a:pt x="232882" y="146609"/>
                </a:lnTo>
                <a:lnTo>
                  <a:pt x="205816" y="121798"/>
                </a:lnTo>
                <a:lnTo>
                  <a:pt x="173675" y="121234"/>
                </a:lnTo>
                <a:lnTo>
                  <a:pt x="142661" y="82890"/>
                </a:lnTo>
                <a:lnTo>
                  <a:pt x="124617" y="67666"/>
                </a:lnTo>
                <a:lnTo>
                  <a:pt x="99243" y="43419"/>
                </a:lnTo>
                <a:lnTo>
                  <a:pt x="69921" y="8458"/>
                </a:lnTo>
                <a:lnTo>
                  <a:pt x="20300" y="1692"/>
                </a:lnTo>
                <a:lnTo>
                  <a:pt x="0" y="0"/>
                </a:lnTo>
                <a:lnTo>
                  <a:pt x="3383" y="18044"/>
                </a:lnTo>
                <a:lnTo>
                  <a:pt x="37780" y="57516"/>
                </a:lnTo>
                <a:lnTo>
                  <a:pt x="62591" y="77815"/>
                </a:lnTo>
                <a:lnTo>
                  <a:pt x="80071" y="108829"/>
                </a:lnTo>
                <a:lnTo>
                  <a:pt x="108828" y="131384"/>
                </a:lnTo>
                <a:lnTo>
                  <a:pt x="121234" y="159014"/>
                </a:lnTo>
                <a:lnTo>
                  <a:pt x="130820" y="190028"/>
                </a:lnTo>
                <a:lnTo>
                  <a:pt x="158450" y="219913"/>
                </a:lnTo>
                <a:lnTo>
                  <a:pt x="181569" y="270099"/>
                </a:lnTo>
                <a:lnTo>
                  <a:pt x="196794" y="297165"/>
                </a:lnTo>
                <a:lnTo>
                  <a:pt x="219913" y="326487"/>
                </a:lnTo>
                <a:lnTo>
                  <a:pt x="232318" y="347914"/>
                </a:lnTo>
                <a:lnTo>
                  <a:pt x="271790" y="377236"/>
                </a:lnTo>
                <a:lnTo>
                  <a:pt x="297165" y="407121"/>
                </a:lnTo>
                <a:lnTo>
                  <a:pt x="332125" y="406558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6" name="Freeform: Shape 309">
            <a:extLst>
              <a:ext uri="{FF2B5EF4-FFF2-40B4-BE49-F238E27FC236}">
                <a16:creationId xmlns:a16="http://schemas.microsoft.com/office/drawing/2014/main" id="{DF92E733-0846-4090-8A2F-23FC88AEE7EF}"/>
              </a:ext>
            </a:extLst>
          </p:cNvPr>
          <p:cNvSpPr/>
          <p:nvPr/>
        </p:nvSpPr>
        <p:spPr>
          <a:xfrm>
            <a:off x="7417863" y="3170987"/>
            <a:ext cx="653137" cy="737413"/>
          </a:xfrm>
          <a:custGeom>
            <a:avLst/>
            <a:gdLst>
              <a:gd name="connsiteX0" fmla="*/ 358628 w 874014"/>
              <a:gd name="connsiteY0" fmla="*/ 190592 h 986790"/>
              <a:gd name="connsiteX1" fmla="*/ 310698 w 874014"/>
              <a:gd name="connsiteY1" fmla="*/ 165781 h 986790"/>
              <a:gd name="connsiteX2" fmla="*/ 275737 w 874014"/>
              <a:gd name="connsiteY2" fmla="*/ 143226 h 986790"/>
              <a:gd name="connsiteX3" fmla="*/ 257693 w 874014"/>
              <a:gd name="connsiteY3" fmla="*/ 103754 h 986790"/>
              <a:gd name="connsiteX4" fmla="*/ 280813 w 874014"/>
              <a:gd name="connsiteY4" fmla="*/ 108829 h 986790"/>
              <a:gd name="connsiteX5" fmla="*/ 277429 w 874014"/>
              <a:gd name="connsiteY5" fmla="*/ 90221 h 986790"/>
              <a:gd name="connsiteX6" fmla="*/ 260512 w 874014"/>
              <a:gd name="connsiteY6" fmla="*/ 71613 h 986790"/>
              <a:gd name="connsiteX7" fmla="*/ 256002 w 874014"/>
              <a:gd name="connsiteY7" fmla="*/ 42291 h 986790"/>
              <a:gd name="connsiteX8" fmla="*/ 213147 w 874014"/>
              <a:gd name="connsiteY8" fmla="*/ 0 h 986790"/>
              <a:gd name="connsiteX9" fmla="*/ 192283 w 874014"/>
              <a:gd name="connsiteY9" fmla="*/ 30450 h 986790"/>
              <a:gd name="connsiteX10" fmla="*/ 160142 w 874014"/>
              <a:gd name="connsiteY10" fmla="*/ 36088 h 986790"/>
              <a:gd name="connsiteX11" fmla="*/ 112212 w 874014"/>
              <a:gd name="connsiteY11" fmla="*/ 27066 h 986790"/>
              <a:gd name="connsiteX12" fmla="*/ 101498 w 874014"/>
              <a:gd name="connsiteY12" fmla="*/ 42855 h 986790"/>
              <a:gd name="connsiteX13" fmla="*/ 119542 w 874014"/>
              <a:gd name="connsiteY13" fmla="*/ 74432 h 986790"/>
              <a:gd name="connsiteX14" fmla="*/ 135895 w 874014"/>
              <a:gd name="connsiteY14" fmla="*/ 98679 h 986790"/>
              <a:gd name="connsiteX15" fmla="*/ 164089 w 874014"/>
              <a:gd name="connsiteY15" fmla="*/ 116159 h 986790"/>
              <a:gd name="connsiteX16" fmla="*/ 143226 w 874014"/>
              <a:gd name="connsiteY16" fmla="*/ 137023 h 986790"/>
              <a:gd name="connsiteX17" fmla="*/ 148864 w 874014"/>
              <a:gd name="connsiteY17" fmla="*/ 162398 h 986790"/>
              <a:gd name="connsiteX18" fmla="*/ 126873 w 874014"/>
              <a:gd name="connsiteY18" fmla="*/ 197922 h 986790"/>
              <a:gd name="connsiteX19" fmla="*/ 115032 w 874014"/>
              <a:gd name="connsiteY19" fmla="*/ 234574 h 986790"/>
              <a:gd name="connsiteX20" fmla="*/ 89657 w 874014"/>
              <a:gd name="connsiteY20" fmla="*/ 272354 h 986790"/>
              <a:gd name="connsiteX21" fmla="*/ 53569 w 874014"/>
              <a:gd name="connsiteY21" fmla="*/ 269535 h 986790"/>
              <a:gd name="connsiteX22" fmla="*/ 25938 w 874014"/>
              <a:gd name="connsiteY22" fmla="*/ 306751 h 986790"/>
              <a:gd name="connsiteX23" fmla="*/ 48494 w 874014"/>
              <a:gd name="connsiteY23" fmla="*/ 323103 h 986790"/>
              <a:gd name="connsiteX24" fmla="*/ 55824 w 874014"/>
              <a:gd name="connsiteY24" fmla="*/ 350733 h 986790"/>
              <a:gd name="connsiteX25" fmla="*/ 75560 w 874014"/>
              <a:gd name="connsiteY25" fmla="*/ 368778 h 986790"/>
              <a:gd name="connsiteX26" fmla="*/ 85709 w 874014"/>
              <a:gd name="connsiteY26" fmla="*/ 399791 h 986790"/>
              <a:gd name="connsiteX27" fmla="*/ 18044 w 874014"/>
              <a:gd name="connsiteY27" fmla="*/ 399791 h 986790"/>
              <a:gd name="connsiteX28" fmla="*/ 0 w 874014"/>
              <a:gd name="connsiteY28" fmla="*/ 423474 h 986790"/>
              <a:gd name="connsiteX29" fmla="*/ 40035 w 874014"/>
              <a:gd name="connsiteY29" fmla="*/ 453923 h 986790"/>
              <a:gd name="connsiteX30" fmla="*/ 50749 w 874014"/>
              <a:gd name="connsiteY30" fmla="*/ 468020 h 986790"/>
              <a:gd name="connsiteX31" fmla="*/ 37216 w 874014"/>
              <a:gd name="connsiteY31" fmla="*/ 480990 h 986790"/>
              <a:gd name="connsiteX32" fmla="*/ 82326 w 874014"/>
              <a:gd name="connsiteY32" fmla="*/ 524408 h 986790"/>
              <a:gd name="connsiteX33" fmla="*/ 104882 w 874014"/>
              <a:gd name="connsiteY33" fmla="*/ 528920 h 986790"/>
              <a:gd name="connsiteX34" fmla="*/ 147736 w 874014"/>
              <a:gd name="connsiteY34" fmla="*/ 507492 h 986790"/>
              <a:gd name="connsiteX35" fmla="*/ 157323 w 874014"/>
              <a:gd name="connsiteY35" fmla="*/ 540761 h 986790"/>
              <a:gd name="connsiteX36" fmla="*/ 161833 w 874014"/>
              <a:gd name="connsiteY36" fmla="*/ 584744 h 986790"/>
              <a:gd name="connsiteX37" fmla="*/ 175930 w 874014"/>
              <a:gd name="connsiteY37" fmla="*/ 630418 h 986790"/>
              <a:gd name="connsiteX38" fmla="*/ 196231 w 874014"/>
              <a:gd name="connsiteY38" fmla="*/ 699775 h 986790"/>
              <a:gd name="connsiteX39" fmla="*/ 228935 w 874014"/>
              <a:gd name="connsiteY39" fmla="*/ 749397 h 986790"/>
              <a:gd name="connsiteX40" fmla="*/ 236266 w 874014"/>
              <a:gd name="connsiteY40" fmla="*/ 771388 h 986790"/>
              <a:gd name="connsiteX41" fmla="*/ 247543 w 874014"/>
              <a:gd name="connsiteY41" fmla="*/ 816498 h 986790"/>
              <a:gd name="connsiteX42" fmla="*/ 266716 w 874014"/>
              <a:gd name="connsiteY42" fmla="*/ 850895 h 986790"/>
              <a:gd name="connsiteX43" fmla="*/ 279121 w 874014"/>
              <a:gd name="connsiteY43" fmla="*/ 867812 h 986790"/>
              <a:gd name="connsiteX44" fmla="*/ 293218 w 874014"/>
              <a:gd name="connsiteY44" fmla="*/ 903900 h 986790"/>
              <a:gd name="connsiteX45" fmla="*/ 310698 w 874014"/>
              <a:gd name="connsiteY45" fmla="*/ 954085 h 986790"/>
              <a:gd name="connsiteX46" fmla="*/ 341711 w 874014"/>
              <a:gd name="connsiteY46" fmla="*/ 987918 h 986790"/>
              <a:gd name="connsiteX47" fmla="*/ 354117 w 874014"/>
              <a:gd name="connsiteY47" fmla="*/ 977768 h 986790"/>
              <a:gd name="connsiteX48" fmla="*/ 363703 w 874014"/>
              <a:gd name="connsiteY48" fmla="*/ 952957 h 986790"/>
              <a:gd name="connsiteX49" fmla="*/ 391897 w 874014"/>
              <a:gd name="connsiteY49" fmla="*/ 942807 h 986790"/>
              <a:gd name="connsiteX50" fmla="*/ 381747 w 874014"/>
              <a:gd name="connsiteY50" fmla="*/ 930966 h 986790"/>
              <a:gd name="connsiteX51" fmla="*/ 394152 w 874014"/>
              <a:gd name="connsiteY51" fmla="*/ 903900 h 986790"/>
              <a:gd name="connsiteX52" fmla="*/ 410505 w 874014"/>
              <a:gd name="connsiteY52" fmla="*/ 902208 h 986790"/>
              <a:gd name="connsiteX53" fmla="*/ 406557 w 874014"/>
              <a:gd name="connsiteY53" fmla="*/ 841309 h 986790"/>
              <a:gd name="connsiteX54" fmla="*/ 417271 w 874014"/>
              <a:gd name="connsiteY54" fmla="*/ 806912 h 986790"/>
              <a:gd name="connsiteX55" fmla="*/ 413324 w 874014"/>
              <a:gd name="connsiteY55" fmla="*/ 777027 h 986790"/>
              <a:gd name="connsiteX56" fmla="*/ 402610 w 874014"/>
              <a:gd name="connsiteY56" fmla="*/ 730789 h 986790"/>
              <a:gd name="connsiteX57" fmla="*/ 409377 w 874014"/>
              <a:gd name="connsiteY57" fmla="*/ 703158 h 986790"/>
              <a:gd name="connsiteX58" fmla="*/ 423474 w 874014"/>
              <a:gd name="connsiteY58" fmla="*/ 701467 h 986790"/>
              <a:gd name="connsiteX59" fmla="*/ 450540 w 874014"/>
              <a:gd name="connsiteY59" fmla="*/ 688498 h 986790"/>
              <a:gd name="connsiteX60" fmla="*/ 465201 w 874014"/>
              <a:gd name="connsiteY60" fmla="*/ 679475 h 986790"/>
              <a:gd name="connsiteX61" fmla="*/ 463509 w 874014"/>
              <a:gd name="connsiteY61" fmla="*/ 663123 h 986790"/>
              <a:gd name="connsiteX62" fmla="*/ 491703 w 874014"/>
              <a:gd name="connsiteY62" fmla="*/ 639440 h 986790"/>
              <a:gd name="connsiteX63" fmla="*/ 512567 w 874014"/>
              <a:gd name="connsiteY63" fmla="*/ 616885 h 986790"/>
              <a:gd name="connsiteX64" fmla="*/ 542452 w 874014"/>
              <a:gd name="connsiteY64" fmla="*/ 574594 h 986790"/>
              <a:gd name="connsiteX65" fmla="*/ 584180 w 874014"/>
              <a:gd name="connsiteY65" fmla="*/ 550911 h 986790"/>
              <a:gd name="connsiteX66" fmla="*/ 597713 w 874014"/>
              <a:gd name="connsiteY66" fmla="*/ 529484 h 986790"/>
              <a:gd name="connsiteX67" fmla="*/ 592638 w 874014"/>
              <a:gd name="connsiteY67" fmla="*/ 502417 h 986790"/>
              <a:gd name="connsiteX68" fmla="*/ 629854 w 874014"/>
              <a:gd name="connsiteY68" fmla="*/ 495087 h 986790"/>
              <a:gd name="connsiteX69" fmla="*/ 650718 w 874014"/>
              <a:gd name="connsiteY69" fmla="*/ 495651 h 986790"/>
              <a:gd name="connsiteX70" fmla="*/ 653537 w 874014"/>
              <a:gd name="connsiteY70" fmla="*/ 482117 h 986790"/>
              <a:gd name="connsiteX71" fmla="*/ 644515 w 874014"/>
              <a:gd name="connsiteY71" fmla="*/ 452796 h 986790"/>
              <a:gd name="connsiteX72" fmla="*/ 629854 w 874014"/>
              <a:gd name="connsiteY72" fmla="*/ 425729 h 986790"/>
              <a:gd name="connsiteX73" fmla="*/ 632109 w 874014"/>
              <a:gd name="connsiteY73" fmla="*/ 404302 h 986790"/>
              <a:gd name="connsiteX74" fmla="*/ 611246 w 874014"/>
              <a:gd name="connsiteY74" fmla="*/ 394716 h 986790"/>
              <a:gd name="connsiteX75" fmla="*/ 615757 w 874014"/>
              <a:gd name="connsiteY75" fmla="*/ 381747 h 986790"/>
              <a:gd name="connsiteX76" fmla="*/ 633238 w 874014"/>
              <a:gd name="connsiteY76" fmla="*/ 368214 h 986790"/>
              <a:gd name="connsiteX77" fmla="*/ 607299 w 874014"/>
              <a:gd name="connsiteY77" fmla="*/ 349042 h 986790"/>
              <a:gd name="connsiteX78" fmla="*/ 614065 w 874014"/>
              <a:gd name="connsiteY78" fmla="*/ 324795 h 986790"/>
              <a:gd name="connsiteX79" fmla="*/ 641131 w 874014"/>
              <a:gd name="connsiteY79" fmla="*/ 340020 h 986790"/>
              <a:gd name="connsiteX80" fmla="*/ 656356 w 874014"/>
              <a:gd name="connsiteY80" fmla="*/ 342275 h 986790"/>
              <a:gd name="connsiteX81" fmla="*/ 663123 w 874014"/>
              <a:gd name="connsiteY81" fmla="*/ 367086 h 986790"/>
              <a:gd name="connsiteX82" fmla="*/ 693572 w 874014"/>
              <a:gd name="connsiteY82" fmla="*/ 372161 h 986790"/>
              <a:gd name="connsiteX83" fmla="*/ 721766 w 874014"/>
              <a:gd name="connsiteY83" fmla="*/ 371597 h 986790"/>
              <a:gd name="connsiteX84" fmla="*/ 740938 w 874014"/>
              <a:gd name="connsiteY84" fmla="*/ 377800 h 986790"/>
              <a:gd name="connsiteX85" fmla="*/ 731917 w 874014"/>
              <a:gd name="connsiteY85" fmla="*/ 407685 h 986790"/>
              <a:gd name="connsiteX86" fmla="*/ 718383 w 874014"/>
              <a:gd name="connsiteY86" fmla="*/ 409941 h 986790"/>
              <a:gd name="connsiteX87" fmla="*/ 712181 w 874014"/>
              <a:gd name="connsiteY87" fmla="*/ 430241 h 986790"/>
              <a:gd name="connsiteX88" fmla="*/ 731917 w 874014"/>
              <a:gd name="connsiteY88" fmla="*/ 448849 h 986790"/>
              <a:gd name="connsiteX89" fmla="*/ 733044 w 874014"/>
              <a:gd name="connsiteY89" fmla="*/ 426293 h 986790"/>
              <a:gd name="connsiteX90" fmla="*/ 741502 w 874014"/>
              <a:gd name="connsiteY90" fmla="*/ 425729 h 986790"/>
              <a:gd name="connsiteX91" fmla="*/ 766877 w 874014"/>
              <a:gd name="connsiteY91" fmla="*/ 482681 h 986790"/>
              <a:gd name="connsiteX92" fmla="*/ 780410 w 874014"/>
              <a:gd name="connsiteY92" fmla="*/ 474223 h 986790"/>
              <a:gd name="connsiteX93" fmla="*/ 775335 w 874014"/>
              <a:gd name="connsiteY93" fmla="*/ 458998 h 986790"/>
              <a:gd name="connsiteX94" fmla="*/ 780410 w 874014"/>
              <a:gd name="connsiteY94" fmla="*/ 447157 h 986790"/>
              <a:gd name="connsiteX95" fmla="*/ 775335 w 874014"/>
              <a:gd name="connsiteY95" fmla="*/ 409941 h 986790"/>
              <a:gd name="connsiteX96" fmla="*/ 801273 w 874014"/>
              <a:gd name="connsiteY96" fmla="*/ 417835 h 986790"/>
              <a:gd name="connsiteX97" fmla="*/ 809732 w 874014"/>
              <a:gd name="connsiteY97" fmla="*/ 388513 h 986790"/>
              <a:gd name="connsiteX98" fmla="*/ 808040 w 874014"/>
              <a:gd name="connsiteY98" fmla="*/ 371033 h 986790"/>
              <a:gd name="connsiteX99" fmla="*/ 819882 w 874014"/>
              <a:gd name="connsiteY99" fmla="*/ 340584 h 986790"/>
              <a:gd name="connsiteX100" fmla="*/ 814807 w 874014"/>
              <a:gd name="connsiteY100" fmla="*/ 320284 h 986790"/>
              <a:gd name="connsiteX101" fmla="*/ 849203 w 874014"/>
              <a:gd name="connsiteY101" fmla="*/ 295473 h 986790"/>
              <a:gd name="connsiteX102" fmla="*/ 872322 w 874014"/>
              <a:gd name="connsiteY102" fmla="*/ 301676 h 986790"/>
              <a:gd name="connsiteX103" fmla="*/ 864992 w 874014"/>
              <a:gd name="connsiteY103" fmla="*/ 279685 h 986790"/>
              <a:gd name="connsiteX104" fmla="*/ 874014 w 874014"/>
              <a:gd name="connsiteY104" fmla="*/ 272918 h 986790"/>
              <a:gd name="connsiteX105" fmla="*/ 868939 w 874014"/>
              <a:gd name="connsiteY105" fmla="*/ 259385 h 986790"/>
              <a:gd name="connsiteX106" fmla="*/ 834542 w 874014"/>
              <a:gd name="connsiteY106" fmla="*/ 254310 h 986790"/>
              <a:gd name="connsiteX107" fmla="*/ 841309 w 874014"/>
              <a:gd name="connsiteY107" fmla="*/ 239085 h 986790"/>
              <a:gd name="connsiteX108" fmla="*/ 821573 w 874014"/>
              <a:gd name="connsiteY108" fmla="*/ 217094 h 986790"/>
              <a:gd name="connsiteX109" fmla="*/ 803529 w 874014"/>
              <a:gd name="connsiteY109" fmla="*/ 231755 h 986790"/>
              <a:gd name="connsiteX110" fmla="*/ 775899 w 874014"/>
              <a:gd name="connsiteY110" fmla="*/ 223297 h 986790"/>
              <a:gd name="connsiteX111" fmla="*/ 746014 w 874014"/>
              <a:gd name="connsiteY111" fmla="*/ 245852 h 986790"/>
              <a:gd name="connsiteX112" fmla="*/ 724022 w 874014"/>
              <a:gd name="connsiteY112" fmla="*/ 272918 h 986790"/>
              <a:gd name="connsiteX113" fmla="*/ 700339 w 874014"/>
              <a:gd name="connsiteY113" fmla="*/ 277429 h 986790"/>
              <a:gd name="connsiteX114" fmla="*/ 715564 w 874014"/>
              <a:gd name="connsiteY114" fmla="*/ 288707 h 986790"/>
              <a:gd name="connsiteX115" fmla="*/ 717820 w 874014"/>
              <a:gd name="connsiteY115" fmla="*/ 310698 h 986790"/>
              <a:gd name="connsiteX116" fmla="*/ 693009 w 874014"/>
              <a:gd name="connsiteY116" fmla="*/ 311826 h 986790"/>
              <a:gd name="connsiteX117" fmla="*/ 666506 w 874014"/>
              <a:gd name="connsiteY117" fmla="*/ 309570 h 986790"/>
              <a:gd name="connsiteX118" fmla="*/ 648462 w 874014"/>
              <a:gd name="connsiteY118" fmla="*/ 315209 h 986790"/>
              <a:gd name="connsiteX119" fmla="*/ 617449 w 874014"/>
              <a:gd name="connsiteY119" fmla="*/ 301112 h 986790"/>
              <a:gd name="connsiteX120" fmla="*/ 615757 w 874014"/>
              <a:gd name="connsiteY120" fmla="*/ 294345 h 986790"/>
              <a:gd name="connsiteX121" fmla="*/ 607299 w 874014"/>
              <a:gd name="connsiteY121" fmla="*/ 265588 h 986790"/>
              <a:gd name="connsiteX122" fmla="*/ 590382 w 874014"/>
              <a:gd name="connsiteY122" fmla="*/ 273482 h 986790"/>
              <a:gd name="connsiteX123" fmla="*/ 590947 w 874014"/>
              <a:gd name="connsiteY123" fmla="*/ 288707 h 986790"/>
              <a:gd name="connsiteX124" fmla="*/ 599405 w 874014"/>
              <a:gd name="connsiteY124" fmla="*/ 311826 h 986790"/>
              <a:gd name="connsiteX125" fmla="*/ 598840 w 874014"/>
              <a:gd name="connsiteY125" fmla="*/ 325923 h 986790"/>
              <a:gd name="connsiteX126" fmla="*/ 572902 w 874014"/>
              <a:gd name="connsiteY126" fmla="*/ 326487 h 986790"/>
              <a:gd name="connsiteX127" fmla="*/ 534559 w 874014"/>
              <a:gd name="connsiteY127" fmla="*/ 318028 h 986790"/>
              <a:gd name="connsiteX128" fmla="*/ 510311 w 874014"/>
              <a:gd name="connsiteY128" fmla="*/ 314645 h 986790"/>
              <a:gd name="connsiteX129" fmla="*/ 488884 w 874014"/>
              <a:gd name="connsiteY129" fmla="*/ 296601 h 986790"/>
              <a:gd name="connsiteX130" fmla="*/ 446029 w 874014"/>
              <a:gd name="connsiteY130" fmla="*/ 291526 h 986790"/>
              <a:gd name="connsiteX131" fmla="*/ 402610 w 874014"/>
              <a:gd name="connsiteY131" fmla="*/ 271790 h 986790"/>
              <a:gd name="connsiteX132" fmla="*/ 369905 w 874014"/>
              <a:gd name="connsiteY132" fmla="*/ 254310 h 986790"/>
              <a:gd name="connsiteX133" fmla="*/ 337764 w 874014"/>
              <a:gd name="connsiteY133" fmla="*/ 240213 h 986790"/>
              <a:gd name="connsiteX134" fmla="*/ 342839 w 874014"/>
              <a:gd name="connsiteY134" fmla="*/ 206944 h 986790"/>
              <a:gd name="connsiteX135" fmla="*/ 358628 w 874014"/>
              <a:gd name="connsiteY135" fmla="*/ 190592 h 9867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</a:cxnLst>
            <a:rect l="l" t="t" r="r" b="b"/>
            <a:pathLst>
              <a:path w="874014" h="986790">
                <a:moveTo>
                  <a:pt x="358628" y="190592"/>
                </a:moveTo>
                <a:lnTo>
                  <a:pt x="310698" y="165781"/>
                </a:lnTo>
                <a:lnTo>
                  <a:pt x="275737" y="143226"/>
                </a:lnTo>
                <a:lnTo>
                  <a:pt x="257693" y="103754"/>
                </a:lnTo>
                <a:lnTo>
                  <a:pt x="280813" y="108829"/>
                </a:lnTo>
                <a:lnTo>
                  <a:pt x="277429" y="90221"/>
                </a:lnTo>
                <a:lnTo>
                  <a:pt x="260512" y="71613"/>
                </a:lnTo>
                <a:lnTo>
                  <a:pt x="256002" y="42291"/>
                </a:lnTo>
                <a:lnTo>
                  <a:pt x="213147" y="0"/>
                </a:lnTo>
                <a:lnTo>
                  <a:pt x="192283" y="30450"/>
                </a:lnTo>
                <a:lnTo>
                  <a:pt x="160142" y="36088"/>
                </a:lnTo>
                <a:lnTo>
                  <a:pt x="112212" y="27066"/>
                </a:lnTo>
                <a:lnTo>
                  <a:pt x="101498" y="42855"/>
                </a:lnTo>
                <a:lnTo>
                  <a:pt x="119542" y="74432"/>
                </a:lnTo>
                <a:lnTo>
                  <a:pt x="135895" y="98679"/>
                </a:lnTo>
                <a:lnTo>
                  <a:pt x="164089" y="116159"/>
                </a:lnTo>
                <a:lnTo>
                  <a:pt x="143226" y="137023"/>
                </a:lnTo>
                <a:lnTo>
                  <a:pt x="148864" y="162398"/>
                </a:lnTo>
                <a:lnTo>
                  <a:pt x="126873" y="197922"/>
                </a:lnTo>
                <a:lnTo>
                  <a:pt x="115032" y="234574"/>
                </a:lnTo>
                <a:lnTo>
                  <a:pt x="89657" y="272354"/>
                </a:lnTo>
                <a:lnTo>
                  <a:pt x="53569" y="269535"/>
                </a:lnTo>
                <a:lnTo>
                  <a:pt x="25938" y="306751"/>
                </a:lnTo>
                <a:lnTo>
                  <a:pt x="48494" y="323103"/>
                </a:lnTo>
                <a:lnTo>
                  <a:pt x="55824" y="350733"/>
                </a:lnTo>
                <a:lnTo>
                  <a:pt x="75560" y="368778"/>
                </a:lnTo>
                <a:lnTo>
                  <a:pt x="85709" y="399791"/>
                </a:lnTo>
                <a:lnTo>
                  <a:pt x="18044" y="399791"/>
                </a:lnTo>
                <a:lnTo>
                  <a:pt x="0" y="423474"/>
                </a:lnTo>
                <a:lnTo>
                  <a:pt x="40035" y="453923"/>
                </a:lnTo>
                <a:lnTo>
                  <a:pt x="50749" y="468020"/>
                </a:lnTo>
                <a:lnTo>
                  <a:pt x="37216" y="480990"/>
                </a:lnTo>
                <a:lnTo>
                  <a:pt x="82326" y="524408"/>
                </a:lnTo>
                <a:lnTo>
                  <a:pt x="104882" y="528920"/>
                </a:lnTo>
                <a:lnTo>
                  <a:pt x="147736" y="507492"/>
                </a:lnTo>
                <a:lnTo>
                  <a:pt x="157323" y="540761"/>
                </a:lnTo>
                <a:lnTo>
                  <a:pt x="161833" y="584744"/>
                </a:lnTo>
                <a:lnTo>
                  <a:pt x="175930" y="630418"/>
                </a:lnTo>
                <a:lnTo>
                  <a:pt x="196231" y="699775"/>
                </a:lnTo>
                <a:lnTo>
                  <a:pt x="228935" y="749397"/>
                </a:lnTo>
                <a:lnTo>
                  <a:pt x="236266" y="771388"/>
                </a:lnTo>
                <a:lnTo>
                  <a:pt x="247543" y="816498"/>
                </a:lnTo>
                <a:lnTo>
                  <a:pt x="266716" y="850895"/>
                </a:lnTo>
                <a:lnTo>
                  <a:pt x="279121" y="867812"/>
                </a:lnTo>
                <a:lnTo>
                  <a:pt x="293218" y="903900"/>
                </a:lnTo>
                <a:lnTo>
                  <a:pt x="310698" y="954085"/>
                </a:lnTo>
                <a:lnTo>
                  <a:pt x="341711" y="987918"/>
                </a:lnTo>
                <a:lnTo>
                  <a:pt x="354117" y="977768"/>
                </a:lnTo>
                <a:lnTo>
                  <a:pt x="363703" y="952957"/>
                </a:lnTo>
                <a:lnTo>
                  <a:pt x="391897" y="942807"/>
                </a:lnTo>
                <a:lnTo>
                  <a:pt x="381747" y="930966"/>
                </a:lnTo>
                <a:lnTo>
                  <a:pt x="394152" y="903900"/>
                </a:lnTo>
                <a:lnTo>
                  <a:pt x="410505" y="902208"/>
                </a:lnTo>
                <a:lnTo>
                  <a:pt x="406557" y="841309"/>
                </a:lnTo>
                <a:lnTo>
                  <a:pt x="417271" y="806912"/>
                </a:lnTo>
                <a:lnTo>
                  <a:pt x="413324" y="777027"/>
                </a:lnTo>
                <a:lnTo>
                  <a:pt x="402610" y="730789"/>
                </a:lnTo>
                <a:lnTo>
                  <a:pt x="409377" y="703158"/>
                </a:lnTo>
                <a:lnTo>
                  <a:pt x="423474" y="701467"/>
                </a:lnTo>
                <a:lnTo>
                  <a:pt x="450540" y="688498"/>
                </a:lnTo>
                <a:lnTo>
                  <a:pt x="465201" y="679475"/>
                </a:lnTo>
                <a:lnTo>
                  <a:pt x="463509" y="663123"/>
                </a:lnTo>
                <a:lnTo>
                  <a:pt x="491703" y="639440"/>
                </a:lnTo>
                <a:lnTo>
                  <a:pt x="512567" y="616885"/>
                </a:lnTo>
                <a:lnTo>
                  <a:pt x="542452" y="574594"/>
                </a:lnTo>
                <a:lnTo>
                  <a:pt x="584180" y="550911"/>
                </a:lnTo>
                <a:lnTo>
                  <a:pt x="597713" y="529484"/>
                </a:lnTo>
                <a:lnTo>
                  <a:pt x="592638" y="502417"/>
                </a:lnTo>
                <a:lnTo>
                  <a:pt x="629854" y="495087"/>
                </a:lnTo>
                <a:lnTo>
                  <a:pt x="650718" y="495651"/>
                </a:lnTo>
                <a:lnTo>
                  <a:pt x="653537" y="482117"/>
                </a:lnTo>
                <a:lnTo>
                  <a:pt x="644515" y="452796"/>
                </a:lnTo>
                <a:lnTo>
                  <a:pt x="629854" y="425729"/>
                </a:lnTo>
                <a:lnTo>
                  <a:pt x="632109" y="404302"/>
                </a:lnTo>
                <a:lnTo>
                  <a:pt x="611246" y="394716"/>
                </a:lnTo>
                <a:lnTo>
                  <a:pt x="615757" y="381747"/>
                </a:lnTo>
                <a:lnTo>
                  <a:pt x="633238" y="368214"/>
                </a:lnTo>
                <a:lnTo>
                  <a:pt x="607299" y="349042"/>
                </a:lnTo>
                <a:lnTo>
                  <a:pt x="614065" y="324795"/>
                </a:lnTo>
                <a:lnTo>
                  <a:pt x="641131" y="340020"/>
                </a:lnTo>
                <a:lnTo>
                  <a:pt x="656356" y="342275"/>
                </a:lnTo>
                <a:lnTo>
                  <a:pt x="663123" y="367086"/>
                </a:lnTo>
                <a:lnTo>
                  <a:pt x="693572" y="372161"/>
                </a:lnTo>
                <a:lnTo>
                  <a:pt x="721766" y="371597"/>
                </a:lnTo>
                <a:lnTo>
                  <a:pt x="740938" y="377800"/>
                </a:lnTo>
                <a:lnTo>
                  <a:pt x="731917" y="407685"/>
                </a:lnTo>
                <a:lnTo>
                  <a:pt x="718383" y="409941"/>
                </a:lnTo>
                <a:lnTo>
                  <a:pt x="712181" y="430241"/>
                </a:lnTo>
                <a:lnTo>
                  <a:pt x="731917" y="448849"/>
                </a:lnTo>
                <a:lnTo>
                  <a:pt x="733044" y="426293"/>
                </a:lnTo>
                <a:lnTo>
                  <a:pt x="741502" y="425729"/>
                </a:lnTo>
                <a:lnTo>
                  <a:pt x="766877" y="482681"/>
                </a:lnTo>
                <a:lnTo>
                  <a:pt x="780410" y="474223"/>
                </a:lnTo>
                <a:lnTo>
                  <a:pt x="775335" y="458998"/>
                </a:lnTo>
                <a:lnTo>
                  <a:pt x="780410" y="447157"/>
                </a:lnTo>
                <a:lnTo>
                  <a:pt x="775335" y="409941"/>
                </a:lnTo>
                <a:lnTo>
                  <a:pt x="801273" y="417835"/>
                </a:lnTo>
                <a:lnTo>
                  <a:pt x="809732" y="388513"/>
                </a:lnTo>
                <a:lnTo>
                  <a:pt x="808040" y="371033"/>
                </a:lnTo>
                <a:lnTo>
                  <a:pt x="819882" y="340584"/>
                </a:lnTo>
                <a:lnTo>
                  <a:pt x="814807" y="320284"/>
                </a:lnTo>
                <a:lnTo>
                  <a:pt x="849203" y="295473"/>
                </a:lnTo>
                <a:lnTo>
                  <a:pt x="872322" y="301676"/>
                </a:lnTo>
                <a:lnTo>
                  <a:pt x="864992" y="279685"/>
                </a:lnTo>
                <a:lnTo>
                  <a:pt x="874014" y="272918"/>
                </a:lnTo>
                <a:lnTo>
                  <a:pt x="868939" y="259385"/>
                </a:lnTo>
                <a:lnTo>
                  <a:pt x="834542" y="254310"/>
                </a:lnTo>
                <a:lnTo>
                  <a:pt x="841309" y="239085"/>
                </a:lnTo>
                <a:lnTo>
                  <a:pt x="821573" y="217094"/>
                </a:lnTo>
                <a:lnTo>
                  <a:pt x="803529" y="231755"/>
                </a:lnTo>
                <a:lnTo>
                  <a:pt x="775899" y="223297"/>
                </a:lnTo>
                <a:lnTo>
                  <a:pt x="746014" y="245852"/>
                </a:lnTo>
                <a:lnTo>
                  <a:pt x="724022" y="272918"/>
                </a:lnTo>
                <a:lnTo>
                  <a:pt x="700339" y="277429"/>
                </a:lnTo>
                <a:lnTo>
                  <a:pt x="715564" y="288707"/>
                </a:lnTo>
                <a:lnTo>
                  <a:pt x="717820" y="310698"/>
                </a:lnTo>
                <a:lnTo>
                  <a:pt x="693009" y="311826"/>
                </a:lnTo>
                <a:lnTo>
                  <a:pt x="666506" y="309570"/>
                </a:lnTo>
                <a:lnTo>
                  <a:pt x="648462" y="315209"/>
                </a:lnTo>
                <a:lnTo>
                  <a:pt x="617449" y="301112"/>
                </a:lnTo>
                <a:lnTo>
                  <a:pt x="615757" y="294345"/>
                </a:lnTo>
                <a:lnTo>
                  <a:pt x="607299" y="265588"/>
                </a:lnTo>
                <a:lnTo>
                  <a:pt x="590382" y="273482"/>
                </a:lnTo>
                <a:lnTo>
                  <a:pt x="590947" y="288707"/>
                </a:lnTo>
                <a:lnTo>
                  <a:pt x="599405" y="311826"/>
                </a:lnTo>
                <a:lnTo>
                  <a:pt x="598840" y="325923"/>
                </a:lnTo>
                <a:lnTo>
                  <a:pt x="572902" y="326487"/>
                </a:lnTo>
                <a:lnTo>
                  <a:pt x="534559" y="318028"/>
                </a:lnTo>
                <a:lnTo>
                  <a:pt x="510311" y="314645"/>
                </a:lnTo>
                <a:lnTo>
                  <a:pt x="488884" y="296601"/>
                </a:lnTo>
                <a:lnTo>
                  <a:pt x="446029" y="291526"/>
                </a:lnTo>
                <a:lnTo>
                  <a:pt x="402610" y="271790"/>
                </a:lnTo>
                <a:lnTo>
                  <a:pt x="369905" y="254310"/>
                </a:lnTo>
                <a:lnTo>
                  <a:pt x="337764" y="240213"/>
                </a:lnTo>
                <a:lnTo>
                  <a:pt x="342839" y="206944"/>
                </a:lnTo>
                <a:lnTo>
                  <a:pt x="358628" y="190592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7" name="Freeform: Shape 310">
            <a:extLst>
              <a:ext uri="{FF2B5EF4-FFF2-40B4-BE49-F238E27FC236}">
                <a16:creationId xmlns:a16="http://schemas.microsoft.com/office/drawing/2014/main" id="{0BB4F6BE-BFE8-489B-B941-1E9F2F068E23}"/>
              </a:ext>
            </a:extLst>
          </p:cNvPr>
          <p:cNvSpPr/>
          <p:nvPr/>
        </p:nvSpPr>
        <p:spPr>
          <a:xfrm>
            <a:off x="5640487" y="2656062"/>
            <a:ext cx="80062" cy="84276"/>
          </a:xfrm>
          <a:custGeom>
            <a:avLst/>
            <a:gdLst>
              <a:gd name="connsiteX0" fmla="*/ 104882 w 107137"/>
              <a:gd name="connsiteY0" fmla="*/ 42855 h 112776"/>
              <a:gd name="connsiteX1" fmla="*/ 85146 w 107137"/>
              <a:gd name="connsiteY1" fmla="*/ 35524 h 112776"/>
              <a:gd name="connsiteX2" fmla="*/ 68793 w 107137"/>
              <a:gd name="connsiteY2" fmla="*/ 36088 h 112776"/>
              <a:gd name="connsiteX3" fmla="*/ 74996 w 107137"/>
              <a:gd name="connsiteY3" fmla="*/ 18044 h 112776"/>
              <a:gd name="connsiteX4" fmla="*/ 70485 w 107137"/>
              <a:gd name="connsiteY4" fmla="*/ 0 h 112776"/>
              <a:gd name="connsiteX5" fmla="*/ 49621 w 107137"/>
              <a:gd name="connsiteY5" fmla="*/ 15789 h 112776"/>
              <a:gd name="connsiteX6" fmla="*/ 11841 w 107137"/>
              <a:gd name="connsiteY6" fmla="*/ 42291 h 112776"/>
              <a:gd name="connsiteX7" fmla="*/ 23683 w 107137"/>
              <a:gd name="connsiteY7" fmla="*/ 76688 h 112776"/>
              <a:gd name="connsiteX8" fmla="*/ 0 w 107137"/>
              <a:gd name="connsiteY8" fmla="*/ 112776 h 112776"/>
              <a:gd name="connsiteX9" fmla="*/ 37780 w 107137"/>
              <a:gd name="connsiteY9" fmla="*/ 117851 h 112776"/>
              <a:gd name="connsiteX10" fmla="*/ 86837 w 107137"/>
              <a:gd name="connsiteY10" fmla="*/ 97551 h 112776"/>
              <a:gd name="connsiteX11" fmla="*/ 108829 w 107137"/>
              <a:gd name="connsiteY11" fmla="*/ 67102 h 112776"/>
              <a:gd name="connsiteX12" fmla="*/ 104882 w 107137"/>
              <a:gd name="connsiteY12" fmla="*/ 42855 h 1127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07137" h="112776">
                <a:moveTo>
                  <a:pt x="104882" y="42855"/>
                </a:moveTo>
                <a:lnTo>
                  <a:pt x="85146" y="35524"/>
                </a:lnTo>
                <a:lnTo>
                  <a:pt x="68793" y="36088"/>
                </a:lnTo>
                <a:lnTo>
                  <a:pt x="74996" y="18044"/>
                </a:lnTo>
                <a:lnTo>
                  <a:pt x="70485" y="0"/>
                </a:lnTo>
                <a:lnTo>
                  <a:pt x="49621" y="15789"/>
                </a:lnTo>
                <a:lnTo>
                  <a:pt x="11841" y="42291"/>
                </a:lnTo>
                <a:lnTo>
                  <a:pt x="23683" y="76688"/>
                </a:lnTo>
                <a:lnTo>
                  <a:pt x="0" y="112776"/>
                </a:lnTo>
                <a:lnTo>
                  <a:pt x="37780" y="117851"/>
                </a:lnTo>
                <a:lnTo>
                  <a:pt x="86837" y="97551"/>
                </a:lnTo>
                <a:lnTo>
                  <a:pt x="108829" y="67102"/>
                </a:lnTo>
                <a:lnTo>
                  <a:pt x="104882" y="42855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8" name="Freeform: Shape 311">
            <a:extLst>
              <a:ext uri="{FF2B5EF4-FFF2-40B4-BE49-F238E27FC236}">
                <a16:creationId xmlns:a16="http://schemas.microsoft.com/office/drawing/2014/main" id="{9E6FF57F-8D13-4B76-B3FE-02A3348615F0}"/>
              </a:ext>
            </a:extLst>
          </p:cNvPr>
          <p:cNvSpPr/>
          <p:nvPr/>
        </p:nvSpPr>
        <p:spPr>
          <a:xfrm>
            <a:off x="6808128" y="3056372"/>
            <a:ext cx="484586" cy="391882"/>
          </a:xfrm>
          <a:custGeom>
            <a:avLst/>
            <a:gdLst>
              <a:gd name="connsiteX0" fmla="*/ 43418 w 648462"/>
              <a:gd name="connsiteY0" fmla="*/ 29886 h 524408"/>
              <a:gd name="connsiteX1" fmla="*/ 25375 w 648462"/>
              <a:gd name="connsiteY1" fmla="*/ 13533 h 524408"/>
              <a:gd name="connsiteX2" fmla="*/ 18608 w 648462"/>
              <a:gd name="connsiteY2" fmla="*/ 0 h 524408"/>
              <a:gd name="connsiteX3" fmla="*/ 0 w 648462"/>
              <a:gd name="connsiteY3" fmla="*/ 10150 h 524408"/>
              <a:gd name="connsiteX4" fmla="*/ 16352 w 648462"/>
              <a:gd name="connsiteY4" fmla="*/ 51313 h 524408"/>
              <a:gd name="connsiteX5" fmla="*/ 12405 w 648462"/>
              <a:gd name="connsiteY5" fmla="*/ 62591 h 524408"/>
              <a:gd name="connsiteX6" fmla="*/ 33268 w 648462"/>
              <a:gd name="connsiteY6" fmla="*/ 91912 h 524408"/>
              <a:gd name="connsiteX7" fmla="*/ 33268 w 648462"/>
              <a:gd name="connsiteY7" fmla="*/ 91912 h 524408"/>
              <a:gd name="connsiteX8" fmla="*/ 59771 w 648462"/>
              <a:gd name="connsiteY8" fmla="*/ 135895 h 524408"/>
              <a:gd name="connsiteX9" fmla="*/ 80634 w 648462"/>
              <a:gd name="connsiteY9" fmla="*/ 146609 h 524408"/>
              <a:gd name="connsiteX10" fmla="*/ 86273 w 648462"/>
              <a:gd name="connsiteY10" fmla="*/ 168036 h 524408"/>
              <a:gd name="connsiteX11" fmla="*/ 73304 w 648462"/>
              <a:gd name="connsiteY11" fmla="*/ 180442 h 524408"/>
              <a:gd name="connsiteX12" fmla="*/ 70485 w 648462"/>
              <a:gd name="connsiteY12" fmla="*/ 208636 h 524408"/>
              <a:gd name="connsiteX13" fmla="*/ 96423 w 648462"/>
              <a:gd name="connsiteY13" fmla="*/ 243032 h 524408"/>
              <a:gd name="connsiteX14" fmla="*/ 135895 w 648462"/>
              <a:gd name="connsiteY14" fmla="*/ 262204 h 524408"/>
              <a:gd name="connsiteX15" fmla="*/ 155631 w 648462"/>
              <a:gd name="connsiteY15" fmla="*/ 289834 h 524408"/>
              <a:gd name="connsiteX16" fmla="*/ 154503 w 648462"/>
              <a:gd name="connsiteY16" fmla="*/ 315773 h 524408"/>
              <a:gd name="connsiteX17" fmla="*/ 164089 w 648462"/>
              <a:gd name="connsiteY17" fmla="*/ 315773 h 524408"/>
              <a:gd name="connsiteX18" fmla="*/ 166908 w 648462"/>
              <a:gd name="connsiteY18" fmla="*/ 334381 h 524408"/>
              <a:gd name="connsiteX19" fmla="*/ 186080 w 648462"/>
              <a:gd name="connsiteY19" fmla="*/ 353553 h 524408"/>
              <a:gd name="connsiteX20" fmla="*/ 195666 w 648462"/>
              <a:gd name="connsiteY20" fmla="*/ 339456 h 524408"/>
              <a:gd name="connsiteX21" fmla="*/ 216529 w 648462"/>
              <a:gd name="connsiteY21" fmla="*/ 351297 h 524408"/>
              <a:gd name="connsiteX22" fmla="*/ 232318 w 648462"/>
              <a:gd name="connsiteY22" fmla="*/ 345658 h 524408"/>
              <a:gd name="connsiteX23" fmla="*/ 261076 w 648462"/>
              <a:gd name="connsiteY23" fmla="*/ 393024 h 524408"/>
              <a:gd name="connsiteX24" fmla="*/ 285323 w 648462"/>
              <a:gd name="connsiteY24" fmla="*/ 427421 h 524408"/>
              <a:gd name="connsiteX25" fmla="*/ 316337 w 648462"/>
              <a:gd name="connsiteY25" fmla="*/ 437571 h 524408"/>
              <a:gd name="connsiteX26" fmla="*/ 350733 w 648462"/>
              <a:gd name="connsiteY26" fmla="*/ 465201 h 524408"/>
              <a:gd name="connsiteX27" fmla="*/ 389641 w 648462"/>
              <a:gd name="connsiteY27" fmla="*/ 477043 h 524408"/>
              <a:gd name="connsiteX28" fmla="*/ 418399 w 648462"/>
              <a:gd name="connsiteY28" fmla="*/ 459562 h 524408"/>
              <a:gd name="connsiteX29" fmla="*/ 440954 w 648462"/>
              <a:gd name="connsiteY29" fmla="*/ 453360 h 524408"/>
              <a:gd name="connsiteX30" fmla="*/ 456743 w 648462"/>
              <a:gd name="connsiteY30" fmla="*/ 459562 h 524408"/>
              <a:gd name="connsiteX31" fmla="*/ 474787 w 648462"/>
              <a:gd name="connsiteY31" fmla="*/ 503545 h 524408"/>
              <a:gd name="connsiteX32" fmla="*/ 510311 w 648462"/>
              <a:gd name="connsiteY32" fmla="*/ 508056 h 524408"/>
              <a:gd name="connsiteX33" fmla="*/ 544708 w 648462"/>
              <a:gd name="connsiteY33" fmla="*/ 516514 h 524408"/>
              <a:gd name="connsiteX34" fmla="*/ 603915 w 648462"/>
              <a:gd name="connsiteY34" fmla="*/ 527228 h 524408"/>
              <a:gd name="connsiteX35" fmla="*/ 610682 w 648462"/>
              <a:gd name="connsiteY35" fmla="*/ 485501 h 524408"/>
              <a:gd name="connsiteX36" fmla="*/ 652409 w 648462"/>
              <a:gd name="connsiteY36" fmla="*/ 466893 h 524408"/>
              <a:gd name="connsiteX37" fmla="*/ 647334 w 648462"/>
              <a:gd name="connsiteY37" fmla="*/ 450540 h 524408"/>
              <a:gd name="connsiteX38" fmla="*/ 632109 w 648462"/>
              <a:gd name="connsiteY38" fmla="*/ 444901 h 524408"/>
              <a:gd name="connsiteX39" fmla="*/ 626471 w 648462"/>
              <a:gd name="connsiteY39" fmla="*/ 412760 h 524408"/>
              <a:gd name="connsiteX40" fmla="*/ 594893 w 648462"/>
              <a:gd name="connsiteY40" fmla="*/ 397535 h 524408"/>
              <a:gd name="connsiteX41" fmla="*/ 579105 w 648462"/>
              <a:gd name="connsiteY41" fmla="*/ 375544 h 524408"/>
              <a:gd name="connsiteX42" fmla="*/ 561061 w 648462"/>
              <a:gd name="connsiteY42" fmla="*/ 356936 h 524408"/>
              <a:gd name="connsiteX43" fmla="*/ 583051 w 648462"/>
              <a:gd name="connsiteY43" fmla="*/ 324231 h 524408"/>
              <a:gd name="connsiteX44" fmla="*/ 576849 w 648462"/>
              <a:gd name="connsiteY44" fmla="*/ 301676 h 524408"/>
              <a:gd name="connsiteX45" fmla="*/ 552602 w 648462"/>
              <a:gd name="connsiteY45" fmla="*/ 295473 h 524408"/>
              <a:gd name="connsiteX46" fmla="*/ 546399 w 648462"/>
              <a:gd name="connsiteY46" fmla="*/ 272918 h 524408"/>
              <a:gd name="connsiteX47" fmla="*/ 531175 w 648462"/>
              <a:gd name="connsiteY47" fmla="*/ 244160 h 524408"/>
              <a:gd name="connsiteX48" fmla="*/ 540197 w 648462"/>
              <a:gd name="connsiteY48" fmla="*/ 224424 h 524408"/>
              <a:gd name="connsiteX49" fmla="*/ 526100 w 648462"/>
              <a:gd name="connsiteY49" fmla="*/ 219349 h 524408"/>
              <a:gd name="connsiteX50" fmla="*/ 528919 w 648462"/>
              <a:gd name="connsiteY50" fmla="*/ 192847 h 524408"/>
              <a:gd name="connsiteX51" fmla="*/ 531738 w 648462"/>
              <a:gd name="connsiteY51" fmla="*/ 147736 h 524408"/>
              <a:gd name="connsiteX52" fmla="*/ 522717 w 648462"/>
              <a:gd name="connsiteY52" fmla="*/ 116723 h 524408"/>
              <a:gd name="connsiteX53" fmla="*/ 500725 w 648462"/>
              <a:gd name="connsiteY53" fmla="*/ 115595 h 524408"/>
              <a:gd name="connsiteX54" fmla="*/ 459562 w 648462"/>
              <a:gd name="connsiteY54" fmla="*/ 83454 h 524408"/>
              <a:gd name="connsiteX55" fmla="*/ 435315 w 648462"/>
              <a:gd name="connsiteY55" fmla="*/ 79507 h 524408"/>
              <a:gd name="connsiteX56" fmla="*/ 398663 w 648462"/>
              <a:gd name="connsiteY56" fmla="*/ 60899 h 524408"/>
              <a:gd name="connsiteX57" fmla="*/ 377235 w 648462"/>
              <a:gd name="connsiteY57" fmla="*/ 57516 h 524408"/>
              <a:gd name="connsiteX58" fmla="*/ 365394 w 648462"/>
              <a:gd name="connsiteY58" fmla="*/ 64282 h 524408"/>
              <a:gd name="connsiteX59" fmla="*/ 345658 w 648462"/>
              <a:gd name="connsiteY59" fmla="*/ 63154 h 524408"/>
              <a:gd name="connsiteX60" fmla="*/ 328742 w 648462"/>
              <a:gd name="connsiteY60" fmla="*/ 84018 h 524408"/>
              <a:gd name="connsiteX61" fmla="*/ 303931 w 648462"/>
              <a:gd name="connsiteY61" fmla="*/ 90785 h 524408"/>
              <a:gd name="connsiteX62" fmla="*/ 302803 w 648462"/>
              <a:gd name="connsiteY62" fmla="*/ 99807 h 524408"/>
              <a:gd name="connsiteX63" fmla="*/ 258257 w 648462"/>
              <a:gd name="connsiteY63" fmla="*/ 109393 h 524408"/>
              <a:gd name="connsiteX64" fmla="*/ 215402 w 648462"/>
              <a:gd name="connsiteY64" fmla="*/ 103190 h 524408"/>
              <a:gd name="connsiteX65" fmla="*/ 191155 w 648462"/>
              <a:gd name="connsiteY65" fmla="*/ 84582 h 524408"/>
              <a:gd name="connsiteX66" fmla="*/ 161833 w 648462"/>
              <a:gd name="connsiteY66" fmla="*/ 77251 h 524408"/>
              <a:gd name="connsiteX67" fmla="*/ 147736 w 648462"/>
              <a:gd name="connsiteY67" fmla="*/ 50185 h 524408"/>
              <a:gd name="connsiteX68" fmla="*/ 140406 w 648462"/>
              <a:gd name="connsiteY68" fmla="*/ 51877 h 524408"/>
              <a:gd name="connsiteX69" fmla="*/ 118979 w 648462"/>
              <a:gd name="connsiteY69" fmla="*/ 32705 h 524408"/>
              <a:gd name="connsiteX70" fmla="*/ 125745 w 648462"/>
              <a:gd name="connsiteY70" fmla="*/ 15225 h 524408"/>
              <a:gd name="connsiteX71" fmla="*/ 115031 w 648462"/>
              <a:gd name="connsiteY71" fmla="*/ 4511 h 524408"/>
              <a:gd name="connsiteX72" fmla="*/ 104318 w 648462"/>
              <a:gd name="connsiteY72" fmla="*/ 7330 h 524408"/>
              <a:gd name="connsiteX73" fmla="*/ 74432 w 648462"/>
              <a:gd name="connsiteY73" fmla="*/ 33833 h 524408"/>
              <a:gd name="connsiteX74" fmla="*/ 64282 w 648462"/>
              <a:gd name="connsiteY74" fmla="*/ 34960 h 524408"/>
              <a:gd name="connsiteX75" fmla="*/ 43418 w 648462"/>
              <a:gd name="connsiteY75" fmla="*/ 29886 h 5244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</a:cxnLst>
            <a:rect l="l" t="t" r="r" b="b"/>
            <a:pathLst>
              <a:path w="648462" h="524408">
                <a:moveTo>
                  <a:pt x="43418" y="29886"/>
                </a:moveTo>
                <a:lnTo>
                  <a:pt x="25375" y="13533"/>
                </a:lnTo>
                <a:lnTo>
                  <a:pt x="18608" y="0"/>
                </a:lnTo>
                <a:lnTo>
                  <a:pt x="0" y="10150"/>
                </a:lnTo>
                <a:lnTo>
                  <a:pt x="16352" y="51313"/>
                </a:lnTo>
                <a:lnTo>
                  <a:pt x="12405" y="62591"/>
                </a:lnTo>
                <a:lnTo>
                  <a:pt x="33268" y="91912"/>
                </a:lnTo>
                <a:lnTo>
                  <a:pt x="33268" y="91912"/>
                </a:lnTo>
                <a:lnTo>
                  <a:pt x="59771" y="135895"/>
                </a:lnTo>
                <a:lnTo>
                  <a:pt x="80634" y="146609"/>
                </a:lnTo>
                <a:lnTo>
                  <a:pt x="86273" y="168036"/>
                </a:lnTo>
                <a:lnTo>
                  <a:pt x="73304" y="180442"/>
                </a:lnTo>
                <a:lnTo>
                  <a:pt x="70485" y="208636"/>
                </a:lnTo>
                <a:lnTo>
                  <a:pt x="96423" y="243032"/>
                </a:lnTo>
                <a:lnTo>
                  <a:pt x="135895" y="262204"/>
                </a:lnTo>
                <a:lnTo>
                  <a:pt x="155631" y="289834"/>
                </a:lnTo>
                <a:lnTo>
                  <a:pt x="154503" y="315773"/>
                </a:lnTo>
                <a:lnTo>
                  <a:pt x="164089" y="315773"/>
                </a:lnTo>
                <a:lnTo>
                  <a:pt x="166908" y="334381"/>
                </a:lnTo>
                <a:lnTo>
                  <a:pt x="186080" y="353553"/>
                </a:lnTo>
                <a:lnTo>
                  <a:pt x="195666" y="339456"/>
                </a:lnTo>
                <a:lnTo>
                  <a:pt x="216529" y="351297"/>
                </a:lnTo>
                <a:lnTo>
                  <a:pt x="232318" y="345658"/>
                </a:lnTo>
                <a:lnTo>
                  <a:pt x="261076" y="393024"/>
                </a:lnTo>
                <a:lnTo>
                  <a:pt x="285323" y="427421"/>
                </a:lnTo>
                <a:lnTo>
                  <a:pt x="316337" y="437571"/>
                </a:lnTo>
                <a:lnTo>
                  <a:pt x="350733" y="465201"/>
                </a:lnTo>
                <a:lnTo>
                  <a:pt x="389641" y="477043"/>
                </a:lnTo>
                <a:lnTo>
                  <a:pt x="418399" y="459562"/>
                </a:lnTo>
                <a:lnTo>
                  <a:pt x="440954" y="453360"/>
                </a:lnTo>
                <a:lnTo>
                  <a:pt x="456743" y="459562"/>
                </a:lnTo>
                <a:lnTo>
                  <a:pt x="474787" y="503545"/>
                </a:lnTo>
                <a:lnTo>
                  <a:pt x="510311" y="508056"/>
                </a:lnTo>
                <a:lnTo>
                  <a:pt x="544708" y="516514"/>
                </a:lnTo>
                <a:lnTo>
                  <a:pt x="603915" y="527228"/>
                </a:lnTo>
                <a:lnTo>
                  <a:pt x="610682" y="485501"/>
                </a:lnTo>
                <a:lnTo>
                  <a:pt x="652409" y="466893"/>
                </a:lnTo>
                <a:lnTo>
                  <a:pt x="647334" y="450540"/>
                </a:lnTo>
                <a:lnTo>
                  <a:pt x="632109" y="444901"/>
                </a:lnTo>
                <a:lnTo>
                  <a:pt x="626471" y="412760"/>
                </a:lnTo>
                <a:lnTo>
                  <a:pt x="594893" y="397535"/>
                </a:lnTo>
                <a:lnTo>
                  <a:pt x="579105" y="375544"/>
                </a:lnTo>
                <a:lnTo>
                  <a:pt x="561061" y="356936"/>
                </a:lnTo>
                <a:lnTo>
                  <a:pt x="583051" y="324231"/>
                </a:lnTo>
                <a:lnTo>
                  <a:pt x="576849" y="301676"/>
                </a:lnTo>
                <a:lnTo>
                  <a:pt x="552602" y="295473"/>
                </a:lnTo>
                <a:lnTo>
                  <a:pt x="546399" y="272918"/>
                </a:lnTo>
                <a:lnTo>
                  <a:pt x="531175" y="244160"/>
                </a:lnTo>
                <a:lnTo>
                  <a:pt x="540197" y="224424"/>
                </a:lnTo>
                <a:lnTo>
                  <a:pt x="526100" y="219349"/>
                </a:lnTo>
                <a:lnTo>
                  <a:pt x="528919" y="192847"/>
                </a:lnTo>
                <a:lnTo>
                  <a:pt x="531738" y="147736"/>
                </a:lnTo>
                <a:lnTo>
                  <a:pt x="522717" y="116723"/>
                </a:lnTo>
                <a:lnTo>
                  <a:pt x="500725" y="115595"/>
                </a:lnTo>
                <a:lnTo>
                  <a:pt x="459562" y="83454"/>
                </a:lnTo>
                <a:lnTo>
                  <a:pt x="435315" y="79507"/>
                </a:lnTo>
                <a:lnTo>
                  <a:pt x="398663" y="60899"/>
                </a:lnTo>
                <a:lnTo>
                  <a:pt x="377235" y="57516"/>
                </a:lnTo>
                <a:lnTo>
                  <a:pt x="365394" y="64282"/>
                </a:lnTo>
                <a:lnTo>
                  <a:pt x="345658" y="63154"/>
                </a:lnTo>
                <a:lnTo>
                  <a:pt x="328742" y="84018"/>
                </a:lnTo>
                <a:lnTo>
                  <a:pt x="303931" y="90785"/>
                </a:lnTo>
                <a:lnTo>
                  <a:pt x="302803" y="99807"/>
                </a:lnTo>
                <a:lnTo>
                  <a:pt x="258257" y="109393"/>
                </a:lnTo>
                <a:lnTo>
                  <a:pt x="215402" y="103190"/>
                </a:lnTo>
                <a:lnTo>
                  <a:pt x="191155" y="84582"/>
                </a:lnTo>
                <a:lnTo>
                  <a:pt x="161833" y="77251"/>
                </a:lnTo>
                <a:lnTo>
                  <a:pt x="147736" y="50185"/>
                </a:lnTo>
                <a:lnTo>
                  <a:pt x="140406" y="51877"/>
                </a:lnTo>
                <a:lnTo>
                  <a:pt x="118979" y="32705"/>
                </a:lnTo>
                <a:lnTo>
                  <a:pt x="125745" y="15225"/>
                </a:lnTo>
                <a:lnTo>
                  <a:pt x="115031" y="4511"/>
                </a:lnTo>
                <a:lnTo>
                  <a:pt x="104318" y="7330"/>
                </a:lnTo>
                <a:lnTo>
                  <a:pt x="74432" y="33833"/>
                </a:lnTo>
                <a:lnTo>
                  <a:pt x="64282" y="34960"/>
                </a:lnTo>
                <a:lnTo>
                  <a:pt x="43418" y="29886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9" name="Freeform: Shape 312">
            <a:extLst>
              <a:ext uri="{FF2B5EF4-FFF2-40B4-BE49-F238E27FC236}">
                <a16:creationId xmlns:a16="http://schemas.microsoft.com/office/drawing/2014/main" id="{52D6C809-448F-4460-A971-9D70AF6F027A}"/>
              </a:ext>
            </a:extLst>
          </p:cNvPr>
          <p:cNvSpPr/>
          <p:nvPr/>
        </p:nvSpPr>
        <p:spPr>
          <a:xfrm>
            <a:off x="6714160" y="3119157"/>
            <a:ext cx="231758" cy="223331"/>
          </a:xfrm>
          <a:custGeom>
            <a:avLst/>
            <a:gdLst>
              <a:gd name="connsiteX0" fmla="*/ 134204 w 310134"/>
              <a:gd name="connsiteY0" fmla="*/ 5075 h 298856"/>
              <a:gd name="connsiteX1" fmla="*/ 99243 w 310134"/>
              <a:gd name="connsiteY1" fmla="*/ 0 h 298856"/>
              <a:gd name="connsiteX2" fmla="*/ 87401 w 310134"/>
              <a:gd name="connsiteY2" fmla="*/ 5639 h 298856"/>
              <a:gd name="connsiteX3" fmla="*/ 75560 w 310134"/>
              <a:gd name="connsiteY3" fmla="*/ 28758 h 298856"/>
              <a:gd name="connsiteX4" fmla="*/ 60335 w 310134"/>
              <a:gd name="connsiteY4" fmla="*/ 37780 h 298856"/>
              <a:gd name="connsiteX5" fmla="*/ 67102 w 310134"/>
              <a:gd name="connsiteY5" fmla="*/ 64282 h 298856"/>
              <a:gd name="connsiteX6" fmla="*/ 62027 w 310134"/>
              <a:gd name="connsiteY6" fmla="*/ 108265 h 298856"/>
              <a:gd name="connsiteX7" fmla="*/ 0 w 310134"/>
              <a:gd name="connsiteY7" fmla="*/ 146045 h 298856"/>
              <a:gd name="connsiteX8" fmla="*/ 17480 w 310134"/>
              <a:gd name="connsiteY8" fmla="*/ 189464 h 298856"/>
              <a:gd name="connsiteX9" fmla="*/ 55261 w 310134"/>
              <a:gd name="connsiteY9" fmla="*/ 199050 h 298856"/>
              <a:gd name="connsiteX10" fmla="*/ 103190 w 310134"/>
              <a:gd name="connsiteY10" fmla="*/ 224424 h 298856"/>
              <a:gd name="connsiteX11" fmla="*/ 197358 w 310134"/>
              <a:gd name="connsiteY11" fmla="*/ 296037 h 298856"/>
              <a:gd name="connsiteX12" fmla="*/ 254873 w 310134"/>
              <a:gd name="connsiteY12" fmla="*/ 298856 h 298856"/>
              <a:gd name="connsiteX13" fmla="*/ 272918 w 310134"/>
              <a:gd name="connsiteY13" fmla="*/ 264460 h 298856"/>
              <a:gd name="connsiteX14" fmla="*/ 293781 w 310134"/>
              <a:gd name="connsiteY14" fmla="*/ 267279 h 298856"/>
              <a:gd name="connsiteX15" fmla="*/ 311826 w 310134"/>
              <a:gd name="connsiteY15" fmla="*/ 269535 h 298856"/>
              <a:gd name="connsiteX16" fmla="*/ 292654 w 310134"/>
              <a:gd name="connsiteY16" fmla="*/ 250363 h 298856"/>
              <a:gd name="connsiteX17" fmla="*/ 289834 w 310134"/>
              <a:gd name="connsiteY17" fmla="*/ 231755 h 298856"/>
              <a:gd name="connsiteX18" fmla="*/ 280248 w 310134"/>
              <a:gd name="connsiteY18" fmla="*/ 231755 h 298856"/>
              <a:gd name="connsiteX19" fmla="*/ 281376 w 310134"/>
              <a:gd name="connsiteY19" fmla="*/ 205816 h 298856"/>
              <a:gd name="connsiteX20" fmla="*/ 261640 w 310134"/>
              <a:gd name="connsiteY20" fmla="*/ 178186 h 298856"/>
              <a:gd name="connsiteX21" fmla="*/ 222169 w 310134"/>
              <a:gd name="connsiteY21" fmla="*/ 159014 h 298856"/>
              <a:gd name="connsiteX22" fmla="*/ 196231 w 310134"/>
              <a:gd name="connsiteY22" fmla="*/ 124618 h 298856"/>
              <a:gd name="connsiteX23" fmla="*/ 199050 w 310134"/>
              <a:gd name="connsiteY23" fmla="*/ 96424 h 298856"/>
              <a:gd name="connsiteX24" fmla="*/ 212019 w 310134"/>
              <a:gd name="connsiteY24" fmla="*/ 84018 h 298856"/>
              <a:gd name="connsiteX25" fmla="*/ 206380 w 310134"/>
              <a:gd name="connsiteY25" fmla="*/ 62591 h 298856"/>
              <a:gd name="connsiteX26" fmla="*/ 185517 w 310134"/>
              <a:gd name="connsiteY26" fmla="*/ 51877 h 298856"/>
              <a:gd name="connsiteX27" fmla="*/ 159014 w 310134"/>
              <a:gd name="connsiteY27" fmla="*/ 7894 h 298856"/>
              <a:gd name="connsiteX28" fmla="*/ 159014 w 310134"/>
              <a:gd name="connsiteY28" fmla="*/ 7894 h 298856"/>
              <a:gd name="connsiteX29" fmla="*/ 146045 w 310134"/>
              <a:gd name="connsiteY29" fmla="*/ 14097 h 298856"/>
              <a:gd name="connsiteX30" fmla="*/ 134204 w 310134"/>
              <a:gd name="connsiteY30" fmla="*/ 5075 h 2988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310134" h="298856">
                <a:moveTo>
                  <a:pt x="134204" y="5075"/>
                </a:moveTo>
                <a:lnTo>
                  <a:pt x="99243" y="0"/>
                </a:lnTo>
                <a:lnTo>
                  <a:pt x="87401" y="5639"/>
                </a:lnTo>
                <a:lnTo>
                  <a:pt x="75560" y="28758"/>
                </a:lnTo>
                <a:lnTo>
                  <a:pt x="60335" y="37780"/>
                </a:lnTo>
                <a:lnTo>
                  <a:pt x="67102" y="64282"/>
                </a:lnTo>
                <a:lnTo>
                  <a:pt x="62027" y="108265"/>
                </a:lnTo>
                <a:lnTo>
                  <a:pt x="0" y="146045"/>
                </a:lnTo>
                <a:lnTo>
                  <a:pt x="17480" y="189464"/>
                </a:lnTo>
                <a:lnTo>
                  <a:pt x="55261" y="199050"/>
                </a:lnTo>
                <a:lnTo>
                  <a:pt x="103190" y="224424"/>
                </a:lnTo>
                <a:lnTo>
                  <a:pt x="197358" y="296037"/>
                </a:lnTo>
                <a:lnTo>
                  <a:pt x="254873" y="298856"/>
                </a:lnTo>
                <a:lnTo>
                  <a:pt x="272918" y="264460"/>
                </a:lnTo>
                <a:lnTo>
                  <a:pt x="293781" y="267279"/>
                </a:lnTo>
                <a:lnTo>
                  <a:pt x="311826" y="269535"/>
                </a:lnTo>
                <a:lnTo>
                  <a:pt x="292654" y="250363"/>
                </a:lnTo>
                <a:lnTo>
                  <a:pt x="289834" y="231755"/>
                </a:lnTo>
                <a:lnTo>
                  <a:pt x="280248" y="231755"/>
                </a:lnTo>
                <a:lnTo>
                  <a:pt x="281376" y="205816"/>
                </a:lnTo>
                <a:lnTo>
                  <a:pt x="261640" y="178186"/>
                </a:lnTo>
                <a:lnTo>
                  <a:pt x="222169" y="159014"/>
                </a:lnTo>
                <a:lnTo>
                  <a:pt x="196231" y="124618"/>
                </a:lnTo>
                <a:lnTo>
                  <a:pt x="199050" y="96424"/>
                </a:lnTo>
                <a:lnTo>
                  <a:pt x="212019" y="84018"/>
                </a:lnTo>
                <a:lnTo>
                  <a:pt x="206380" y="62591"/>
                </a:lnTo>
                <a:lnTo>
                  <a:pt x="185517" y="51877"/>
                </a:lnTo>
                <a:lnTo>
                  <a:pt x="159014" y="7894"/>
                </a:lnTo>
                <a:lnTo>
                  <a:pt x="159014" y="7894"/>
                </a:lnTo>
                <a:lnTo>
                  <a:pt x="146045" y="14097"/>
                </a:lnTo>
                <a:lnTo>
                  <a:pt x="134204" y="5075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0" name="Freeform: Shape 313">
            <a:extLst>
              <a:ext uri="{FF2B5EF4-FFF2-40B4-BE49-F238E27FC236}">
                <a16:creationId xmlns:a16="http://schemas.microsoft.com/office/drawing/2014/main" id="{ACC89D31-FBCE-4E8F-8028-9B8FD02E6C98}"/>
              </a:ext>
            </a:extLst>
          </p:cNvPr>
          <p:cNvSpPr/>
          <p:nvPr/>
        </p:nvSpPr>
        <p:spPr>
          <a:xfrm>
            <a:off x="5407886" y="2378374"/>
            <a:ext cx="189620" cy="67421"/>
          </a:xfrm>
          <a:custGeom>
            <a:avLst/>
            <a:gdLst>
              <a:gd name="connsiteX0" fmla="*/ 237957 w 253746"/>
              <a:gd name="connsiteY0" fmla="*/ 2256 h 90220"/>
              <a:gd name="connsiteX1" fmla="*/ 199050 w 253746"/>
              <a:gd name="connsiteY1" fmla="*/ 0 h 90220"/>
              <a:gd name="connsiteX2" fmla="*/ 157886 w 253746"/>
              <a:gd name="connsiteY2" fmla="*/ 16353 h 90220"/>
              <a:gd name="connsiteX3" fmla="*/ 129129 w 253746"/>
              <a:gd name="connsiteY3" fmla="*/ 7894 h 90220"/>
              <a:gd name="connsiteX4" fmla="*/ 90221 w 253746"/>
              <a:gd name="connsiteY4" fmla="*/ 24811 h 90220"/>
              <a:gd name="connsiteX5" fmla="*/ 56952 w 253746"/>
              <a:gd name="connsiteY5" fmla="*/ 3383 h 90220"/>
              <a:gd name="connsiteX6" fmla="*/ 20300 w 253746"/>
              <a:gd name="connsiteY6" fmla="*/ 7894 h 90220"/>
              <a:gd name="connsiteX7" fmla="*/ 0 w 253746"/>
              <a:gd name="connsiteY7" fmla="*/ 28758 h 90220"/>
              <a:gd name="connsiteX8" fmla="*/ 49058 w 253746"/>
              <a:gd name="connsiteY8" fmla="*/ 36088 h 90220"/>
              <a:gd name="connsiteX9" fmla="*/ 48494 w 253746"/>
              <a:gd name="connsiteY9" fmla="*/ 45110 h 90220"/>
              <a:gd name="connsiteX10" fmla="*/ 4511 w 253746"/>
              <a:gd name="connsiteY10" fmla="*/ 51313 h 90220"/>
              <a:gd name="connsiteX11" fmla="*/ 54132 w 253746"/>
              <a:gd name="connsiteY11" fmla="*/ 66538 h 90220"/>
              <a:gd name="connsiteX12" fmla="*/ 28194 w 253746"/>
              <a:gd name="connsiteY12" fmla="*/ 80635 h 90220"/>
              <a:gd name="connsiteX13" fmla="*/ 94168 w 253746"/>
              <a:gd name="connsiteY13" fmla="*/ 90785 h 90220"/>
              <a:gd name="connsiteX14" fmla="*/ 125745 w 253746"/>
              <a:gd name="connsiteY14" fmla="*/ 95296 h 90220"/>
              <a:gd name="connsiteX15" fmla="*/ 147737 w 253746"/>
              <a:gd name="connsiteY15" fmla="*/ 89657 h 90220"/>
              <a:gd name="connsiteX16" fmla="*/ 220477 w 253746"/>
              <a:gd name="connsiteY16" fmla="*/ 67666 h 90220"/>
              <a:gd name="connsiteX17" fmla="*/ 254874 w 253746"/>
              <a:gd name="connsiteY17" fmla="*/ 43983 h 90220"/>
              <a:gd name="connsiteX18" fmla="*/ 230063 w 253746"/>
              <a:gd name="connsiteY18" fmla="*/ 22555 h 90220"/>
              <a:gd name="connsiteX19" fmla="*/ 237957 w 253746"/>
              <a:gd name="connsiteY19" fmla="*/ 2256 h 90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253746" h="90220">
                <a:moveTo>
                  <a:pt x="237957" y="2256"/>
                </a:moveTo>
                <a:lnTo>
                  <a:pt x="199050" y="0"/>
                </a:lnTo>
                <a:lnTo>
                  <a:pt x="157886" y="16353"/>
                </a:lnTo>
                <a:lnTo>
                  <a:pt x="129129" y="7894"/>
                </a:lnTo>
                <a:lnTo>
                  <a:pt x="90221" y="24811"/>
                </a:lnTo>
                <a:lnTo>
                  <a:pt x="56952" y="3383"/>
                </a:lnTo>
                <a:lnTo>
                  <a:pt x="20300" y="7894"/>
                </a:lnTo>
                <a:lnTo>
                  <a:pt x="0" y="28758"/>
                </a:lnTo>
                <a:lnTo>
                  <a:pt x="49058" y="36088"/>
                </a:lnTo>
                <a:lnTo>
                  <a:pt x="48494" y="45110"/>
                </a:lnTo>
                <a:lnTo>
                  <a:pt x="4511" y="51313"/>
                </a:lnTo>
                <a:lnTo>
                  <a:pt x="54132" y="66538"/>
                </a:lnTo>
                <a:lnTo>
                  <a:pt x="28194" y="80635"/>
                </a:lnTo>
                <a:lnTo>
                  <a:pt x="94168" y="90785"/>
                </a:lnTo>
                <a:lnTo>
                  <a:pt x="125745" y="95296"/>
                </a:lnTo>
                <a:lnTo>
                  <a:pt x="147737" y="89657"/>
                </a:lnTo>
                <a:lnTo>
                  <a:pt x="220477" y="67666"/>
                </a:lnTo>
                <a:lnTo>
                  <a:pt x="254874" y="43983"/>
                </a:lnTo>
                <a:lnTo>
                  <a:pt x="230063" y="22555"/>
                </a:lnTo>
                <a:lnTo>
                  <a:pt x="237957" y="2256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1" name="Freeform: Shape 314">
            <a:extLst>
              <a:ext uri="{FF2B5EF4-FFF2-40B4-BE49-F238E27FC236}">
                <a16:creationId xmlns:a16="http://schemas.microsoft.com/office/drawing/2014/main" id="{0E1EC7C9-5B13-4DF0-9232-874D438CF6D8}"/>
              </a:ext>
            </a:extLst>
          </p:cNvPr>
          <p:cNvSpPr/>
          <p:nvPr/>
        </p:nvSpPr>
        <p:spPr>
          <a:xfrm>
            <a:off x="6618507" y="3230823"/>
            <a:ext cx="29497" cy="101131"/>
          </a:xfrm>
          <a:custGeom>
            <a:avLst/>
            <a:gdLst>
              <a:gd name="connsiteX0" fmla="*/ 39472 w 39471"/>
              <a:gd name="connsiteY0" fmla="*/ 0 h 135331"/>
              <a:gd name="connsiteX1" fmla="*/ 31577 w 39471"/>
              <a:gd name="connsiteY1" fmla="*/ 564 h 135331"/>
              <a:gd name="connsiteX2" fmla="*/ 29321 w 39471"/>
              <a:gd name="connsiteY2" fmla="*/ 6767 h 135331"/>
              <a:gd name="connsiteX3" fmla="*/ 19171 w 39471"/>
              <a:gd name="connsiteY3" fmla="*/ 6767 h 135331"/>
              <a:gd name="connsiteX4" fmla="*/ 18608 w 39471"/>
              <a:gd name="connsiteY4" fmla="*/ 7330 h 135331"/>
              <a:gd name="connsiteX5" fmla="*/ 15224 w 39471"/>
              <a:gd name="connsiteY5" fmla="*/ 16352 h 135331"/>
              <a:gd name="connsiteX6" fmla="*/ 11841 w 39471"/>
              <a:gd name="connsiteY6" fmla="*/ 43419 h 135331"/>
              <a:gd name="connsiteX7" fmla="*/ 5639 w 39471"/>
              <a:gd name="connsiteY7" fmla="*/ 59771 h 135331"/>
              <a:gd name="connsiteX8" fmla="*/ 7894 w 39471"/>
              <a:gd name="connsiteY8" fmla="*/ 62027 h 135331"/>
              <a:gd name="connsiteX9" fmla="*/ 0 w 39471"/>
              <a:gd name="connsiteY9" fmla="*/ 73868 h 135331"/>
              <a:gd name="connsiteX10" fmla="*/ 0 w 39471"/>
              <a:gd name="connsiteY10" fmla="*/ 73868 h 135331"/>
              <a:gd name="connsiteX11" fmla="*/ 21991 w 39471"/>
              <a:gd name="connsiteY11" fmla="*/ 125745 h 135331"/>
              <a:gd name="connsiteX12" fmla="*/ 25938 w 39471"/>
              <a:gd name="connsiteY12" fmla="*/ 135331 h 135331"/>
              <a:gd name="connsiteX13" fmla="*/ 35524 w 39471"/>
              <a:gd name="connsiteY13" fmla="*/ 77815 h 135331"/>
              <a:gd name="connsiteX14" fmla="*/ 33268 w 39471"/>
              <a:gd name="connsiteY14" fmla="*/ 64282 h 135331"/>
              <a:gd name="connsiteX15" fmla="*/ 19736 w 39471"/>
              <a:gd name="connsiteY15" fmla="*/ 68793 h 135331"/>
              <a:gd name="connsiteX16" fmla="*/ 20300 w 39471"/>
              <a:gd name="connsiteY16" fmla="*/ 59207 h 135331"/>
              <a:gd name="connsiteX17" fmla="*/ 27066 w 39471"/>
              <a:gd name="connsiteY17" fmla="*/ 54696 h 135331"/>
              <a:gd name="connsiteX18" fmla="*/ 19171 w 39471"/>
              <a:gd name="connsiteY18" fmla="*/ 50749 h 135331"/>
              <a:gd name="connsiteX19" fmla="*/ 23119 w 39471"/>
              <a:gd name="connsiteY19" fmla="*/ 26502 h 135331"/>
              <a:gd name="connsiteX20" fmla="*/ 34397 w 39471"/>
              <a:gd name="connsiteY20" fmla="*/ 31577 h 135331"/>
              <a:gd name="connsiteX21" fmla="*/ 38343 w 39471"/>
              <a:gd name="connsiteY21" fmla="*/ 20300 h 135331"/>
              <a:gd name="connsiteX22" fmla="*/ 37780 w 39471"/>
              <a:gd name="connsiteY22" fmla="*/ 20300 h 135331"/>
              <a:gd name="connsiteX23" fmla="*/ 41163 w 39471"/>
              <a:gd name="connsiteY23" fmla="*/ 14661 h 135331"/>
              <a:gd name="connsiteX24" fmla="*/ 39472 w 39471"/>
              <a:gd name="connsiteY24" fmla="*/ 0 h 1353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39471" h="135331">
                <a:moveTo>
                  <a:pt x="39472" y="0"/>
                </a:moveTo>
                <a:lnTo>
                  <a:pt x="31577" y="564"/>
                </a:lnTo>
                <a:lnTo>
                  <a:pt x="29321" y="6767"/>
                </a:lnTo>
                <a:lnTo>
                  <a:pt x="19171" y="6767"/>
                </a:lnTo>
                <a:lnTo>
                  <a:pt x="18608" y="7330"/>
                </a:lnTo>
                <a:lnTo>
                  <a:pt x="15224" y="16352"/>
                </a:lnTo>
                <a:lnTo>
                  <a:pt x="11841" y="43419"/>
                </a:lnTo>
                <a:lnTo>
                  <a:pt x="5639" y="59771"/>
                </a:lnTo>
                <a:lnTo>
                  <a:pt x="7894" y="62027"/>
                </a:lnTo>
                <a:lnTo>
                  <a:pt x="0" y="73868"/>
                </a:lnTo>
                <a:lnTo>
                  <a:pt x="0" y="73868"/>
                </a:lnTo>
                <a:lnTo>
                  <a:pt x="21991" y="125745"/>
                </a:lnTo>
                <a:lnTo>
                  <a:pt x="25938" y="135331"/>
                </a:lnTo>
                <a:lnTo>
                  <a:pt x="35524" y="77815"/>
                </a:lnTo>
                <a:lnTo>
                  <a:pt x="33268" y="64282"/>
                </a:lnTo>
                <a:lnTo>
                  <a:pt x="19736" y="68793"/>
                </a:lnTo>
                <a:lnTo>
                  <a:pt x="20300" y="59207"/>
                </a:lnTo>
                <a:lnTo>
                  <a:pt x="27066" y="54696"/>
                </a:lnTo>
                <a:lnTo>
                  <a:pt x="19171" y="50749"/>
                </a:lnTo>
                <a:lnTo>
                  <a:pt x="23119" y="26502"/>
                </a:lnTo>
                <a:lnTo>
                  <a:pt x="34397" y="31577"/>
                </a:lnTo>
                <a:lnTo>
                  <a:pt x="38343" y="20300"/>
                </a:lnTo>
                <a:lnTo>
                  <a:pt x="37780" y="20300"/>
                </a:lnTo>
                <a:lnTo>
                  <a:pt x="41163" y="14661"/>
                </a:lnTo>
                <a:lnTo>
                  <a:pt x="39472" y="0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2" name="Freeform: Shape 315">
            <a:extLst>
              <a:ext uri="{FF2B5EF4-FFF2-40B4-BE49-F238E27FC236}">
                <a16:creationId xmlns:a16="http://schemas.microsoft.com/office/drawing/2014/main" id="{DA8053D1-E442-42A4-AB55-84A3CFED2714}"/>
              </a:ext>
            </a:extLst>
          </p:cNvPr>
          <p:cNvSpPr/>
          <p:nvPr/>
        </p:nvSpPr>
        <p:spPr>
          <a:xfrm>
            <a:off x="5986018" y="2862959"/>
            <a:ext cx="257041" cy="273896"/>
          </a:xfrm>
          <a:custGeom>
            <a:avLst/>
            <a:gdLst>
              <a:gd name="connsiteX0" fmla="*/ 265588 w 343966"/>
              <a:gd name="connsiteY0" fmla="*/ 312390 h 366522"/>
              <a:gd name="connsiteX1" fmla="*/ 243032 w 343966"/>
              <a:gd name="connsiteY1" fmla="*/ 315209 h 366522"/>
              <a:gd name="connsiteX2" fmla="*/ 213710 w 343966"/>
              <a:gd name="connsiteY2" fmla="*/ 319156 h 366522"/>
              <a:gd name="connsiteX3" fmla="*/ 178750 w 343966"/>
              <a:gd name="connsiteY3" fmla="*/ 315773 h 366522"/>
              <a:gd name="connsiteX4" fmla="*/ 175367 w 343966"/>
              <a:gd name="connsiteY4" fmla="*/ 334945 h 366522"/>
              <a:gd name="connsiteX5" fmla="*/ 217658 w 343966"/>
              <a:gd name="connsiteY5" fmla="*/ 353553 h 366522"/>
              <a:gd name="connsiteX6" fmla="*/ 232882 w 343966"/>
              <a:gd name="connsiteY6" fmla="*/ 357500 h 366522"/>
              <a:gd name="connsiteX7" fmla="*/ 256565 w 343966"/>
              <a:gd name="connsiteY7" fmla="*/ 371033 h 366522"/>
              <a:gd name="connsiteX8" fmla="*/ 261640 w 343966"/>
              <a:gd name="connsiteY8" fmla="*/ 352425 h 366522"/>
              <a:gd name="connsiteX9" fmla="*/ 256565 w 343966"/>
              <a:gd name="connsiteY9" fmla="*/ 341147 h 366522"/>
              <a:gd name="connsiteX10" fmla="*/ 265588 w 343966"/>
              <a:gd name="connsiteY10" fmla="*/ 312390 h 366522"/>
              <a:gd name="connsiteX11" fmla="*/ 75560 w 343966"/>
              <a:gd name="connsiteY11" fmla="*/ 205816 h 366522"/>
              <a:gd name="connsiteX12" fmla="*/ 61463 w 343966"/>
              <a:gd name="connsiteY12" fmla="*/ 216530 h 366522"/>
              <a:gd name="connsiteX13" fmla="*/ 45674 w 343966"/>
              <a:gd name="connsiteY13" fmla="*/ 214838 h 366522"/>
              <a:gd name="connsiteX14" fmla="*/ 53005 w 343966"/>
              <a:gd name="connsiteY14" fmla="*/ 235138 h 366522"/>
              <a:gd name="connsiteX15" fmla="*/ 55260 w 343966"/>
              <a:gd name="connsiteY15" fmla="*/ 277993 h 366522"/>
              <a:gd name="connsiteX16" fmla="*/ 67102 w 343966"/>
              <a:gd name="connsiteY16" fmla="*/ 287579 h 366522"/>
              <a:gd name="connsiteX17" fmla="*/ 78379 w 343966"/>
              <a:gd name="connsiteY17" fmla="*/ 275737 h 366522"/>
              <a:gd name="connsiteX18" fmla="*/ 91912 w 343966"/>
              <a:gd name="connsiteY18" fmla="*/ 277993 h 366522"/>
              <a:gd name="connsiteX19" fmla="*/ 94168 w 343966"/>
              <a:gd name="connsiteY19" fmla="*/ 230627 h 366522"/>
              <a:gd name="connsiteX20" fmla="*/ 75560 w 343966"/>
              <a:gd name="connsiteY20" fmla="*/ 205816 h 366522"/>
              <a:gd name="connsiteX21" fmla="*/ 156195 w 343966"/>
              <a:gd name="connsiteY21" fmla="*/ 12405 h 366522"/>
              <a:gd name="connsiteX22" fmla="*/ 148864 w 343966"/>
              <a:gd name="connsiteY22" fmla="*/ 0 h 366522"/>
              <a:gd name="connsiteX23" fmla="*/ 121798 w 343966"/>
              <a:gd name="connsiteY23" fmla="*/ 6203 h 366522"/>
              <a:gd name="connsiteX24" fmla="*/ 118979 w 343966"/>
              <a:gd name="connsiteY24" fmla="*/ 12969 h 366522"/>
              <a:gd name="connsiteX25" fmla="*/ 101498 w 343966"/>
              <a:gd name="connsiteY25" fmla="*/ 7894 h 366522"/>
              <a:gd name="connsiteX26" fmla="*/ 99807 w 343966"/>
              <a:gd name="connsiteY26" fmla="*/ 21991 h 366522"/>
              <a:gd name="connsiteX27" fmla="*/ 87965 w 343966"/>
              <a:gd name="connsiteY27" fmla="*/ 28194 h 366522"/>
              <a:gd name="connsiteX28" fmla="*/ 66538 w 343966"/>
              <a:gd name="connsiteY28" fmla="*/ 23683 h 366522"/>
              <a:gd name="connsiteX29" fmla="*/ 61463 w 343966"/>
              <a:gd name="connsiteY29" fmla="*/ 37780 h 366522"/>
              <a:gd name="connsiteX30" fmla="*/ 47930 w 343966"/>
              <a:gd name="connsiteY30" fmla="*/ 38908 h 366522"/>
              <a:gd name="connsiteX31" fmla="*/ 42855 w 343966"/>
              <a:gd name="connsiteY31" fmla="*/ 33269 h 366522"/>
              <a:gd name="connsiteX32" fmla="*/ 27630 w 343966"/>
              <a:gd name="connsiteY32" fmla="*/ 45110 h 366522"/>
              <a:gd name="connsiteX33" fmla="*/ 14097 w 343966"/>
              <a:gd name="connsiteY33" fmla="*/ 46802 h 366522"/>
              <a:gd name="connsiteX34" fmla="*/ 1692 w 343966"/>
              <a:gd name="connsiteY34" fmla="*/ 39472 h 366522"/>
              <a:gd name="connsiteX35" fmla="*/ 564 w 343966"/>
              <a:gd name="connsiteY35" fmla="*/ 49057 h 366522"/>
              <a:gd name="connsiteX36" fmla="*/ 9586 w 343966"/>
              <a:gd name="connsiteY36" fmla="*/ 62591 h 366522"/>
              <a:gd name="connsiteX37" fmla="*/ 0 w 343966"/>
              <a:gd name="connsiteY37" fmla="*/ 72740 h 366522"/>
              <a:gd name="connsiteX38" fmla="*/ 8458 w 343966"/>
              <a:gd name="connsiteY38" fmla="*/ 99807 h 366522"/>
              <a:gd name="connsiteX39" fmla="*/ 23683 w 343966"/>
              <a:gd name="connsiteY39" fmla="*/ 104318 h 366522"/>
              <a:gd name="connsiteX40" fmla="*/ 20864 w 343966"/>
              <a:gd name="connsiteY40" fmla="*/ 119542 h 366522"/>
              <a:gd name="connsiteX41" fmla="*/ 32705 w 343966"/>
              <a:gd name="connsiteY41" fmla="*/ 116723 h 366522"/>
              <a:gd name="connsiteX42" fmla="*/ 48494 w 343966"/>
              <a:gd name="connsiteY42" fmla="*/ 100934 h 366522"/>
              <a:gd name="connsiteX43" fmla="*/ 61463 w 343966"/>
              <a:gd name="connsiteY43" fmla="*/ 95860 h 366522"/>
              <a:gd name="connsiteX44" fmla="*/ 85146 w 343966"/>
              <a:gd name="connsiteY44" fmla="*/ 107701 h 366522"/>
              <a:gd name="connsiteX45" fmla="*/ 99807 w 343966"/>
              <a:gd name="connsiteY45" fmla="*/ 111648 h 366522"/>
              <a:gd name="connsiteX46" fmla="*/ 110521 w 343966"/>
              <a:gd name="connsiteY46" fmla="*/ 145481 h 366522"/>
              <a:gd name="connsiteX47" fmla="*/ 130820 w 343966"/>
              <a:gd name="connsiteY47" fmla="*/ 165781 h 366522"/>
              <a:gd name="connsiteX48" fmla="*/ 158450 w 343966"/>
              <a:gd name="connsiteY48" fmla="*/ 188336 h 366522"/>
              <a:gd name="connsiteX49" fmla="*/ 182133 w 343966"/>
              <a:gd name="connsiteY49" fmla="*/ 204124 h 366522"/>
              <a:gd name="connsiteX50" fmla="*/ 204125 w 343966"/>
              <a:gd name="connsiteY50" fmla="*/ 206380 h 366522"/>
              <a:gd name="connsiteX51" fmla="*/ 217093 w 343966"/>
              <a:gd name="connsiteY51" fmla="*/ 220477 h 366522"/>
              <a:gd name="connsiteX52" fmla="*/ 236266 w 343966"/>
              <a:gd name="connsiteY52" fmla="*/ 227244 h 366522"/>
              <a:gd name="connsiteX53" fmla="*/ 245852 w 343966"/>
              <a:gd name="connsiteY53" fmla="*/ 242468 h 366522"/>
              <a:gd name="connsiteX54" fmla="*/ 258257 w 343966"/>
              <a:gd name="connsiteY54" fmla="*/ 246979 h 366522"/>
              <a:gd name="connsiteX55" fmla="*/ 268407 w 343966"/>
              <a:gd name="connsiteY55" fmla="*/ 265024 h 366522"/>
              <a:gd name="connsiteX56" fmla="*/ 281376 w 343966"/>
              <a:gd name="connsiteY56" fmla="*/ 285887 h 366522"/>
              <a:gd name="connsiteX57" fmla="*/ 275173 w 343966"/>
              <a:gd name="connsiteY57" fmla="*/ 293218 h 366522"/>
              <a:gd name="connsiteX58" fmla="*/ 270662 w 343966"/>
              <a:gd name="connsiteY58" fmla="*/ 312953 h 366522"/>
              <a:gd name="connsiteX59" fmla="*/ 271227 w 343966"/>
              <a:gd name="connsiteY59" fmla="*/ 324231 h 366522"/>
              <a:gd name="connsiteX60" fmla="*/ 283068 w 343966"/>
              <a:gd name="connsiteY60" fmla="*/ 321412 h 366522"/>
              <a:gd name="connsiteX61" fmla="*/ 297165 w 343966"/>
              <a:gd name="connsiteY61" fmla="*/ 289834 h 366522"/>
              <a:gd name="connsiteX62" fmla="*/ 309006 w 343966"/>
              <a:gd name="connsiteY62" fmla="*/ 287579 h 366522"/>
              <a:gd name="connsiteX63" fmla="*/ 311262 w 343966"/>
              <a:gd name="connsiteY63" fmla="*/ 268971 h 366522"/>
              <a:gd name="connsiteX64" fmla="*/ 289270 w 343966"/>
              <a:gd name="connsiteY64" fmla="*/ 256002 h 366522"/>
              <a:gd name="connsiteX65" fmla="*/ 299984 w 343966"/>
              <a:gd name="connsiteY65" fmla="*/ 232882 h 366522"/>
              <a:gd name="connsiteX66" fmla="*/ 325359 w 343966"/>
              <a:gd name="connsiteY66" fmla="*/ 238521 h 366522"/>
              <a:gd name="connsiteX67" fmla="*/ 342839 w 343966"/>
              <a:gd name="connsiteY67" fmla="*/ 255438 h 366522"/>
              <a:gd name="connsiteX68" fmla="*/ 347350 w 343966"/>
              <a:gd name="connsiteY68" fmla="*/ 242468 h 366522"/>
              <a:gd name="connsiteX69" fmla="*/ 343966 w 343966"/>
              <a:gd name="connsiteY69" fmla="*/ 235702 h 366522"/>
              <a:gd name="connsiteX70" fmla="*/ 317464 w 343966"/>
              <a:gd name="connsiteY70" fmla="*/ 217658 h 366522"/>
              <a:gd name="connsiteX71" fmla="*/ 295473 w 343966"/>
              <a:gd name="connsiteY71" fmla="*/ 206944 h 366522"/>
              <a:gd name="connsiteX72" fmla="*/ 268407 w 343966"/>
              <a:gd name="connsiteY72" fmla="*/ 193975 h 366522"/>
              <a:gd name="connsiteX73" fmla="*/ 276301 w 343966"/>
              <a:gd name="connsiteY73" fmla="*/ 187208 h 366522"/>
              <a:gd name="connsiteX74" fmla="*/ 268407 w 343966"/>
              <a:gd name="connsiteY74" fmla="*/ 179314 h 366522"/>
              <a:gd name="connsiteX75" fmla="*/ 245852 w 343966"/>
              <a:gd name="connsiteY75" fmla="*/ 179878 h 366522"/>
              <a:gd name="connsiteX76" fmla="*/ 212019 w 343966"/>
              <a:gd name="connsiteY76" fmla="*/ 151684 h 366522"/>
              <a:gd name="connsiteX77" fmla="*/ 195666 w 343966"/>
              <a:gd name="connsiteY77" fmla="*/ 122926 h 366522"/>
              <a:gd name="connsiteX78" fmla="*/ 168036 w 343966"/>
              <a:gd name="connsiteY78" fmla="*/ 105445 h 366522"/>
              <a:gd name="connsiteX79" fmla="*/ 157322 w 343966"/>
              <a:gd name="connsiteY79" fmla="*/ 87965 h 366522"/>
              <a:gd name="connsiteX80" fmla="*/ 160142 w 343966"/>
              <a:gd name="connsiteY80" fmla="*/ 77815 h 366522"/>
              <a:gd name="connsiteX81" fmla="*/ 157886 w 343966"/>
              <a:gd name="connsiteY81" fmla="*/ 60899 h 366522"/>
              <a:gd name="connsiteX82" fmla="*/ 179878 w 343966"/>
              <a:gd name="connsiteY82" fmla="*/ 48494 h 366522"/>
              <a:gd name="connsiteX83" fmla="*/ 202996 w 343966"/>
              <a:gd name="connsiteY83" fmla="*/ 53569 h 366522"/>
              <a:gd name="connsiteX84" fmla="*/ 195103 w 343966"/>
              <a:gd name="connsiteY84" fmla="*/ 38344 h 366522"/>
              <a:gd name="connsiteX85" fmla="*/ 196794 w 343966"/>
              <a:gd name="connsiteY85" fmla="*/ 21427 h 366522"/>
              <a:gd name="connsiteX86" fmla="*/ 156195 w 343966"/>
              <a:gd name="connsiteY86" fmla="*/ 12405 h 3665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</a:cxnLst>
            <a:rect l="l" t="t" r="r" b="b"/>
            <a:pathLst>
              <a:path w="343966" h="366522">
                <a:moveTo>
                  <a:pt x="265588" y="312390"/>
                </a:moveTo>
                <a:lnTo>
                  <a:pt x="243032" y="315209"/>
                </a:lnTo>
                <a:lnTo>
                  <a:pt x="213710" y="319156"/>
                </a:lnTo>
                <a:lnTo>
                  <a:pt x="178750" y="315773"/>
                </a:lnTo>
                <a:lnTo>
                  <a:pt x="175367" y="334945"/>
                </a:lnTo>
                <a:lnTo>
                  <a:pt x="217658" y="353553"/>
                </a:lnTo>
                <a:lnTo>
                  <a:pt x="232882" y="357500"/>
                </a:lnTo>
                <a:lnTo>
                  <a:pt x="256565" y="371033"/>
                </a:lnTo>
                <a:lnTo>
                  <a:pt x="261640" y="352425"/>
                </a:lnTo>
                <a:lnTo>
                  <a:pt x="256565" y="341147"/>
                </a:lnTo>
                <a:lnTo>
                  <a:pt x="265588" y="312390"/>
                </a:lnTo>
                <a:close/>
                <a:moveTo>
                  <a:pt x="75560" y="205816"/>
                </a:moveTo>
                <a:lnTo>
                  <a:pt x="61463" y="216530"/>
                </a:lnTo>
                <a:lnTo>
                  <a:pt x="45674" y="214838"/>
                </a:lnTo>
                <a:lnTo>
                  <a:pt x="53005" y="235138"/>
                </a:lnTo>
                <a:lnTo>
                  <a:pt x="55260" y="277993"/>
                </a:lnTo>
                <a:lnTo>
                  <a:pt x="67102" y="287579"/>
                </a:lnTo>
                <a:lnTo>
                  <a:pt x="78379" y="275737"/>
                </a:lnTo>
                <a:lnTo>
                  <a:pt x="91912" y="277993"/>
                </a:lnTo>
                <a:lnTo>
                  <a:pt x="94168" y="230627"/>
                </a:lnTo>
                <a:lnTo>
                  <a:pt x="75560" y="205816"/>
                </a:lnTo>
                <a:close/>
                <a:moveTo>
                  <a:pt x="156195" y="12405"/>
                </a:moveTo>
                <a:lnTo>
                  <a:pt x="148864" y="0"/>
                </a:lnTo>
                <a:lnTo>
                  <a:pt x="121798" y="6203"/>
                </a:lnTo>
                <a:lnTo>
                  <a:pt x="118979" y="12969"/>
                </a:lnTo>
                <a:lnTo>
                  <a:pt x="101498" y="7894"/>
                </a:lnTo>
                <a:lnTo>
                  <a:pt x="99807" y="21991"/>
                </a:lnTo>
                <a:lnTo>
                  <a:pt x="87965" y="28194"/>
                </a:lnTo>
                <a:lnTo>
                  <a:pt x="66538" y="23683"/>
                </a:lnTo>
                <a:lnTo>
                  <a:pt x="61463" y="37780"/>
                </a:lnTo>
                <a:lnTo>
                  <a:pt x="47930" y="38908"/>
                </a:lnTo>
                <a:lnTo>
                  <a:pt x="42855" y="33269"/>
                </a:lnTo>
                <a:lnTo>
                  <a:pt x="27630" y="45110"/>
                </a:lnTo>
                <a:lnTo>
                  <a:pt x="14097" y="46802"/>
                </a:lnTo>
                <a:lnTo>
                  <a:pt x="1692" y="39472"/>
                </a:lnTo>
                <a:lnTo>
                  <a:pt x="564" y="49057"/>
                </a:lnTo>
                <a:lnTo>
                  <a:pt x="9586" y="62591"/>
                </a:lnTo>
                <a:lnTo>
                  <a:pt x="0" y="72740"/>
                </a:lnTo>
                <a:lnTo>
                  <a:pt x="8458" y="99807"/>
                </a:lnTo>
                <a:lnTo>
                  <a:pt x="23683" y="104318"/>
                </a:lnTo>
                <a:lnTo>
                  <a:pt x="20864" y="119542"/>
                </a:lnTo>
                <a:lnTo>
                  <a:pt x="32705" y="116723"/>
                </a:lnTo>
                <a:lnTo>
                  <a:pt x="48494" y="100934"/>
                </a:lnTo>
                <a:lnTo>
                  <a:pt x="61463" y="95860"/>
                </a:lnTo>
                <a:lnTo>
                  <a:pt x="85146" y="107701"/>
                </a:lnTo>
                <a:lnTo>
                  <a:pt x="99807" y="111648"/>
                </a:lnTo>
                <a:lnTo>
                  <a:pt x="110521" y="145481"/>
                </a:lnTo>
                <a:lnTo>
                  <a:pt x="130820" y="165781"/>
                </a:lnTo>
                <a:lnTo>
                  <a:pt x="158450" y="188336"/>
                </a:lnTo>
                <a:lnTo>
                  <a:pt x="182133" y="204124"/>
                </a:lnTo>
                <a:lnTo>
                  <a:pt x="204125" y="206380"/>
                </a:lnTo>
                <a:lnTo>
                  <a:pt x="217093" y="220477"/>
                </a:lnTo>
                <a:lnTo>
                  <a:pt x="236266" y="227244"/>
                </a:lnTo>
                <a:lnTo>
                  <a:pt x="245852" y="242468"/>
                </a:lnTo>
                <a:lnTo>
                  <a:pt x="258257" y="246979"/>
                </a:lnTo>
                <a:lnTo>
                  <a:pt x="268407" y="265024"/>
                </a:lnTo>
                <a:lnTo>
                  <a:pt x="281376" y="285887"/>
                </a:lnTo>
                <a:lnTo>
                  <a:pt x="275173" y="293218"/>
                </a:lnTo>
                <a:lnTo>
                  <a:pt x="270662" y="312953"/>
                </a:lnTo>
                <a:lnTo>
                  <a:pt x="271227" y="324231"/>
                </a:lnTo>
                <a:lnTo>
                  <a:pt x="283068" y="321412"/>
                </a:lnTo>
                <a:lnTo>
                  <a:pt x="297165" y="289834"/>
                </a:lnTo>
                <a:lnTo>
                  <a:pt x="309006" y="287579"/>
                </a:lnTo>
                <a:lnTo>
                  <a:pt x="311262" y="268971"/>
                </a:lnTo>
                <a:lnTo>
                  <a:pt x="289270" y="256002"/>
                </a:lnTo>
                <a:lnTo>
                  <a:pt x="299984" y="232882"/>
                </a:lnTo>
                <a:lnTo>
                  <a:pt x="325359" y="238521"/>
                </a:lnTo>
                <a:lnTo>
                  <a:pt x="342839" y="255438"/>
                </a:lnTo>
                <a:lnTo>
                  <a:pt x="347350" y="242468"/>
                </a:lnTo>
                <a:lnTo>
                  <a:pt x="343966" y="235702"/>
                </a:lnTo>
                <a:lnTo>
                  <a:pt x="317464" y="217658"/>
                </a:lnTo>
                <a:lnTo>
                  <a:pt x="295473" y="206944"/>
                </a:lnTo>
                <a:lnTo>
                  <a:pt x="268407" y="193975"/>
                </a:lnTo>
                <a:lnTo>
                  <a:pt x="276301" y="187208"/>
                </a:lnTo>
                <a:lnTo>
                  <a:pt x="268407" y="179314"/>
                </a:lnTo>
                <a:lnTo>
                  <a:pt x="245852" y="179878"/>
                </a:lnTo>
                <a:lnTo>
                  <a:pt x="212019" y="151684"/>
                </a:lnTo>
                <a:lnTo>
                  <a:pt x="195666" y="122926"/>
                </a:lnTo>
                <a:lnTo>
                  <a:pt x="168036" y="105445"/>
                </a:lnTo>
                <a:lnTo>
                  <a:pt x="157322" y="87965"/>
                </a:lnTo>
                <a:lnTo>
                  <a:pt x="160142" y="77815"/>
                </a:lnTo>
                <a:lnTo>
                  <a:pt x="157886" y="60899"/>
                </a:lnTo>
                <a:lnTo>
                  <a:pt x="179878" y="48494"/>
                </a:lnTo>
                <a:lnTo>
                  <a:pt x="202996" y="53569"/>
                </a:lnTo>
                <a:lnTo>
                  <a:pt x="195103" y="38344"/>
                </a:lnTo>
                <a:lnTo>
                  <a:pt x="196794" y="21427"/>
                </a:lnTo>
                <a:lnTo>
                  <a:pt x="156195" y="12405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3" name="Freeform: Shape 316">
            <a:extLst>
              <a:ext uri="{FF2B5EF4-FFF2-40B4-BE49-F238E27FC236}">
                <a16:creationId xmlns:a16="http://schemas.microsoft.com/office/drawing/2014/main" id="{2B7BEA3A-984E-4180-8937-3FB3217BDD69}"/>
              </a:ext>
            </a:extLst>
          </p:cNvPr>
          <p:cNvSpPr/>
          <p:nvPr/>
        </p:nvSpPr>
        <p:spPr>
          <a:xfrm>
            <a:off x="4015229" y="3626077"/>
            <a:ext cx="46351" cy="21069"/>
          </a:xfrm>
          <a:custGeom>
            <a:avLst/>
            <a:gdLst>
              <a:gd name="connsiteX0" fmla="*/ 43419 w 62026"/>
              <a:gd name="connsiteY0" fmla="*/ 23683 h 28194"/>
              <a:gd name="connsiteX1" fmla="*/ 65410 w 62026"/>
              <a:gd name="connsiteY1" fmla="*/ 23119 h 28194"/>
              <a:gd name="connsiteX2" fmla="*/ 60899 w 62026"/>
              <a:gd name="connsiteY2" fmla="*/ 12969 h 28194"/>
              <a:gd name="connsiteX3" fmla="*/ 45674 w 62026"/>
              <a:gd name="connsiteY3" fmla="*/ 4511 h 28194"/>
              <a:gd name="connsiteX4" fmla="*/ 24811 w 62026"/>
              <a:gd name="connsiteY4" fmla="*/ 1128 h 28194"/>
              <a:gd name="connsiteX5" fmla="*/ 18044 w 62026"/>
              <a:gd name="connsiteY5" fmla="*/ 0 h 28194"/>
              <a:gd name="connsiteX6" fmla="*/ 4511 w 62026"/>
              <a:gd name="connsiteY6" fmla="*/ 2256 h 28194"/>
              <a:gd name="connsiteX7" fmla="*/ 0 w 62026"/>
              <a:gd name="connsiteY7" fmla="*/ 10714 h 28194"/>
              <a:gd name="connsiteX8" fmla="*/ 16353 w 62026"/>
              <a:gd name="connsiteY8" fmla="*/ 23683 h 28194"/>
              <a:gd name="connsiteX9" fmla="*/ 33269 w 62026"/>
              <a:gd name="connsiteY9" fmla="*/ 29322 h 28194"/>
              <a:gd name="connsiteX10" fmla="*/ 43419 w 62026"/>
              <a:gd name="connsiteY10" fmla="*/ 23683 h 281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2026" h="28194">
                <a:moveTo>
                  <a:pt x="43419" y="23683"/>
                </a:moveTo>
                <a:lnTo>
                  <a:pt x="65410" y="23119"/>
                </a:lnTo>
                <a:lnTo>
                  <a:pt x="60899" y="12969"/>
                </a:lnTo>
                <a:lnTo>
                  <a:pt x="45674" y="4511"/>
                </a:lnTo>
                <a:lnTo>
                  <a:pt x="24811" y="1128"/>
                </a:lnTo>
                <a:lnTo>
                  <a:pt x="18044" y="0"/>
                </a:lnTo>
                <a:lnTo>
                  <a:pt x="4511" y="2256"/>
                </a:lnTo>
                <a:lnTo>
                  <a:pt x="0" y="10714"/>
                </a:lnTo>
                <a:lnTo>
                  <a:pt x="16353" y="23683"/>
                </a:lnTo>
                <a:lnTo>
                  <a:pt x="33269" y="29322"/>
                </a:lnTo>
                <a:lnTo>
                  <a:pt x="43419" y="23683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4" name="Freeform: Shape 317">
            <a:extLst>
              <a:ext uri="{FF2B5EF4-FFF2-40B4-BE49-F238E27FC236}">
                <a16:creationId xmlns:a16="http://schemas.microsoft.com/office/drawing/2014/main" id="{27F8CC57-E9F7-4AF2-AE3C-A805864C018C}"/>
              </a:ext>
            </a:extLst>
          </p:cNvPr>
          <p:cNvSpPr/>
          <p:nvPr/>
        </p:nvSpPr>
        <p:spPr>
          <a:xfrm>
            <a:off x="6637891" y="3228295"/>
            <a:ext cx="88490" cy="109559"/>
          </a:xfrm>
          <a:custGeom>
            <a:avLst/>
            <a:gdLst>
              <a:gd name="connsiteX0" fmla="*/ 119542 w 118414"/>
              <a:gd name="connsiteY0" fmla="*/ 43419 h 146608"/>
              <a:gd name="connsiteX1" fmla="*/ 102062 w 118414"/>
              <a:gd name="connsiteY1" fmla="*/ 0 h 146608"/>
              <a:gd name="connsiteX2" fmla="*/ 47930 w 118414"/>
              <a:gd name="connsiteY2" fmla="*/ 37780 h 146608"/>
              <a:gd name="connsiteX3" fmla="*/ 12405 w 118414"/>
              <a:gd name="connsiteY3" fmla="*/ 23683 h 146608"/>
              <a:gd name="connsiteX4" fmla="*/ 8458 w 118414"/>
              <a:gd name="connsiteY4" fmla="*/ 34961 h 146608"/>
              <a:gd name="connsiteX5" fmla="*/ 10714 w 118414"/>
              <a:gd name="connsiteY5" fmla="*/ 56952 h 146608"/>
              <a:gd name="connsiteX6" fmla="*/ 7330 w 118414"/>
              <a:gd name="connsiteY6" fmla="*/ 67666 h 146608"/>
              <a:gd name="connsiteX7" fmla="*/ 9586 w 118414"/>
              <a:gd name="connsiteY7" fmla="*/ 81199 h 146608"/>
              <a:gd name="connsiteX8" fmla="*/ 0 w 118414"/>
              <a:gd name="connsiteY8" fmla="*/ 138715 h 146608"/>
              <a:gd name="connsiteX9" fmla="*/ 1691 w 118414"/>
              <a:gd name="connsiteY9" fmla="*/ 143789 h 146608"/>
              <a:gd name="connsiteX10" fmla="*/ 36088 w 118414"/>
              <a:gd name="connsiteY10" fmla="*/ 149428 h 146608"/>
              <a:gd name="connsiteX11" fmla="*/ 47930 w 118414"/>
              <a:gd name="connsiteY11" fmla="*/ 138151 h 146608"/>
              <a:gd name="connsiteX12" fmla="*/ 54132 w 118414"/>
              <a:gd name="connsiteY12" fmla="*/ 125181 h 146608"/>
              <a:gd name="connsiteX13" fmla="*/ 76688 w 118414"/>
              <a:gd name="connsiteY13" fmla="*/ 120670 h 146608"/>
              <a:gd name="connsiteX14" fmla="*/ 80634 w 118414"/>
              <a:gd name="connsiteY14" fmla="*/ 108265 h 146608"/>
              <a:gd name="connsiteX15" fmla="*/ 90221 w 118414"/>
              <a:gd name="connsiteY15" fmla="*/ 102626 h 146608"/>
              <a:gd name="connsiteX16" fmla="*/ 55824 w 118414"/>
              <a:gd name="connsiteY16" fmla="*/ 66538 h 146608"/>
              <a:gd name="connsiteX17" fmla="*/ 114467 w 118414"/>
              <a:gd name="connsiteY17" fmla="*/ 49058 h 146608"/>
              <a:gd name="connsiteX18" fmla="*/ 119542 w 118414"/>
              <a:gd name="connsiteY18" fmla="*/ 43419 h 1466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18414" h="146608">
                <a:moveTo>
                  <a:pt x="119542" y="43419"/>
                </a:moveTo>
                <a:lnTo>
                  <a:pt x="102062" y="0"/>
                </a:lnTo>
                <a:lnTo>
                  <a:pt x="47930" y="37780"/>
                </a:lnTo>
                <a:lnTo>
                  <a:pt x="12405" y="23683"/>
                </a:lnTo>
                <a:lnTo>
                  <a:pt x="8458" y="34961"/>
                </a:lnTo>
                <a:lnTo>
                  <a:pt x="10714" y="56952"/>
                </a:lnTo>
                <a:lnTo>
                  <a:pt x="7330" y="67666"/>
                </a:lnTo>
                <a:lnTo>
                  <a:pt x="9586" y="81199"/>
                </a:lnTo>
                <a:lnTo>
                  <a:pt x="0" y="138715"/>
                </a:lnTo>
                <a:lnTo>
                  <a:pt x="1691" y="143789"/>
                </a:lnTo>
                <a:lnTo>
                  <a:pt x="36088" y="149428"/>
                </a:lnTo>
                <a:lnTo>
                  <a:pt x="47930" y="138151"/>
                </a:lnTo>
                <a:lnTo>
                  <a:pt x="54132" y="125181"/>
                </a:lnTo>
                <a:lnTo>
                  <a:pt x="76688" y="120670"/>
                </a:lnTo>
                <a:lnTo>
                  <a:pt x="80634" y="108265"/>
                </a:lnTo>
                <a:lnTo>
                  <a:pt x="90221" y="102626"/>
                </a:lnTo>
                <a:lnTo>
                  <a:pt x="55824" y="66538"/>
                </a:lnTo>
                <a:lnTo>
                  <a:pt x="114467" y="49058"/>
                </a:lnTo>
                <a:lnTo>
                  <a:pt x="119542" y="43419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5" name="Freeform: Shape 318">
            <a:extLst>
              <a:ext uri="{FF2B5EF4-FFF2-40B4-BE49-F238E27FC236}">
                <a16:creationId xmlns:a16="http://schemas.microsoft.com/office/drawing/2014/main" id="{C4159D36-EE95-4B4F-B317-45534DB39AD8}"/>
              </a:ext>
            </a:extLst>
          </p:cNvPr>
          <p:cNvSpPr/>
          <p:nvPr/>
        </p:nvSpPr>
        <p:spPr>
          <a:xfrm>
            <a:off x="8751107" y="2903834"/>
            <a:ext cx="223331" cy="383455"/>
          </a:xfrm>
          <a:custGeom>
            <a:avLst/>
            <a:gdLst>
              <a:gd name="connsiteX0" fmla="*/ 144353 w 298856"/>
              <a:gd name="connsiteY0" fmla="*/ 405994 h 513130"/>
              <a:gd name="connsiteX1" fmla="*/ 118979 w 298856"/>
              <a:gd name="connsiteY1" fmla="*/ 398663 h 513130"/>
              <a:gd name="connsiteX2" fmla="*/ 112776 w 298856"/>
              <a:gd name="connsiteY2" fmla="*/ 413888 h 513130"/>
              <a:gd name="connsiteX3" fmla="*/ 94168 w 298856"/>
              <a:gd name="connsiteY3" fmla="*/ 409377 h 513130"/>
              <a:gd name="connsiteX4" fmla="*/ 86838 w 298856"/>
              <a:gd name="connsiteY4" fmla="*/ 430804 h 513130"/>
              <a:gd name="connsiteX5" fmla="*/ 93604 w 298856"/>
              <a:gd name="connsiteY5" fmla="*/ 447721 h 513130"/>
              <a:gd name="connsiteX6" fmla="*/ 117287 w 298856"/>
              <a:gd name="connsiteY6" fmla="*/ 457871 h 513130"/>
              <a:gd name="connsiteX7" fmla="*/ 116723 w 298856"/>
              <a:gd name="connsiteY7" fmla="*/ 437007 h 513130"/>
              <a:gd name="connsiteX8" fmla="*/ 128564 w 298856"/>
              <a:gd name="connsiteY8" fmla="*/ 428549 h 513130"/>
              <a:gd name="connsiteX9" fmla="*/ 146045 w 298856"/>
              <a:gd name="connsiteY9" fmla="*/ 440390 h 513130"/>
              <a:gd name="connsiteX10" fmla="*/ 153375 w 298856"/>
              <a:gd name="connsiteY10" fmla="*/ 418399 h 513130"/>
              <a:gd name="connsiteX11" fmla="*/ 144353 w 298856"/>
              <a:gd name="connsiteY11" fmla="*/ 405994 h 513130"/>
              <a:gd name="connsiteX12" fmla="*/ 281940 w 298856"/>
              <a:gd name="connsiteY12" fmla="*/ 297165 h 513130"/>
              <a:gd name="connsiteX13" fmla="*/ 261640 w 298856"/>
              <a:gd name="connsiteY13" fmla="*/ 259385 h 513130"/>
              <a:gd name="connsiteX14" fmla="*/ 268971 w 298856"/>
              <a:gd name="connsiteY14" fmla="*/ 223297 h 513130"/>
              <a:gd name="connsiteX15" fmla="*/ 253182 w 298856"/>
              <a:gd name="connsiteY15" fmla="*/ 193975 h 513130"/>
              <a:gd name="connsiteX16" fmla="*/ 207507 w 298856"/>
              <a:gd name="connsiteY16" fmla="*/ 144917 h 513130"/>
              <a:gd name="connsiteX17" fmla="*/ 180442 w 298856"/>
              <a:gd name="connsiteY17" fmla="*/ 151684 h 513130"/>
              <a:gd name="connsiteX18" fmla="*/ 181569 w 298856"/>
              <a:gd name="connsiteY18" fmla="*/ 173675 h 513130"/>
              <a:gd name="connsiteX19" fmla="*/ 210327 w 298856"/>
              <a:gd name="connsiteY19" fmla="*/ 213711 h 513130"/>
              <a:gd name="connsiteX20" fmla="*/ 215966 w 298856"/>
              <a:gd name="connsiteY20" fmla="*/ 258257 h 513130"/>
              <a:gd name="connsiteX21" fmla="*/ 206380 w 298856"/>
              <a:gd name="connsiteY21" fmla="*/ 272354 h 513130"/>
              <a:gd name="connsiteX22" fmla="*/ 181005 w 298856"/>
              <a:gd name="connsiteY22" fmla="*/ 309006 h 513130"/>
              <a:gd name="connsiteX23" fmla="*/ 152811 w 298856"/>
              <a:gd name="connsiteY23" fmla="*/ 291526 h 513130"/>
              <a:gd name="connsiteX24" fmla="*/ 152811 w 298856"/>
              <a:gd name="connsiteY24" fmla="*/ 356372 h 513130"/>
              <a:gd name="connsiteX25" fmla="*/ 117287 w 298856"/>
              <a:gd name="connsiteY25" fmla="*/ 349042 h 513130"/>
              <a:gd name="connsiteX26" fmla="*/ 63154 w 298856"/>
              <a:gd name="connsiteY26" fmla="*/ 359756 h 513130"/>
              <a:gd name="connsiteX27" fmla="*/ 52440 w 298856"/>
              <a:gd name="connsiteY27" fmla="*/ 384566 h 513130"/>
              <a:gd name="connsiteX28" fmla="*/ 30450 w 298856"/>
              <a:gd name="connsiteY28" fmla="*/ 403174 h 513130"/>
              <a:gd name="connsiteX29" fmla="*/ 24246 w 298856"/>
              <a:gd name="connsiteY29" fmla="*/ 425729 h 513130"/>
              <a:gd name="connsiteX30" fmla="*/ 0 w 298856"/>
              <a:gd name="connsiteY30" fmla="*/ 437007 h 513130"/>
              <a:gd name="connsiteX31" fmla="*/ 22555 w 298856"/>
              <a:gd name="connsiteY31" fmla="*/ 461254 h 513130"/>
              <a:gd name="connsiteX32" fmla="*/ 45674 w 298856"/>
              <a:gd name="connsiteY32" fmla="*/ 471968 h 513130"/>
              <a:gd name="connsiteX33" fmla="*/ 50749 w 298856"/>
              <a:gd name="connsiteY33" fmla="*/ 504109 h 513130"/>
              <a:gd name="connsiteX34" fmla="*/ 70485 w 298856"/>
              <a:gd name="connsiteY34" fmla="*/ 518206 h 513130"/>
              <a:gd name="connsiteX35" fmla="*/ 84582 w 298856"/>
              <a:gd name="connsiteY35" fmla="*/ 502981 h 513130"/>
              <a:gd name="connsiteX36" fmla="*/ 80071 w 298856"/>
              <a:gd name="connsiteY36" fmla="*/ 442082 h 513130"/>
              <a:gd name="connsiteX37" fmla="*/ 38908 w 298856"/>
              <a:gd name="connsiteY37" fmla="*/ 415580 h 513130"/>
              <a:gd name="connsiteX38" fmla="*/ 73304 w 298856"/>
              <a:gd name="connsiteY38" fmla="*/ 415016 h 513130"/>
              <a:gd name="connsiteX39" fmla="*/ 101498 w 298856"/>
              <a:gd name="connsiteY39" fmla="*/ 398099 h 513130"/>
              <a:gd name="connsiteX40" fmla="*/ 149992 w 298856"/>
              <a:gd name="connsiteY40" fmla="*/ 390205 h 513130"/>
              <a:gd name="connsiteX41" fmla="*/ 163525 w 298856"/>
              <a:gd name="connsiteY41" fmla="*/ 417271 h 513130"/>
              <a:gd name="connsiteX42" fmla="*/ 189464 w 298856"/>
              <a:gd name="connsiteY42" fmla="*/ 430804 h 513130"/>
              <a:gd name="connsiteX43" fmla="*/ 214274 w 298856"/>
              <a:gd name="connsiteY43" fmla="*/ 389641 h 513130"/>
              <a:gd name="connsiteX44" fmla="*/ 265587 w 298856"/>
              <a:gd name="connsiteY44" fmla="*/ 387386 h 513130"/>
              <a:gd name="connsiteX45" fmla="*/ 296037 w 298856"/>
              <a:gd name="connsiteY45" fmla="*/ 370469 h 513130"/>
              <a:gd name="connsiteX46" fmla="*/ 299420 w 298856"/>
              <a:gd name="connsiteY46" fmla="*/ 344531 h 513130"/>
              <a:gd name="connsiteX47" fmla="*/ 285323 w 298856"/>
              <a:gd name="connsiteY47" fmla="*/ 326487 h 513130"/>
              <a:gd name="connsiteX48" fmla="*/ 281940 w 298856"/>
              <a:gd name="connsiteY48" fmla="*/ 297165 h 513130"/>
              <a:gd name="connsiteX49" fmla="*/ 215402 w 298856"/>
              <a:gd name="connsiteY49" fmla="*/ 47930 h 513130"/>
              <a:gd name="connsiteX50" fmla="*/ 185517 w 298856"/>
              <a:gd name="connsiteY50" fmla="*/ 36088 h 513130"/>
              <a:gd name="connsiteX51" fmla="*/ 126873 w 298856"/>
              <a:gd name="connsiteY51" fmla="*/ 0 h 513130"/>
              <a:gd name="connsiteX52" fmla="*/ 137587 w 298856"/>
              <a:gd name="connsiteY52" fmla="*/ 27066 h 513130"/>
              <a:gd name="connsiteX53" fmla="*/ 161833 w 298856"/>
              <a:gd name="connsiteY53" fmla="*/ 74996 h 513130"/>
              <a:gd name="connsiteX54" fmla="*/ 132512 w 298856"/>
              <a:gd name="connsiteY54" fmla="*/ 77252 h 513130"/>
              <a:gd name="connsiteX55" fmla="*/ 135895 w 298856"/>
              <a:gd name="connsiteY55" fmla="*/ 103754 h 513130"/>
              <a:gd name="connsiteX56" fmla="*/ 161833 w 298856"/>
              <a:gd name="connsiteY56" fmla="*/ 138151 h 513130"/>
              <a:gd name="connsiteX57" fmla="*/ 193975 w 298856"/>
              <a:gd name="connsiteY57" fmla="*/ 138151 h 513130"/>
              <a:gd name="connsiteX58" fmla="*/ 184952 w 298856"/>
              <a:gd name="connsiteY58" fmla="*/ 99807 h 513130"/>
              <a:gd name="connsiteX59" fmla="*/ 245852 w 298856"/>
              <a:gd name="connsiteY59" fmla="*/ 123490 h 513130"/>
              <a:gd name="connsiteX60" fmla="*/ 248107 w 298856"/>
              <a:gd name="connsiteY60" fmla="*/ 89093 h 513130"/>
              <a:gd name="connsiteX61" fmla="*/ 284196 w 298856"/>
              <a:gd name="connsiteY61" fmla="*/ 79507 h 513130"/>
              <a:gd name="connsiteX62" fmla="*/ 250363 w 298856"/>
              <a:gd name="connsiteY62" fmla="*/ 40599 h 513130"/>
              <a:gd name="connsiteX63" fmla="*/ 240776 w 298856"/>
              <a:gd name="connsiteY63" fmla="*/ 55260 h 513130"/>
              <a:gd name="connsiteX64" fmla="*/ 215402 w 298856"/>
              <a:gd name="connsiteY64" fmla="*/ 47930 h 5131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</a:cxnLst>
            <a:rect l="l" t="t" r="r" b="b"/>
            <a:pathLst>
              <a:path w="298856" h="513130">
                <a:moveTo>
                  <a:pt x="144353" y="405994"/>
                </a:moveTo>
                <a:lnTo>
                  <a:pt x="118979" y="398663"/>
                </a:lnTo>
                <a:lnTo>
                  <a:pt x="112776" y="413888"/>
                </a:lnTo>
                <a:lnTo>
                  <a:pt x="94168" y="409377"/>
                </a:lnTo>
                <a:lnTo>
                  <a:pt x="86838" y="430804"/>
                </a:lnTo>
                <a:lnTo>
                  <a:pt x="93604" y="447721"/>
                </a:lnTo>
                <a:lnTo>
                  <a:pt x="117287" y="457871"/>
                </a:lnTo>
                <a:lnTo>
                  <a:pt x="116723" y="437007"/>
                </a:lnTo>
                <a:lnTo>
                  <a:pt x="128564" y="428549"/>
                </a:lnTo>
                <a:lnTo>
                  <a:pt x="146045" y="440390"/>
                </a:lnTo>
                <a:lnTo>
                  <a:pt x="153375" y="418399"/>
                </a:lnTo>
                <a:lnTo>
                  <a:pt x="144353" y="405994"/>
                </a:lnTo>
                <a:close/>
                <a:moveTo>
                  <a:pt x="281940" y="297165"/>
                </a:moveTo>
                <a:lnTo>
                  <a:pt x="261640" y="259385"/>
                </a:lnTo>
                <a:lnTo>
                  <a:pt x="268971" y="223297"/>
                </a:lnTo>
                <a:lnTo>
                  <a:pt x="253182" y="193975"/>
                </a:lnTo>
                <a:lnTo>
                  <a:pt x="207507" y="144917"/>
                </a:lnTo>
                <a:lnTo>
                  <a:pt x="180442" y="151684"/>
                </a:lnTo>
                <a:lnTo>
                  <a:pt x="181569" y="173675"/>
                </a:lnTo>
                <a:lnTo>
                  <a:pt x="210327" y="213711"/>
                </a:lnTo>
                <a:lnTo>
                  <a:pt x="215966" y="258257"/>
                </a:lnTo>
                <a:lnTo>
                  <a:pt x="206380" y="272354"/>
                </a:lnTo>
                <a:lnTo>
                  <a:pt x="181005" y="309006"/>
                </a:lnTo>
                <a:lnTo>
                  <a:pt x="152811" y="291526"/>
                </a:lnTo>
                <a:lnTo>
                  <a:pt x="152811" y="356372"/>
                </a:lnTo>
                <a:lnTo>
                  <a:pt x="117287" y="349042"/>
                </a:lnTo>
                <a:lnTo>
                  <a:pt x="63154" y="359756"/>
                </a:lnTo>
                <a:lnTo>
                  <a:pt x="52440" y="384566"/>
                </a:lnTo>
                <a:lnTo>
                  <a:pt x="30450" y="403174"/>
                </a:lnTo>
                <a:lnTo>
                  <a:pt x="24246" y="425729"/>
                </a:lnTo>
                <a:lnTo>
                  <a:pt x="0" y="437007"/>
                </a:lnTo>
                <a:lnTo>
                  <a:pt x="22555" y="461254"/>
                </a:lnTo>
                <a:lnTo>
                  <a:pt x="45674" y="471968"/>
                </a:lnTo>
                <a:lnTo>
                  <a:pt x="50749" y="504109"/>
                </a:lnTo>
                <a:lnTo>
                  <a:pt x="70485" y="518206"/>
                </a:lnTo>
                <a:lnTo>
                  <a:pt x="84582" y="502981"/>
                </a:lnTo>
                <a:lnTo>
                  <a:pt x="80071" y="442082"/>
                </a:lnTo>
                <a:lnTo>
                  <a:pt x="38908" y="415580"/>
                </a:lnTo>
                <a:lnTo>
                  <a:pt x="73304" y="415016"/>
                </a:lnTo>
                <a:lnTo>
                  <a:pt x="101498" y="398099"/>
                </a:lnTo>
                <a:lnTo>
                  <a:pt x="149992" y="390205"/>
                </a:lnTo>
                <a:lnTo>
                  <a:pt x="163525" y="417271"/>
                </a:lnTo>
                <a:lnTo>
                  <a:pt x="189464" y="430804"/>
                </a:lnTo>
                <a:lnTo>
                  <a:pt x="214274" y="389641"/>
                </a:lnTo>
                <a:lnTo>
                  <a:pt x="265587" y="387386"/>
                </a:lnTo>
                <a:lnTo>
                  <a:pt x="296037" y="370469"/>
                </a:lnTo>
                <a:lnTo>
                  <a:pt x="299420" y="344531"/>
                </a:lnTo>
                <a:lnTo>
                  <a:pt x="285323" y="326487"/>
                </a:lnTo>
                <a:lnTo>
                  <a:pt x="281940" y="297165"/>
                </a:lnTo>
                <a:close/>
                <a:moveTo>
                  <a:pt x="215402" y="47930"/>
                </a:moveTo>
                <a:lnTo>
                  <a:pt x="185517" y="36088"/>
                </a:lnTo>
                <a:lnTo>
                  <a:pt x="126873" y="0"/>
                </a:lnTo>
                <a:lnTo>
                  <a:pt x="137587" y="27066"/>
                </a:lnTo>
                <a:lnTo>
                  <a:pt x="161833" y="74996"/>
                </a:lnTo>
                <a:lnTo>
                  <a:pt x="132512" y="77252"/>
                </a:lnTo>
                <a:lnTo>
                  <a:pt x="135895" y="103754"/>
                </a:lnTo>
                <a:lnTo>
                  <a:pt x="161833" y="138151"/>
                </a:lnTo>
                <a:lnTo>
                  <a:pt x="193975" y="138151"/>
                </a:lnTo>
                <a:lnTo>
                  <a:pt x="184952" y="99807"/>
                </a:lnTo>
                <a:lnTo>
                  <a:pt x="245852" y="123490"/>
                </a:lnTo>
                <a:lnTo>
                  <a:pt x="248107" y="89093"/>
                </a:lnTo>
                <a:lnTo>
                  <a:pt x="284196" y="79507"/>
                </a:lnTo>
                <a:lnTo>
                  <a:pt x="250363" y="40599"/>
                </a:lnTo>
                <a:lnTo>
                  <a:pt x="240776" y="55260"/>
                </a:lnTo>
                <a:lnTo>
                  <a:pt x="215402" y="47930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6" name="Freeform: Shape 319">
            <a:extLst>
              <a:ext uri="{FF2B5EF4-FFF2-40B4-BE49-F238E27FC236}">
                <a16:creationId xmlns:a16="http://schemas.microsoft.com/office/drawing/2014/main" id="{03ADE214-2C9E-49CB-9E0C-2ECED91A2CAE}"/>
              </a:ext>
            </a:extLst>
          </p:cNvPr>
          <p:cNvSpPr/>
          <p:nvPr/>
        </p:nvSpPr>
        <p:spPr>
          <a:xfrm>
            <a:off x="6808128" y="2649320"/>
            <a:ext cx="838543" cy="379241"/>
          </a:xfrm>
          <a:custGeom>
            <a:avLst/>
            <a:gdLst>
              <a:gd name="connsiteX0" fmla="*/ 580796 w 1122121"/>
              <a:gd name="connsiteY0" fmla="*/ 7330 h 507492"/>
              <a:gd name="connsiteX1" fmla="*/ 530047 w 1122121"/>
              <a:gd name="connsiteY1" fmla="*/ 0 h 507492"/>
              <a:gd name="connsiteX2" fmla="*/ 512566 w 1122121"/>
              <a:gd name="connsiteY2" fmla="*/ 14097 h 507492"/>
              <a:gd name="connsiteX3" fmla="*/ 451668 w 1122121"/>
              <a:gd name="connsiteY3" fmla="*/ 26502 h 507492"/>
              <a:gd name="connsiteX4" fmla="*/ 442081 w 1122121"/>
              <a:gd name="connsiteY4" fmla="*/ 34961 h 507492"/>
              <a:gd name="connsiteX5" fmla="*/ 347350 w 1122121"/>
              <a:gd name="connsiteY5" fmla="*/ 46802 h 507492"/>
              <a:gd name="connsiteX6" fmla="*/ 339456 w 1122121"/>
              <a:gd name="connsiteY6" fmla="*/ 58643 h 507492"/>
              <a:gd name="connsiteX7" fmla="*/ 367650 w 1122121"/>
              <a:gd name="connsiteY7" fmla="*/ 81763 h 507492"/>
              <a:gd name="connsiteX8" fmla="*/ 345658 w 1122121"/>
              <a:gd name="connsiteY8" fmla="*/ 90785 h 507492"/>
              <a:gd name="connsiteX9" fmla="*/ 354116 w 1122121"/>
              <a:gd name="connsiteY9" fmla="*/ 100371 h 507492"/>
              <a:gd name="connsiteX10" fmla="*/ 333817 w 1122121"/>
              <a:gd name="connsiteY10" fmla="*/ 116723 h 507492"/>
              <a:gd name="connsiteX11" fmla="*/ 386822 w 1122121"/>
              <a:gd name="connsiteY11" fmla="*/ 140406 h 507492"/>
              <a:gd name="connsiteX12" fmla="*/ 385693 w 1122121"/>
              <a:gd name="connsiteY12" fmla="*/ 157322 h 507492"/>
              <a:gd name="connsiteX13" fmla="*/ 346786 w 1122121"/>
              <a:gd name="connsiteY13" fmla="*/ 155631 h 507492"/>
              <a:gd name="connsiteX14" fmla="*/ 342275 w 1122121"/>
              <a:gd name="connsiteY14" fmla="*/ 165781 h 507492"/>
              <a:gd name="connsiteX15" fmla="*/ 301111 w 1122121"/>
              <a:gd name="connsiteY15" fmla="*/ 147737 h 507492"/>
              <a:gd name="connsiteX16" fmla="*/ 258257 w 1122121"/>
              <a:gd name="connsiteY16" fmla="*/ 148864 h 507492"/>
              <a:gd name="connsiteX17" fmla="*/ 234010 w 1122121"/>
              <a:gd name="connsiteY17" fmla="*/ 162961 h 507492"/>
              <a:gd name="connsiteX18" fmla="*/ 196794 w 1122121"/>
              <a:gd name="connsiteY18" fmla="*/ 149428 h 507492"/>
              <a:gd name="connsiteX19" fmla="*/ 129692 w 1122121"/>
              <a:gd name="connsiteY19" fmla="*/ 125181 h 507492"/>
              <a:gd name="connsiteX20" fmla="*/ 87401 w 1122121"/>
              <a:gd name="connsiteY20" fmla="*/ 126309 h 507492"/>
              <a:gd name="connsiteX21" fmla="*/ 41727 w 1122121"/>
              <a:gd name="connsiteY21" fmla="*/ 163525 h 507492"/>
              <a:gd name="connsiteX22" fmla="*/ 45674 w 1122121"/>
              <a:gd name="connsiteY22" fmla="*/ 189464 h 507492"/>
              <a:gd name="connsiteX23" fmla="*/ 11841 w 1122121"/>
              <a:gd name="connsiteY23" fmla="*/ 169164 h 507492"/>
              <a:gd name="connsiteX24" fmla="*/ 0 w 1122121"/>
              <a:gd name="connsiteY24" fmla="*/ 207508 h 507492"/>
              <a:gd name="connsiteX25" fmla="*/ 9586 w 1122121"/>
              <a:gd name="connsiteY25" fmla="*/ 214274 h 507492"/>
              <a:gd name="connsiteX26" fmla="*/ 0 w 1122121"/>
              <a:gd name="connsiteY26" fmla="*/ 240777 h 507492"/>
              <a:gd name="connsiteX27" fmla="*/ 29885 w 1122121"/>
              <a:gd name="connsiteY27" fmla="*/ 265024 h 507492"/>
              <a:gd name="connsiteX28" fmla="*/ 50185 w 1122121"/>
              <a:gd name="connsiteY28" fmla="*/ 263896 h 507492"/>
              <a:gd name="connsiteX29" fmla="*/ 73868 w 1122121"/>
              <a:gd name="connsiteY29" fmla="*/ 287015 h 507492"/>
              <a:gd name="connsiteX30" fmla="*/ 74996 w 1122121"/>
              <a:gd name="connsiteY30" fmla="*/ 305059 h 507492"/>
              <a:gd name="connsiteX31" fmla="*/ 90785 w 1122121"/>
              <a:gd name="connsiteY31" fmla="*/ 310698 h 507492"/>
              <a:gd name="connsiteX32" fmla="*/ 115595 w 1122121"/>
              <a:gd name="connsiteY32" fmla="*/ 303367 h 507492"/>
              <a:gd name="connsiteX33" fmla="*/ 143789 w 1122121"/>
              <a:gd name="connsiteY33" fmla="*/ 288143 h 507492"/>
              <a:gd name="connsiteX34" fmla="*/ 170291 w 1122121"/>
              <a:gd name="connsiteY34" fmla="*/ 296601 h 507492"/>
              <a:gd name="connsiteX35" fmla="*/ 197922 w 1122121"/>
              <a:gd name="connsiteY35" fmla="*/ 294909 h 507492"/>
              <a:gd name="connsiteX36" fmla="*/ 208636 w 1122121"/>
              <a:gd name="connsiteY36" fmla="*/ 316901 h 507492"/>
              <a:gd name="connsiteX37" fmla="*/ 212019 w 1122121"/>
              <a:gd name="connsiteY37" fmla="*/ 350733 h 507492"/>
              <a:gd name="connsiteX38" fmla="*/ 186080 w 1122121"/>
              <a:gd name="connsiteY38" fmla="*/ 345658 h 507492"/>
              <a:gd name="connsiteX39" fmla="*/ 163525 w 1122121"/>
              <a:gd name="connsiteY39" fmla="*/ 351297 h 507492"/>
              <a:gd name="connsiteX40" fmla="*/ 168600 w 1122121"/>
              <a:gd name="connsiteY40" fmla="*/ 376672 h 507492"/>
              <a:gd name="connsiteX41" fmla="*/ 140406 w 1122121"/>
              <a:gd name="connsiteY41" fmla="*/ 373289 h 507492"/>
              <a:gd name="connsiteX42" fmla="*/ 143789 w 1122121"/>
              <a:gd name="connsiteY42" fmla="*/ 384566 h 507492"/>
              <a:gd name="connsiteX43" fmla="*/ 161833 w 1122121"/>
              <a:gd name="connsiteY43" fmla="*/ 393588 h 507492"/>
              <a:gd name="connsiteX44" fmla="*/ 182697 w 1122121"/>
              <a:gd name="connsiteY44" fmla="*/ 424602 h 507492"/>
              <a:gd name="connsiteX45" fmla="*/ 218785 w 1122121"/>
              <a:gd name="connsiteY45" fmla="*/ 436443 h 507492"/>
              <a:gd name="connsiteX46" fmla="*/ 227243 w 1122121"/>
              <a:gd name="connsiteY46" fmla="*/ 448285 h 507492"/>
              <a:gd name="connsiteX47" fmla="*/ 223296 w 1122121"/>
              <a:gd name="connsiteY47" fmla="*/ 462946 h 507492"/>
              <a:gd name="connsiteX48" fmla="*/ 227243 w 1122121"/>
              <a:gd name="connsiteY48" fmla="*/ 471404 h 507492"/>
              <a:gd name="connsiteX49" fmla="*/ 237393 w 1122121"/>
              <a:gd name="connsiteY49" fmla="*/ 460126 h 507492"/>
              <a:gd name="connsiteX50" fmla="*/ 268407 w 1122121"/>
              <a:gd name="connsiteY50" fmla="*/ 452796 h 507492"/>
              <a:gd name="connsiteX51" fmla="*/ 289834 w 1122121"/>
              <a:gd name="connsiteY51" fmla="*/ 462382 h 507492"/>
              <a:gd name="connsiteX52" fmla="*/ 317464 w 1122121"/>
              <a:gd name="connsiteY52" fmla="*/ 490012 h 507492"/>
              <a:gd name="connsiteX53" fmla="*/ 331561 w 1122121"/>
              <a:gd name="connsiteY53" fmla="*/ 488320 h 507492"/>
              <a:gd name="connsiteX54" fmla="*/ 296601 w 1122121"/>
              <a:gd name="connsiteY54" fmla="*/ 359755 h 507492"/>
              <a:gd name="connsiteX55" fmla="*/ 363703 w 1122121"/>
              <a:gd name="connsiteY55" fmla="*/ 339456 h 507492"/>
              <a:gd name="connsiteX56" fmla="*/ 369905 w 1122121"/>
              <a:gd name="connsiteY56" fmla="*/ 342275 h 507492"/>
              <a:gd name="connsiteX57" fmla="*/ 421218 w 1122121"/>
              <a:gd name="connsiteY57" fmla="*/ 367650 h 507492"/>
              <a:gd name="connsiteX58" fmla="*/ 448285 w 1122121"/>
              <a:gd name="connsiteY58" fmla="*/ 380619 h 507492"/>
              <a:gd name="connsiteX59" fmla="*/ 484937 w 1122121"/>
              <a:gd name="connsiteY59" fmla="*/ 411632 h 507492"/>
              <a:gd name="connsiteX60" fmla="*/ 517078 w 1122121"/>
              <a:gd name="connsiteY60" fmla="*/ 406558 h 507492"/>
              <a:gd name="connsiteX61" fmla="*/ 565571 w 1122121"/>
              <a:gd name="connsiteY61" fmla="*/ 403738 h 507492"/>
              <a:gd name="connsiteX62" fmla="*/ 607862 w 1122121"/>
              <a:gd name="connsiteY62" fmla="*/ 429113 h 507492"/>
              <a:gd name="connsiteX63" fmla="*/ 616320 w 1122121"/>
              <a:gd name="connsiteY63" fmla="*/ 464073 h 507492"/>
              <a:gd name="connsiteX64" fmla="*/ 630417 w 1122121"/>
              <a:gd name="connsiteY64" fmla="*/ 464637 h 507492"/>
              <a:gd name="connsiteX65" fmla="*/ 645078 w 1122121"/>
              <a:gd name="connsiteY65" fmla="*/ 492831 h 507492"/>
              <a:gd name="connsiteX66" fmla="*/ 682295 w 1122121"/>
              <a:gd name="connsiteY66" fmla="*/ 493959 h 507492"/>
              <a:gd name="connsiteX67" fmla="*/ 695264 w 1122121"/>
              <a:gd name="connsiteY67" fmla="*/ 510875 h 507492"/>
              <a:gd name="connsiteX68" fmla="*/ 705978 w 1122121"/>
              <a:gd name="connsiteY68" fmla="*/ 510875 h 507492"/>
              <a:gd name="connsiteX69" fmla="*/ 711053 w 1122121"/>
              <a:gd name="connsiteY69" fmla="*/ 485501 h 507492"/>
              <a:gd name="connsiteX70" fmla="*/ 741502 w 1122121"/>
              <a:gd name="connsiteY70" fmla="*/ 461254 h 507492"/>
              <a:gd name="connsiteX71" fmla="*/ 755599 w 1122121"/>
              <a:gd name="connsiteY71" fmla="*/ 454487 h 507492"/>
              <a:gd name="connsiteX72" fmla="*/ 757290 w 1122121"/>
              <a:gd name="connsiteY72" fmla="*/ 439263 h 507492"/>
              <a:gd name="connsiteX73" fmla="*/ 774771 w 1122121"/>
              <a:gd name="connsiteY73" fmla="*/ 434752 h 507492"/>
              <a:gd name="connsiteX74" fmla="*/ 826084 w 1122121"/>
              <a:gd name="connsiteY74" fmla="*/ 446593 h 507492"/>
              <a:gd name="connsiteX75" fmla="*/ 823265 w 1122121"/>
              <a:gd name="connsiteY75" fmla="*/ 426293 h 507492"/>
              <a:gd name="connsiteX76" fmla="*/ 837362 w 1122121"/>
              <a:gd name="connsiteY76" fmla="*/ 418963 h 507492"/>
              <a:gd name="connsiteX77" fmla="*/ 883036 w 1122121"/>
              <a:gd name="connsiteY77" fmla="*/ 433624 h 507492"/>
              <a:gd name="connsiteX78" fmla="*/ 892058 w 1122121"/>
              <a:gd name="connsiteY78" fmla="*/ 429677 h 507492"/>
              <a:gd name="connsiteX79" fmla="*/ 940551 w 1122121"/>
              <a:gd name="connsiteY79" fmla="*/ 430804 h 507492"/>
              <a:gd name="connsiteX80" fmla="*/ 984534 w 1122121"/>
              <a:gd name="connsiteY80" fmla="*/ 434188 h 507492"/>
              <a:gd name="connsiteX81" fmla="*/ 1003142 w 1122121"/>
              <a:gd name="connsiteY81" fmla="*/ 446593 h 507492"/>
              <a:gd name="connsiteX82" fmla="*/ 1022878 w 1122121"/>
              <a:gd name="connsiteY82" fmla="*/ 451668 h 507492"/>
              <a:gd name="connsiteX83" fmla="*/ 1013292 w 1122121"/>
              <a:gd name="connsiteY83" fmla="*/ 431932 h 507492"/>
              <a:gd name="connsiteX84" fmla="*/ 1029645 w 1122121"/>
              <a:gd name="connsiteY84" fmla="*/ 422910 h 507492"/>
              <a:gd name="connsiteX85" fmla="*/ 980587 w 1122121"/>
              <a:gd name="connsiteY85" fmla="*/ 362575 h 507492"/>
              <a:gd name="connsiteX86" fmla="*/ 1031336 w 1122121"/>
              <a:gd name="connsiteY86" fmla="*/ 349042 h 507492"/>
              <a:gd name="connsiteX87" fmla="*/ 1042614 w 1122121"/>
              <a:gd name="connsiteY87" fmla="*/ 341147 h 507492"/>
              <a:gd name="connsiteX88" fmla="*/ 1036975 w 1122121"/>
              <a:gd name="connsiteY88" fmla="*/ 278557 h 507492"/>
              <a:gd name="connsiteX89" fmla="*/ 1097310 w 1122121"/>
              <a:gd name="connsiteY89" fmla="*/ 289834 h 507492"/>
              <a:gd name="connsiteX90" fmla="*/ 1106332 w 1122121"/>
              <a:gd name="connsiteY90" fmla="*/ 274046 h 507492"/>
              <a:gd name="connsiteX91" fmla="*/ 1092235 w 1122121"/>
              <a:gd name="connsiteY91" fmla="*/ 239085 h 507492"/>
              <a:gd name="connsiteX92" fmla="*/ 1113663 w 1122121"/>
              <a:gd name="connsiteY92" fmla="*/ 235702 h 507492"/>
              <a:gd name="connsiteX93" fmla="*/ 1123812 w 1122121"/>
              <a:gd name="connsiteY93" fmla="*/ 212019 h 507492"/>
              <a:gd name="connsiteX94" fmla="*/ 1099566 w 1122121"/>
              <a:gd name="connsiteY94" fmla="*/ 190591 h 507492"/>
              <a:gd name="connsiteX95" fmla="*/ 1065733 w 1122121"/>
              <a:gd name="connsiteY95" fmla="*/ 195666 h 507492"/>
              <a:gd name="connsiteX96" fmla="*/ 1047125 w 1122121"/>
              <a:gd name="connsiteY96" fmla="*/ 181006 h 507492"/>
              <a:gd name="connsiteX97" fmla="*/ 1025133 w 1122121"/>
              <a:gd name="connsiteY97" fmla="*/ 174239 h 507492"/>
              <a:gd name="connsiteX98" fmla="*/ 1002015 w 1122121"/>
              <a:gd name="connsiteY98" fmla="*/ 153939 h 507492"/>
              <a:gd name="connsiteX99" fmla="*/ 983971 w 1122121"/>
              <a:gd name="connsiteY99" fmla="*/ 147737 h 507492"/>
              <a:gd name="connsiteX100" fmla="*/ 949010 w 1122121"/>
              <a:gd name="connsiteY100" fmla="*/ 156759 h 507492"/>
              <a:gd name="connsiteX101" fmla="*/ 902208 w 1122121"/>
              <a:gd name="connsiteY101" fmla="*/ 136459 h 507492"/>
              <a:gd name="connsiteX102" fmla="*/ 896005 w 1122121"/>
              <a:gd name="connsiteY102" fmla="*/ 155067 h 507492"/>
              <a:gd name="connsiteX103" fmla="*/ 793943 w 1122121"/>
              <a:gd name="connsiteY103" fmla="*/ 67666 h 507492"/>
              <a:gd name="connsiteX104" fmla="*/ 747141 w 1122121"/>
              <a:gd name="connsiteY104" fmla="*/ 41163 h 507492"/>
              <a:gd name="connsiteX105" fmla="*/ 751652 w 1122121"/>
              <a:gd name="connsiteY105" fmla="*/ 30449 h 507492"/>
              <a:gd name="connsiteX106" fmla="*/ 700339 w 1122121"/>
              <a:gd name="connsiteY106" fmla="*/ 62591 h 507492"/>
              <a:gd name="connsiteX107" fmla="*/ 675528 w 1122121"/>
              <a:gd name="connsiteY107" fmla="*/ 64846 h 507492"/>
              <a:gd name="connsiteX108" fmla="*/ 668762 w 1122121"/>
              <a:gd name="connsiteY108" fmla="*/ 46238 h 507492"/>
              <a:gd name="connsiteX109" fmla="*/ 629290 w 1122121"/>
              <a:gd name="connsiteY109" fmla="*/ 34397 h 507492"/>
              <a:gd name="connsiteX110" fmla="*/ 605043 w 1122121"/>
              <a:gd name="connsiteY110" fmla="*/ 42855 h 507492"/>
              <a:gd name="connsiteX111" fmla="*/ 580796 w 1122121"/>
              <a:gd name="connsiteY111" fmla="*/ 7330 h 5074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</a:cxnLst>
            <a:rect l="l" t="t" r="r" b="b"/>
            <a:pathLst>
              <a:path w="1122121" h="507492">
                <a:moveTo>
                  <a:pt x="580796" y="7330"/>
                </a:moveTo>
                <a:lnTo>
                  <a:pt x="530047" y="0"/>
                </a:lnTo>
                <a:lnTo>
                  <a:pt x="512566" y="14097"/>
                </a:lnTo>
                <a:lnTo>
                  <a:pt x="451668" y="26502"/>
                </a:lnTo>
                <a:lnTo>
                  <a:pt x="442081" y="34961"/>
                </a:lnTo>
                <a:lnTo>
                  <a:pt x="347350" y="46802"/>
                </a:lnTo>
                <a:lnTo>
                  <a:pt x="339456" y="58643"/>
                </a:lnTo>
                <a:lnTo>
                  <a:pt x="367650" y="81763"/>
                </a:lnTo>
                <a:lnTo>
                  <a:pt x="345658" y="90785"/>
                </a:lnTo>
                <a:lnTo>
                  <a:pt x="354116" y="100371"/>
                </a:lnTo>
                <a:lnTo>
                  <a:pt x="333817" y="116723"/>
                </a:lnTo>
                <a:lnTo>
                  <a:pt x="386822" y="140406"/>
                </a:lnTo>
                <a:lnTo>
                  <a:pt x="385693" y="157322"/>
                </a:lnTo>
                <a:lnTo>
                  <a:pt x="346786" y="155631"/>
                </a:lnTo>
                <a:lnTo>
                  <a:pt x="342275" y="165781"/>
                </a:lnTo>
                <a:lnTo>
                  <a:pt x="301111" y="147737"/>
                </a:lnTo>
                <a:lnTo>
                  <a:pt x="258257" y="148864"/>
                </a:lnTo>
                <a:lnTo>
                  <a:pt x="234010" y="162961"/>
                </a:lnTo>
                <a:lnTo>
                  <a:pt x="196794" y="149428"/>
                </a:lnTo>
                <a:lnTo>
                  <a:pt x="129692" y="125181"/>
                </a:lnTo>
                <a:lnTo>
                  <a:pt x="87401" y="126309"/>
                </a:lnTo>
                <a:lnTo>
                  <a:pt x="41727" y="163525"/>
                </a:lnTo>
                <a:lnTo>
                  <a:pt x="45674" y="189464"/>
                </a:lnTo>
                <a:lnTo>
                  <a:pt x="11841" y="169164"/>
                </a:lnTo>
                <a:lnTo>
                  <a:pt x="0" y="207508"/>
                </a:lnTo>
                <a:lnTo>
                  <a:pt x="9586" y="214274"/>
                </a:lnTo>
                <a:lnTo>
                  <a:pt x="0" y="240777"/>
                </a:lnTo>
                <a:lnTo>
                  <a:pt x="29885" y="265024"/>
                </a:lnTo>
                <a:lnTo>
                  <a:pt x="50185" y="263896"/>
                </a:lnTo>
                <a:lnTo>
                  <a:pt x="73868" y="287015"/>
                </a:lnTo>
                <a:lnTo>
                  <a:pt x="74996" y="305059"/>
                </a:lnTo>
                <a:lnTo>
                  <a:pt x="90785" y="310698"/>
                </a:lnTo>
                <a:lnTo>
                  <a:pt x="115595" y="303367"/>
                </a:lnTo>
                <a:lnTo>
                  <a:pt x="143789" y="288143"/>
                </a:lnTo>
                <a:lnTo>
                  <a:pt x="170291" y="296601"/>
                </a:lnTo>
                <a:lnTo>
                  <a:pt x="197922" y="294909"/>
                </a:lnTo>
                <a:lnTo>
                  <a:pt x="208636" y="316901"/>
                </a:lnTo>
                <a:lnTo>
                  <a:pt x="212019" y="350733"/>
                </a:lnTo>
                <a:lnTo>
                  <a:pt x="186080" y="345658"/>
                </a:lnTo>
                <a:lnTo>
                  <a:pt x="163525" y="351297"/>
                </a:lnTo>
                <a:lnTo>
                  <a:pt x="168600" y="376672"/>
                </a:lnTo>
                <a:lnTo>
                  <a:pt x="140406" y="373289"/>
                </a:lnTo>
                <a:lnTo>
                  <a:pt x="143789" y="384566"/>
                </a:lnTo>
                <a:lnTo>
                  <a:pt x="161833" y="393588"/>
                </a:lnTo>
                <a:lnTo>
                  <a:pt x="182697" y="424602"/>
                </a:lnTo>
                <a:lnTo>
                  <a:pt x="218785" y="436443"/>
                </a:lnTo>
                <a:lnTo>
                  <a:pt x="227243" y="448285"/>
                </a:lnTo>
                <a:lnTo>
                  <a:pt x="223296" y="462946"/>
                </a:lnTo>
                <a:lnTo>
                  <a:pt x="227243" y="471404"/>
                </a:lnTo>
                <a:lnTo>
                  <a:pt x="237393" y="460126"/>
                </a:lnTo>
                <a:lnTo>
                  <a:pt x="268407" y="452796"/>
                </a:lnTo>
                <a:lnTo>
                  <a:pt x="289834" y="462382"/>
                </a:lnTo>
                <a:lnTo>
                  <a:pt x="317464" y="490012"/>
                </a:lnTo>
                <a:lnTo>
                  <a:pt x="331561" y="488320"/>
                </a:lnTo>
                <a:lnTo>
                  <a:pt x="296601" y="359755"/>
                </a:lnTo>
                <a:lnTo>
                  <a:pt x="363703" y="339456"/>
                </a:lnTo>
                <a:lnTo>
                  <a:pt x="369905" y="342275"/>
                </a:lnTo>
                <a:lnTo>
                  <a:pt x="421218" y="367650"/>
                </a:lnTo>
                <a:lnTo>
                  <a:pt x="448285" y="380619"/>
                </a:lnTo>
                <a:lnTo>
                  <a:pt x="484937" y="411632"/>
                </a:lnTo>
                <a:lnTo>
                  <a:pt x="517078" y="406558"/>
                </a:lnTo>
                <a:lnTo>
                  <a:pt x="565571" y="403738"/>
                </a:lnTo>
                <a:lnTo>
                  <a:pt x="607862" y="429113"/>
                </a:lnTo>
                <a:lnTo>
                  <a:pt x="616320" y="464073"/>
                </a:lnTo>
                <a:lnTo>
                  <a:pt x="630417" y="464637"/>
                </a:lnTo>
                <a:lnTo>
                  <a:pt x="645078" y="492831"/>
                </a:lnTo>
                <a:lnTo>
                  <a:pt x="682295" y="493959"/>
                </a:lnTo>
                <a:lnTo>
                  <a:pt x="695264" y="510875"/>
                </a:lnTo>
                <a:lnTo>
                  <a:pt x="705978" y="510875"/>
                </a:lnTo>
                <a:lnTo>
                  <a:pt x="711053" y="485501"/>
                </a:lnTo>
                <a:lnTo>
                  <a:pt x="741502" y="461254"/>
                </a:lnTo>
                <a:lnTo>
                  <a:pt x="755599" y="454487"/>
                </a:lnTo>
                <a:lnTo>
                  <a:pt x="757290" y="439263"/>
                </a:lnTo>
                <a:lnTo>
                  <a:pt x="774771" y="434752"/>
                </a:lnTo>
                <a:lnTo>
                  <a:pt x="826084" y="446593"/>
                </a:lnTo>
                <a:lnTo>
                  <a:pt x="823265" y="426293"/>
                </a:lnTo>
                <a:lnTo>
                  <a:pt x="837362" y="418963"/>
                </a:lnTo>
                <a:lnTo>
                  <a:pt x="883036" y="433624"/>
                </a:lnTo>
                <a:lnTo>
                  <a:pt x="892058" y="429677"/>
                </a:lnTo>
                <a:lnTo>
                  <a:pt x="940551" y="430804"/>
                </a:lnTo>
                <a:lnTo>
                  <a:pt x="984534" y="434188"/>
                </a:lnTo>
                <a:lnTo>
                  <a:pt x="1003142" y="446593"/>
                </a:lnTo>
                <a:lnTo>
                  <a:pt x="1022878" y="451668"/>
                </a:lnTo>
                <a:lnTo>
                  <a:pt x="1013292" y="431932"/>
                </a:lnTo>
                <a:lnTo>
                  <a:pt x="1029645" y="422910"/>
                </a:lnTo>
                <a:lnTo>
                  <a:pt x="980587" y="362575"/>
                </a:lnTo>
                <a:lnTo>
                  <a:pt x="1031336" y="349042"/>
                </a:lnTo>
                <a:lnTo>
                  <a:pt x="1042614" y="341147"/>
                </a:lnTo>
                <a:lnTo>
                  <a:pt x="1036975" y="278557"/>
                </a:lnTo>
                <a:lnTo>
                  <a:pt x="1097310" y="289834"/>
                </a:lnTo>
                <a:lnTo>
                  <a:pt x="1106332" y="274046"/>
                </a:lnTo>
                <a:lnTo>
                  <a:pt x="1092235" y="239085"/>
                </a:lnTo>
                <a:lnTo>
                  <a:pt x="1113663" y="235702"/>
                </a:lnTo>
                <a:lnTo>
                  <a:pt x="1123812" y="212019"/>
                </a:lnTo>
                <a:lnTo>
                  <a:pt x="1099566" y="190591"/>
                </a:lnTo>
                <a:lnTo>
                  <a:pt x="1065733" y="195666"/>
                </a:lnTo>
                <a:lnTo>
                  <a:pt x="1047125" y="181006"/>
                </a:lnTo>
                <a:lnTo>
                  <a:pt x="1025133" y="174239"/>
                </a:lnTo>
                <a:lnTo>
                  <a:pt x="1002015" y="153939"/>
                </a:lnTo>
                <a:lnTo>
                  <a:pt x="983971" y="147737"/>
                </a:lnTo>
                <a:lnTo>
                  <a:pt x="949010" y="156759"/>
                </a:lnTo>
                <a:lnTo>
                  <a:pt x="902208" y="136459"/>
                </a:lnTo>
                <a:lnTo>
                  <a:pt x="896005" y="155067"/>
                </a:lnTo>
                <a:lnTo>
                  <a:pt x="793943" y="67666"/>
                </a:lnTo>
                <a:lnTo>
                  <a:pt x="747141" y="41163"/>
                </a:lnTo>
                <a:lnTo>
                  <a:pt x="751652" y="30449"/>
                </a:lnTo>
                <a:lnTo>
                  <a:pt x="700339" y="62591"/>
                </a:lnTo>
                <a:lnTo>
                  <a:pt x="675528" y="64846"/>
                </a:lnTo>
                <a:lnTo>
                  <a:pt x="668762" y="46238"/>
                </a:lnTo>
                <a:lnTo>
                  <a:pt x="629290" y="34397"/>
                </a:lnTo>
                <a:lnTo>
                  <a:pt x="605043" y="42855"/>
                </a:lnTo>
                <a:lnTo>
                  <a:pt x="580796" y="7330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7" name="Freeform: Shape 320">
            <a:extLst>
              <a:ext uri="{FF2B5EF4-FFF2-40B4-BE49-F238E27FC236}">
                <a16:creationId xmlns:a16="http://schemas.microsoft.com/office/drawing/2014/main" id="{671C5351-DDA5-4253-9347-AA84E75DFF7B}"/>
              </a:ext>
            </a:extLst>
          </p:cNvPr>
          <p:cNvSpPr/>
          <p:nvPr/>
        </p:nvSpPr>
        <p:spPr>
          <a:xfrm>
            <a:off x="6645475" y="3974978"/>
            <a:ext cx="185407" cy="269682"/>
          </a:xfrm>
          <a:custGeom>
            <a:avLst/>
            <a:gdLst>
              <a:gd name="connsiteX0" fmla="*/ 250927 w 248107"/>
              <a:gd name="connsiteY0" fmla="*/ 56952 h 360883"/>
              <a:gd name="connsiteX1" fmla="*/ 229500 w 248107"/>
              <a:gd name="connsiteY1" fmla="*/ 56952 h 360883"/>
              <a:gd name="connsiteX2" fmla="*/ 216530 w 248107"/>
              <a:gd name="connsiteY2" fmla="*/ 45110 h 360883"/>
              <a:gd name="connsiteX3" fmla="*/ 187772 w 248107"/>
              <a:gd name="connsiteY3" fmla="*/ 59771 h 360883"/>
              <a:gd name="connsiteX4" fmla="*/ 178750 w 248107"/>
              <a:gd name="connsiteY4" fmla="*/ 74996 h 360883"/>
              <a:gd name="connsiteX5" fmla="*/ 157323 w 248107"/>
              <a:gd name="connsiteY5" fmla="*/ 72177 h 360883"/>
              <a:gd name="connsiteX6" fmla="*/ 150556 w 248107"/>
              <a:gd name="connsiteY6" fmla="*/ 68230 h 360883"/>
              <a:gd name="connsiteX7" fmla="*/ 143226 w 248107"/>
              <a:gd name="connsiteY7" fmla="*/ 68793 h 360883"/>
              <a:gd name="connsiteX8" fmla="*/ 133076 w 248107"/>
              <a:gd name="connsiteY8" fmla="*/ 68793 h 360883"/>
              <a:gd name="connsiteX9" fmla="*/ 92476 w 248107"/>
              <a:gd name="connsiteY9" fmla="*/ 38344 h 360883"/>
              <a:gd name="connsiteX10" fmla="*/ 70485 w 248107"/>
              <a:gd name="connsiteY10" fmla="*/ 38344 h 360883"/>
              <a:gd name="connsiteX11" fmla="*/ 59207 w 248107"/>
              <a:gd name="connsiteY11" fmla="*/ 26502 h 360883"/>
              <a:gd name="connsiteX12" fmla="*/ 59207 w 248107"/>
              <a:gd name="connsiteY12" fmla="*/ 6203 h 360883"/>
              <a:gd name="connsiteX13" fmla="*/ 42855 w 248107"/>
              <a:gd name="connsiteY13" fmla="*/ 0 h 360883"/>
              <a:gd name="connsiteX14" fmla="*/ 21428 w 248107"/>
              <a:gd name="connsiteY14" fmla="*/ 23683 h 360883"/>
              <a:gd name="connsiteX15" fmla="*/ 2256 w 248107"/>
              <a:gd name="connsiteY15" fmla="*/ 45110 h 360883"/>
              <a:gd name="connsiteX16" fmla="*/ 17481 w 248107"/>
              <a:gd name="connsiteY16" fmla="*/ 69921 h 360883"/>
              <a:gd name="connsiteX17" fmla="*/ 21428 w 248107"/>
              <a:gd name="connsiteY17" fmla="*/ 87965 h 360883"/>
              <a:gd name="connsiteX18" fmla="*/ 36088 w 248107"/>
              <a:gd name="connsiteY18" fmla="*/ 129129 h 360883"/>
              <a:gd name="connsiteX19" fmla="*/ 24247 w 248107"/>
              <a:gd name="connsiteY19" fmla="*/ 155631 h 360883"/>
              <a:gd name="connsiteX20" fmla="*/ 9023 w 248107"/>
              <a:gd name="connsiteY20" fmla="*/ 179314 h 360883"/>
              <a:gd name="connsiteX21" fmla="*/ 0 w 248107"/>
              <a:gd name="connsiteY21" fmla="*/ 193975 h 360883"/>
              <a:gd name="connsiteX22" fmla="*/ 0 w 248107"/>
              <a:gd name="connsiteY22" fmla="*/ 195666 h 360883"/>
              <a:gd name="connsiteX23" fmla="*/ 7894 w 248107"/>
              <a:gd name="connsiteY23" fmla="*/ 209200 h 360883"/>
              <a:gd name="connsiteX24" fmla="*/ 5639 w 248107"/>
              <a:gd name="connsiteY24" fmla="*/ 235702 h 360883"/>
              <a:gd name="connsiteX25" fmla="*/ 119543 w 248107"/>
              <a:gd name="connsiteY25" fmla="*/ 309007 h 360883"/>
              <a:gd name="connsiteX26" fmla="*/ 121799 w 248107"/>
              <a:gd name="connsiteY26" fmla="*/ 329870 h 360883"/>
              <a:gd name="connsiteX27" fmla="*/ 166909 w 248107"/>
              <a:gd name="connsiteY27" fmla="*/ 365395 h 360883"/>
              <a:gd name="connsiteX28" fmla="*/ 179314 w 248107"/>
              <a:gd name="connsiteY28" fmla="*/ 353553 h 360883"/>
              <a:gd name="connsiteX29" fmla="*/ 186080 w 248107"/>
              <a:gd name="connsiteY29" fmla="*/ 329870 h 360883"/>
              <a:gd name="connsiteX30" fmla="*/ 196231 w 248107"/>
              <a:gd name="connsiteY30" fmla="*/ 315209 h 360883"/>
              <a:gd name="connsiteX31" fmla="*/ 201306 w 248107"/>
              <a:gd name="connsiteY31" fmla="*/ 289834 h 360883"/>
              <a:gd name="connsiteX32" fmla="*/ 213147 w 248107"/>
              <a:gd name="connsiteY32" fmla="*/ 287579 h 360883"/>
              <a:gd name="connsiteX33" fmla="*/ 221041 w 248107"/>
              <a:gd name="connsiteY33" fmla="*/ 272354 h 360883"/>
              <a:gd name="connsiteX34" fmla="*/ 243597 w 248107"/>
              <a:gd name="connsiteY34" fmla="*/ 258257 h 360883"/>
              <a:gd name="connsiteX35" fmla="*/ 224988 w 248107"/>
              <a:gd name="connsiteY35" fmla="*/ 228371 h 360883"/>
              <a:gd name="connsiteX36" fmla="*/ 223861 w 248107"/>
              <a:gd name="connsiteY36" fmla="*/ 97552 h 360883"/>
              <a:gd name="connsiteX37" fmla="*/ 250927 w 248107"/>
              <a:gd name="connsiteY37" fmla="*/ 56952 h 3608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248107" h="360883">
                <a:moveTo>
                  <a:pt x="250927" y="56952"/>
                </a:moveTo>
                <a:lnTo>
                  <a:pt x="229500" y="56952"/>
                </a:lnTo>
                <a:lnTo>
                  <a:pt x="216530" y="45110"/>
                </a:lnTo>
                <a:lnTo>
                  <a:pt x="187772" y="59771"/>
                </a:lnTo>
                <a:lnTo>
                  <a:pt x="178750" y="74996"/>
                </a:lnTo>
                <a:lnTo>
                  <a:pt x="157323" y="72177"/>
                </a:lnTo>
                <a:lnTo>
                  <a:pt x="150556" y="68230"/>
                </a:lnTo>
                <a:lnTo>
                  <a:pt x="143226" y="68793"/>
                </a:lnTo>
                <a:lnTo>
                  <a:pt x="133076" y="68793"/>
                </a:lnTo>
                <a:lnTo>
                  <a:pt x="92476" y="38344"/>
                </a:lnTo>
                <a:lnTo>
                  <a:pt x="70485" y="38344"/>
                </a:lnTo>
                <a:lnTo>
                  <a:pt x="59207" y="26502"/>
                </a:lnTo>
                <a:lnTo>
                  <a:pt x="59207" y="6203"/>
                </a:lnTo>
                <a:lnTo>
                  <a:pt x="42855" y="0"/>
                </a:lnTo>
                <a:lnTo>
                  <a:pt x="21428" y="23683"/>
                </a:lnTo>
                <a:lnTo>
                  <a:pt x="2256" y="45110"/>
                </a:lnTo>
                <a:lnTo>
                  <a:pt x="17481" y="69921"/>
                </a:lnTo>
                <a:lnTo>
                  <a:pt x="21428" y="87965"/>
                </a:lnTo>
                <a:lnTo>
                  <a:pt x="36088" y="129129"/>
                </a:lnTo>
                <a:lnTo>
                  <a:pt x="24247" y="155631"/>
                </a:lnTo>
                <a:lnTo>
                  <a:pt x="9023" y="179314"/>
                </a:lnTo>
                <a:lnTo>
                  <a:pt x="0" y="193975"/>
                </a:lnTo>
                <a:lnTo>
                  <a:pt x="0" y="195666"/>
                </a:lnTo>
                <a:lnTo>
                  <a:pt x="7894" y="209200"/>
                </a:lnTo>
                <a:lnTo>
                  <a:pt x="5639" y="235702"/>
                </a:lnTo>
                <a:lnTo>
                  <a:pt x="119543" y="309007"/>
                </a:lnTo>
                <a:lnTo>
                  <a:pt x="121799" y="329870"/>
                </a:lnTo>
                <a:lnTo>
                  <a:pt x="166909" y="365395"/>
                </a:lnTo>
                <a:lnTo>
                  <a:pt x="179314" y="353553"/>
                </a:lnTo>
                <a:lnTo>
                  <a:pt x="186080" y="329870"/>
                </a:lnTo>
                <a:lnTo>
                  <a:pt x="196231" y="315209"/>
                </a:lnTo>
                <a:lnTo>
                  <a:pt x="201306" y="289834"/>
                </a:lnTo>
                <a:lnTo>
                  <a:pt x="213147" y="287579"/>
                </a:lnTo>
                <a:lnTo>
                  <a:pt x="221041" y="272354"/>
                </a:lnTo>
                <a:lnTo>
                  <a:pt x="243597" y="258257"/>
                </a:lnTo>
                <a:lnTo>
                  <a:pt x="224988" y="228371"/>
                </a:lnTo>
                <a:lnTo>
                  <a:pt x="223861" y="97552"/>
                </a:lnTo>
                <a:lnTo>
                  <a:pt x="250927" y="56952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8" name="Freeform: Shape 321">
            <a:extLst>
              <a:ext uri="{FF2B5EF4-FFF2-40B4-BE49-F238E27FC236}">
                <a16:creationId xmlns:a16="http://schemas.microsoft.com/office/drawing/2014/main" id="{44BC28F7-A5A7-4673-8851-ED944B0AB0DD}"/>
              </a:ext>
            </a:extLst>
          </p:cNvPr>
          <p:cNvSpPr/>
          <p:nvPr/>
        </p:nvSpPr>
        <p:spPr>
          <a:xfrm>
            <a:off x="7360134" y="2962406"/>
            <a:ext cx="210690" cy="105345"/>
          </a:xfrm>
          <a:custGeom>
            <a:avLst/>
            <a:gdLst>
              <a:gd name="connsiteX0" fmla="*/ 284195 w 281940"/>
              <a:gd name="connsiteY0" fmla="*/ 32705 h 140970"/>
              <a:gd name="connsiteX1" fmla="*/ 264459 w 281940"/>
              <a:gd name="connsiteY1" fmla="*/ 27630 h 140970"/>
              <a:gd name="connsiteX2" fmla="*/ 245852 w 281940"/>
              <a:gd name="connsiteY2" fmla="*/ 15225 h 140970"/>
              <a:gd name="connsiteX3" fmla="*/ 201869 w 281940"/>
              <a:gd name="connsiteY3" fmla="*/ 11842 h 140970"/>
              <a:gd name="connsiteX4" fmla="*/ 153375 w 281940"/>
              <a:gd name="connsiteY4" fmla="*/ 10714 h 140970"/>
              <a:gd name="connsiteX5" fmla="*/ 144353 w 281940"/>
              <a:gd name="connsiteY5" fmla="*/ 14661 h 140970"/>
              <a:gd name="connsiteX6" fmla="*/ 98679 w 281940"/>
              <a:gd name="connsiteY6" fmla="*/ 0 h 140970"/>
              <a:gd name="connsiteX7" fmla="*/ 84582 w 281940"/>
              <a:gd name="connsiteY7" fmla="*/ 7331 h 140970"/>
              <a:gd name="connsiteX8" fmla="*/ 87401 w 281940"/>
              <a:gd name="connsiteY8" fmla="*/ 27630 h 140970"/>
              <a:gd name="connsiteX9" fmla="*/ 36088 w 281940"/>
              <a:gd name="connsiteY9" fmla="*/ 15789 h 140970"/>
              <a:gd name="connsiteX10" fmla="*/ 18608 w 281940"/>
              <a:gd name="connsiteY10" fmla="*/ 20300 h 140970"/>
              <a:gd name="connsiteX11" fmla="*/ 16916 w 281940"/>
              <a:gd name="connsiteY11" fmla="*/ 35525 h 140970"/>
              <a:gd name="connsiteX12" fmla="*/ 27066 w 281940"/>
              <a:gd name="connsiteY12" fmla="*/ 38908 h 140970"/>
              <a:gd name="connsiteX13" fmla="*/ 9586 w 281940"/>
              <a:gd name="connsiteY13" fmla="*/ 62027 h 140970"/>
              <a:gd name="connsiteX14" fmla="*/ 35524 w 281940"/>
              <a:gd name="connsiteY14" fmla="*/ 74996 h 140970"/>
              <a:gd name="connsiteX15" fmla="*/ 53569 w 281940"/>
              <a:gd name="connsiteY15" fmla="*/ 65974 h 140970"/>
              <a:gd name="connsiteX16" fmla="*/ 93604 w 281940"/>
              <a:gd name="connsiteY16" fmla="*/ 84582 h 140970"/>
              <a:gd name="connsiteX17" fmla="*/ 64282 w 281940"/>
              <a:gd name="connsiteY17" fmla="*/ 109957 h 140970"/>
              <a:gd name="connsiteX18" fmla="*/ 41163 w 281940"/>
              <a:gd name="connsiteY18" fmla="*/ 106573 h 140970"/>
              <a:gd name="connsiteX19" fmla="*/ 33268 w 281940"/>
              <a:gd name="connsiteY19" fmla="*/ 117851 h 140970"/>
              <a:gd name="connsiteX20" fmla="*/ 0 w 281940"/>
              <a:gd name="connsiteY20" fmla="*/ 111648 h 140970"/>
              <a:gd name="connsiteX21" fmla="*/ 3383 w 281940"/>
              <a:gd name="connsiteY21" fmla="*/ 132512 h 140970"/>
              <a:gd name="connsiteX22" fmla="*/ 33833 w 281940"/>
              <a:gd name="connsiteY22" fmla="*/ 129692 h 140970"/>
              <a:gd name="connsiteX23" fmla="*/ 73868 w 281940"/>
              <a:gd name="connsiteY23" fmla="*/ 140970 h 140970"/>
              <a:gd name="connsiteX24" fmla="*/ 127437 w 281940"/>
              <a:gd name="connsiteY24" fmla="*/ 135895 h 140970"/>
              <a:gd name="connsiteX25" fmla="*/ 133076 w 281940"/>
              <a:gd name="connsiteY25" fmla="*/ 127437 h 140970"/>
              <a:gd name="connsiteX26" fmla="*/ 126873 w 281940"/>
              <a:gd name="connsiteY26" fmla="*/ 118979 h 140970"/>
              <a:gd name="connsiteX27" fmla="*/ 149428 w 281940"/>
              <a:gd name="connsiteY27" fmla="*/ 102062 h 140970"/>
              <a:gd name="connsiteX28" fmla="*/ 167472 w 281940"/>
              <a:gd name="connsiteY28" fmla="*/ 95296 h 140970"/>
              <a:gd name="connsiteX29" fmla="*/ 199613 w 281940"/>
              <a:gd name="connsiteY29" fmla="*/ 100371 h 140970"/>
              <a:gd name="connsiteX30" fmla="*/ 202997 w 281940"/>
              <a:gd name="connsiteY30" fmla="*/ 77816 h 140970"/>
              <a:gd name="connsiteX31" fmla="*/ 239085 w 281940"/>
              <a:gd name="connsiteY31" fmla="*/ 73304 h 140970"/>
              <a:gd name="connsiteX32" fmla="*/ 244723 w 281940"/>
              <a:gd name="connsiteY32" fmla="*/ 59771 h 140970"/>
              <a:gd name="connsiteX33" fmla="*/ 283068 w 281940"/>
              <a:gd name="connsiteY33" fmla="*/ 40599 h 140970"/>
              <a:gd name="connsiteX34" fmla="*/ 284195 w 281940"/>
              <a:gd name="connsiteY34" fmla="*/ 32705 h 1409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281940" h="140970">
                <a:moveTo>
                  <a:pt x="284195" y="32705"/>
                </a:moveTo>
                <a:lnTo>
                  <a:pt x="264459" y="27630"/>
                </a:lnTo>
                <a:lnTo>
                  <a:pt x="245852" y="15225"/>
                </a:lnTo>
                <a:lnTo>
                  <a:pt x="201869" y="11842"/>
                </a:lnTo>
                <a:lnTo>
                  <a:pt x="153375" y="10714"/>
                </a:lnTo>
                <a:lnTo>
                  <a:pt x="144353" y="14661"/>
                </a:lnTo>
                <a:lnTo>
                  <a:pt x="98679" y="0"/>
                </a:lnTo>
                <a:lnTo>
                  <a:pt x="84582" y="7331"/>
                </a:lnTo>
                <a:lnTo>
                  <a:pt x="87401" y="27630"/>
                </a:lnTo>
                <a:lnTo>
                  <a:pt x="36088" y="15789"/>
                </a:lnTo>
                <a:lnTo>
                  <a:pt x="18608" y="20300"/>
                </a:lnTo>
                <a:lnTo>
                  <a:pt x="16916" y="35525"/>
                </a:lnTo>
                <a:lnTo>
                  <a:pt x="27066" y="38908"/>
                </a:lnTo>
                <a:lnTo>
                  <a:pt x="9586" y="62027"/>
                </a:lnTo>
                <a:lnTo>
                  <a:pt x="35524" y="74996"/>
                </a:lnTo>
                <a:lnTo>
                  <a:pt x="53569" y="65974"/>
                </a:lnTo>
                <a:lnTo>
                  <a:pt x="93604" y="84582"/>
                </a:lnTo>
                <a:lnTo>
                  <a:pt x="64282" y="109957"/>
                </a:lnTo>
                <a:lnTo>
                  <a:pt x="41163" y="106573"/>
                </a:lnTo>
                <a:lnTo>
                  <a:pt x="33268" y="117851"/>
                </a:lnTo>
                <a:lnTo>
                  <a:pt x="0" y="111648"/>
                </a:lnTo>
                <a:lnTo>
                  <a:pt x="3383" y="132512"/>
                </a:lnTo>
                <a:lnTo>
                  <a:pt x="33833" y="129692"/>
                </a:lnTo>
                <a:lnTo>
                  <a:pt x="73868" y="140970"/>
                </a:lnTo>
                <a:lnTo>
                  <a:pt x="127437" y="135895"/>
                </a:lnTo>
                <a:lnTo>
                  <a:pt x="133076" y="127437"/>
                </a:lnTo>
                <a:lnTo>
                  <a:pt x="126873" y="118979"/>
                </a:lnTo>
                <a:lnTo>
                  <a:pt x="149428" y="102062"/>
                </a:lnTo>
                <a:lnTo>
                  <a:pt x="167472" y="95296"/>
                </a:lnTo>
                <a:lnTo>
                  <a:pt x="199613" y="100371"/>
                </a:lnTo>
                <a:lnTo>
                  <a:pt x="202997" y="77816"/>
                </a:lnTo>
                <a:lnTo>
                  <a:pt x="239085" y="73304"/>
                </a:lnTo>
                <a:lnTo>
                  <a:pt x="244723" y="59771"/>
                </a:lnTo>
                <a:lnTo>
                  <a:pt x="283068" y="40599"/>
                </a:lnTo>
                <a:lnTo>
                  <a:pt x="284195" y="32705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9" name="Freeform: Shape 322">
            <a:extLst>
              <a:ext uri="{FF2B5EF4-FFF2-40B4-BE49-F238E27FC236}">
                <a16:creationId xmlns:a16="http://schemas.microsoft.com/office/drawing/2014/main" id="{03F0D906-4754-4E62-86AA-259690A37CF2}"/>
              </a:ext>
            </a:extLst>
          </p:cNvPr>
          <p:cNvSpPr/>
          <p:nvPr/>
        </p:nvSpPr>
        <p:spPr>
          <a:xfrm>
            <a:off x="8247137" y="3732265"/>
            <a:ext cx="122200" cy="105345"/>
          </a:xfrm>
          <a:custGeom>
            <a:avLst/>
            <a:gdLst>
              <a:gd name="connsiteX0" fmla="*/ 155067 w 163525"/>
              <a:gd name="connsiteY0" fmla="*/ 12969 h 140970"/>
              <a:gd name="connsiteX1" fmla="*/ 125745 w 163525"/>
              <a:gd name="connsiteY1" fmla="*/ 0 h 140970"/>
              <a:gd name="connsiteX2" fmla="*/ 114467 w 163525"/>
              <a:gd name="connsiteY2" fmla="*/ 24247 h 140970"/>
              <a:gd name="connsiteX3" fmla="*/ 86837 w 163525"/>
              <a:gd name="connsiteY3" fmla="*/ 10714 h 140970"/>
              <a:gd name="connsiteX4" fmla="*/ 56952 w 163525"/>
              <a:gd name="connsiteY4" fmla="*/ 5075 h 140970"/>
              <a:gd name="connsiteX5" fmla="*/ 16916 w 163525"/>
              <a:gd name="connsiteY5" fmla="*/ 12405 h 140970"/>
              <a:gd name="connsiteX6" fmla="*/ 0 w 163525"/>
              <a:gd name="connsiteY6" fmla="*/ 41727 h 140970"/>
              <a:gd name="connsiteX7" fmla="*/ 11841 w 163525"/>
              <a:gd name="connsiteY7" fmla="*/ 85146 h 140970"/>
              <a:gd name="connsiteX8" fmla="*/ 31013 w 163525"/>
              <a:gd name="connsiteY8" fmla="*/ 122362 h 140970"/>
              <a:gd name="connsiteX9" fmla="*/ 45674 w 163525"/>
              <a:gd name="connsiteY9" fmla="*/ 140970 h 140970"/>
              <a:gd name="connsiteX10" fmla="*/ 72176 w 163525"/>
              <a:gd name="connsiteY10" fmla="*/ 146045 h 140970"/>
              <a:gd name="connsiteX11" fmla="*/ 98679 w 163525"/>
              <a:gd name="connsiteY11" fmla="*/ 131948 h 140970"/>
              <a:gd name="connsiteX12" fmla="*/ 131384 w 163525"/>
              <a:gd name="connsiteY12" fmla="*/ 129128 h 140970"/>
              <a:gd name="connsiteX13" fmla="*/ 115595 w 163525"/>
              <a:gd name="connsiteY13" fmla="*/ 107701 h 140970"/>
              <a:gd name="connsiteX14" fmla="*/ 165780 w 163525"/>
              <a:gd name="connsiteY14" fmla="*/ 80071 h 140970"/>
              <a:gd name="connsiteX15" fmla="*/ 165216 w 163525"/>
              <a:gd name="connsiteY15" fmla="*/ 36652 h 140970"/>
              <a:gd name="connsiteX16" fmla="*/ 155067 w 163525"/>
              <a:gd name="connsiteY16" fmla="*/ 12969 h 1409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63525" h="140970">
                <a:moveTo>
                  <a:pt x="155067" y="12969"/>
                </a:moveTo>
                <a:lnTo>
                  <a:pt x="125745" y="0"/>
                </a:lnTo>
                <a:lnTo>
                  <a:pt x="114467" y="24247"/>
                </a:lnTo>
                <a:lnTo>
                  <a:pt x="86837" y="10714"/>
                </a:lnTo>
                <a:lnTo>
                  <a:pt x="56952" y="5075"/>
                </a:lnTo>
                <a:lnTo>
                  <a:pt x="16916" y="12405"/>
                </a:lnTo>
                <a:lnTo>
                  <a:pt x="0" y="41727"/>
                </a:lnTo>
                <a:lnTo>
                  <a:pt x="11841" y="85146"/>
                </a:lnTo>
                <a:lnTo>
                  <a:pt x="31013" y="122362"/>
                </a:lnTo>
                <a:lnTo>
                  <a:pt x="45674" y="140970"/>
                </a:lnTo>
                <a:lnTo>
                  <a:pt x="72176" y="146045"/>
                </a:lnTo>
                <a:lnTo>
                  <a:pt x="98679" y="131948"/>
                </a:lnTo>
                <a:lnTo>
                  <a:pt x="131384" y="129128"/>
                </a:lnTo>
                <a:lnTo>
                  <a:pt x="115595" y="107701"/>
                </a:lnTo>
                <a:lnTo>
                  <a:pt x="165780" y="80071"/>
                </a:lnTo>
                <a:lnTo>
                  <a:pt x="165216" y="36652"/>
                </a:lnTo>
                <a:lnTo>
                  <a:pt x="155067" y="12969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0" name="Freeform: Shape 323">
            <a:extLst>
              <a:ext uri="{FF2B5EF4-FFF2-40B4-BE49-F238E27FC236}">
                <a16:creationId xmlns:a16="http://schemas.microsoft.com/office/drawing/2014/main" id="{E70BBB55-5E8B-439E-B4EE-E0BD53A5F4B4}"/>
              </a:ext>
            </a:extLst>
          </p:cNvPr>
          <p:cNvSpPr/>
          <p:nvPr/>
        </p:nvSpPr>
        <p:spPr>
          <a:xfrm>
            <a:off x="8626378" y="3085869"/>
            <a:ext cx="96917" cy="113772"/>
          </a:xfrm>
          <a:custGeom>
            <a:avLst/>
            <a:gdLst>
              <a:gd name="connsiteX0" fmla="*/ 0 w 129692"/>
              <a:gd name="connsiteY0" fmla="*/ 31577 h 152247"/>
              <a:gd name="connsiteX1" fmla="*/ 34960 w 129692"/>
              <a:gd name="connsiteY1" fmla="*/ 62591 h 152247"/>
              <a:gd name="connsiteX2" fmla="*/ 15788 w 129692"/>
              <a:gd name="connsiteY2" fmla="*/ 68793 h 152247"/>
              <a:gd name="connsiteX3" fmla="*/ 45110 w 129692"/>
              <a:gd name="connsiteY3" fmla="*/ 107137 h 152247"/>
              <a:gd name="connsiteX4" fmla="*/ 51313 w 129692"/>
              <a:gd name="connsiteY4" fmla="*/ 134203 h 152247"/>
              <a:gd name="connsiteX5" fmla="*/ 63154 w 129692"/>
              <a:gd name="connsiteY5" fmla="*/ 153939 h 152247"/>
              <a:gd name="connsiteX6" fmla="*/ 88529 w 129692"/>
              <a:gd name="connsiteY6" fmla="*/ 151120 h 152247"/>
              <a:gd name="connsiteX7" fmla="*/ 106573 w 129692"/>
              <a:gd name="connsiteY7" fmla="*/ 135895 h 152247"/>
              <a:gd name="connsiteX8" fmla="*/ 130256 w 129692"/>
              <a:gd name="connsiteY8" fmla="*/ 129128 h 152247"/>
              <a:gd name="connsiteX9" fmla="*/ 133076 w 129692"/>
              <a:gd name="connsiteY9" fmla="*/ 108829 h 152247"/>
              <a:gd name="connsiteX10" fmla="*/ 113903 w 129692"/>
              <a:gd name="connsiteY10" fmla="*/ 66538 h 152247"/>
              <a:gd name="connsiteX11" fmla="*/ 95295 w 129692"/>
              <a:gd name="connsiteY11" fmla="*/ 42855 h 152247"/>
              <a:gd name="connsiteX12" fmla="*/ 49057 w 129692"/>
              <a:gd name="connsiteY12" fmla="*/ 0 h 152247"/>
              <a:gd name="connsiteX13" fmla="*/ 49621 w 129692"/>
              <a:gd name="connsiteY13" fmla="*/ 9022 h 152247"/>
              <a:gd name="connsiteX14" fmla="*/ 37780 w 129692"/>
              <a:gd name="connsiteY14" fmla="*/ 11278 h 152247"/>
              <a:gd name="connsiteX15" fmla="*/ 18044 w 129692"/>
              <a:gd name="connsiteY15" fmla="*/ 12969 h 152247"/>
              <a:gd name="connsiteX16" fmla="*/ 14097 w 129692"/>
              <a:gd name="connsiteY16" fmla="*/ 29322 h 152247"/>
              <a:gd name="connsiteX17" fmla="*/ 564 w 129692"/>
              <a:gd name="connsiteY17" fmla="*/ 28194 h 152247"/>
              <a:gd name="connsiteX18" fmla="*/ 0 w 129692"/>
              <a:gd name="connsiteY18" fmla="*/ 31577 h 1522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29692" h="152247">
                <a:moveTo>
                  <a:pt x="0" y="31577"/>
                </a:moveTo>
                <a:lnTo>
                  <a:pt x="34960" y="62591"/>
                </a:lnTo>
                <a:lnTo>
                  <a:pt x="15788" y="68793"/>
                </a:lnTo>
                <a:lnTo>
                  <a:pt x="45110" y="107137"/>
                </a:lnTo>
                <a:lnTo>
                  <a:pt x="51313" y="134203"/>
                </a:lnTo>
                <a:lnTo>
                  <a:pt x="63154" y="153939"/>
                </a:lnTo>
                <a:lnTo>
                  <a:pt x="88529" y="151120"/>
                </a:lnTo>
                <a:lnTo>
                  <a:pt x="106573" y="135895"/>
                </a:lnTo>
                <a:lnTo>
                  <a:pt x="130256" y="129128"/>
                </a:lnTo>
                <a:lnTo>
                  <a:pt x="133076" y="108829"/>
                </a:lnTo>
                <a:lnTo>
                  <a:pt x="113903" y="66538"/>
                </a:lnTo>
                <a:lnTo>
                  <a:pt x="95295" y="42855"/>
                </a:lnTo>
                <a:lnTo>
                  <a:pt x="49057" y="0"/>
                </a:lnTo>
                <a:lnTo>
                  <a:pt x="49621" y="9022"/>
                </a:lnTo>
                <a:lnTo>
                  <a:pt x="37780" y="11278"/>
                </a:lnTo>
                <a:lnTo>
                  <a:pt x="18044" y="12969"/>
                </a:lnTo>
                <a:lnTo>
                  <a:pt x="14097" y="29322"/>
                </a:lnTo>
                <a:lnTo>
                  <a:pt x="564" y="28194"/>
                </a:lnTo>
                <a:lnTo>
                  <a:pt x="0" y="31577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1" name="Freeform: Shape 324">
            <a:extLst>
              <a:ext uri="{FF2B5EF4-FFF2-40B4-BE49-F238E27FC236}">
                <a16:creationId xmlns:a16="http://schemas.microsoft.com/office/drawing/2014/main" id="{5FD147D3-748B-4C47-9A17-09E484A6B5E7}"/>
              </a:ext>
            </a:extLst>
          </p:cNvPr>
          <p:cNvSpPr/>
          <p:nvPr/>
        </p:nvSpPr>
        <p:spPr>
          <a:xfrm>
            <a:off x="6904623" y="3316785"/>
            <a:ext cx="42138" cy="37924"/>
          </a:xfrm>
          <a:custGeom>
            <a:avLst/>
            <a:gdLst>
              <a:gd name="connsiteX0" fmla="*/ 38908 w 56388"/>
              <a:gd name="connsiteY0" fmla="*/ 2819 h 50749"/>
              <a:gd name="connsiteX1" fmla="*/ 18045 w 56388"/>
              <a:gd name="connsiteY1" fmla="*/ 0 h 50749"/>
              <a:gd name="connsiteX2" fmla="*/ 0 w 56388"/>
              <a:gd name="connsiteY2" fmla="*/ 34397 h 50749"/>
              <a:gd name="connsiteX3" fmla="*/ 27630 w 56388"/>
              <a:gd name="connsiteY3" fmla="*/ 37780 h 50749"/>
              <a:gd name="connsiteX4" fmla="*/ 37217 w 56388"/>
              <a:gd name="connsiteY4" fmla="*/ 55260 h 50749"/>
              <a:gd name="connsiteX5" fmla="*/ 58644 w 56388"/>
              <a:gd name="connsiteY5" fmla="*/ 54133 h 50749"/>
              <a:gd name="connsiteX6" fmla="*/ 45110 w 56388"/>
              <a:gd name="connsiteY6" fmla="*/ 27066 h 50749"/>
              <a:gd name="connsiteX7" fmla="*/ 46802 w 56388"/>
              <a:gd name="connsiteY7" fmla="*/ 18608 h 50749"/>
              <a:gd name="connsiteX8" fmla="*/ 38908 w 56388"/>
              <a:gd name="connsiteY8" fmla="*/ 2819 h 507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6388" h="50749">
                <a:moveTo>
                  <a:pt x="38908" y="2819"/>
                </a:moveTo>
                <a:lnTo>
                  <a:pt x="18045" y="0"/>
                </a:lnTo>
                <a:lnTo>
                  <a:pt x="0" y="34397"/>
                </a:lnTo>
                <a:lnTo>
                  <a:pt x="27630" y="37780"/>
                </a:lnTo>
                <a:lnTo>
                  <a:pt x="37217" y="55260"/>
                </a:lnTo>
                <a:lnTo>
                  <a:pt x="58644" y="54133"/>
                </a:lnTo>
                <a:lnTo>
                  <a:pt x="45110" y="27066"/>
                </a:lnTo>
                <a:lnTo>
                  <a:pt x="46802" y="18608"/>
                </a:lnTo>
                <a:lnTo>
                  <a:pt x="38908" y="2819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2" name="Freeform: Shape 325">
            <a:extLst>
              <a:ext uri="{FF2B5EF4-FFF2-40B4-BE49-F238E27FC236}">
                <a16:creationId xmlns:a16="http://schemas.microsoft.com/office/drawing/2014/main" id="{421596ED-07D7-4C67-A94D-50A1D614234E}"/>
              </a:ext>
            </a:extLst>
          </p:cNvPr>
          <p:cNvSpPr/>
          <p:nvPr/>
        </p:nvSpPr>
        <p:spPr>
          <a:xfrm>
            <a:off x="8170024" y="3520312"/>
            <a:ext cx="193834" cy="227544"/>
          </a:xfrm>
          <a:custGeom>
            <a:avLst/>
            <a:gdLst>
              <a:gd name="connsiteX0" fmla="*/ 258257 w 259384"/>
              <a:gd name="connsiteY0" fmla="*/ 296601 h 304495"/>
              <a:gd name="connsiteX1" fmla="*/ 259385 w 259384"/>
              <a:gd name="connsiteY1" fmla="*/ 260512 h 304495"/>
              <a:gd name="connsiteX2" fmla="*/ 248107 w 259384"/>
              <a:gd name="connsiteY2" fmla="*/ 235138 h 304495"/>
              <a:gd name="connsiteX3" fmla="*/ 221041 w 259384"/>
              <a:gd name="connsiteY3" fmla="*/ 210327 h 304495"/>
              <a:gd name="connsiteX4" fmla="*/ 196794 w 259384"/>
              <a:gd name="connsiteY4" fmla="*/ 178750 h 304495"/>
              <a:gd name="connsiteX5" fmla="*/ 164653 w 259384"/>
              <a:gd name="connsiteY5" fmla="*/ 136459 h 304495"/>
              <a:gd name="connsiteX6" fmla="*/ 123490 w 259384"/>
              <a:gd name="connsiteY6" fmla="*/ 115031 h 304495"/>
              <a:gd name="connsiteX7" fmla="*/ 130820 w 259384"/>
              <a:gd name="connsiteY7" fmla="*/ 102062 h 304495"/>
              <a:gd name="connsiteX8" fmla="*/ 149428 w 259384"/>
              <a:gd name="connsiteY8" fmla="*/ 92476 h 304495"/>
              <a:gd name="connsiteX9" fmla="*/ 132512 w 259384"/>
              <a:gd name="connsiteY9" fmla="*/ 61463 h 304495"/>
              <a:gd name="connsiteX10" fmla="*/ 94168 w 259384"/>
              <a:gd name="connsiteY10" fmla="*/ 60899 h 304495"/>
              <a:gd name="connsiteX11" fmla="*/ 74996 w 259384"/>
              <a:gd name="connsiteY11" fmla="*/ 28758 h 304495"/>
              <a:gd name="connsiteX12" fmla="*/ 52441 w 259384"/>
              <a:gd name="connsiteY12" fmla="*/ 0 h 304495"/>
              <a:gd name="connsiteX13" fmla="*/ 37216 w 259384"/>
              <a:gd name="connsiteY13" fmla="*/ 5639 h 304495"/>
              <a:gd name="connsiteX14" fmla="*/ 47930 w 259384"/>
              <a:gd name="connsiteY14" fmla="*/ 46238 h 304495"/>
              <a:gd name="connsiteX15" fmla="*/ 31577 w 259384"/>
              <a:gd name="connsiteY15" fmla="*/ 45674 h 304495"/>
              <a:gd name="connsiteX16" fmla="*/ 27630 w 259384"/>
              <a:gd name="connsiteY16" fmla="*/ 37216 h 304495"/>
              <a:gd name="connsiteX17" fmla="*/ 4511 w 259384"/>
              <a:gd name="connsiteY17" fmla="*/ 60335 h 304495"/>
              <a:gd name="connsiteX18" fmla="*/ 0 w 259384"/>
              <a:gd name="connsiteY18" fmla="*/ 73868 h 304495"/>
              <a:gd name="connsiteX19" fmla="*/ 14661 w 259384"/>
              <a:gd name="connsiteY19" fmla="*/ 84582 h 304495"/>
              <a:gd name="connsiteX20" fmla="*/ 19736 w 259384"/>
              <a:gd name="connsiteY20" fmla="*/ 106009 h 304495"/>
              <a:gd name="connsiteX21" fmla="*/ 41164 w 259384"/>
              <a:gd name="connsiteY21" fmla="*/ 107701 h 304495"/>
              <a:gd name="connsiteX22" fmla="*/ 38908 w 259384"/>
              <a:gd name="connsiteY22" fmla="*/ 145481 h 304495"/>
              <a:gd name="connsiteX23" fmla="*/ 44547 w 259384"/>
              <a:gd name="connsiteY23" fmla="*/ 177622 h 304495"/>
              <a:gd name="connsiteX24" fmla="*/ 74432 w 259384"/>
              <a:gd name="connsiteY24" fmla="*/ 156195 h 304495"/>
              <a:gd name="connsiteX25" fmla="*/ 84582 w 259384"/>
              <a:gd name="connsiteY25" fmla="*/ 162961 h 304495"/>
              <a:gd name="connsiteX26" fmla="*/ 102626 w 259384"/>
              <a:gd name="connsiteY26" fmla="*/ 161833 h 304495"/>
              <a:gd name="connsiteX27" fmla="*/ 107137 w 259384"/>
              <a:gd name="connsiteY27" fmla="*/ 149428 h 304495"/>
              <a:gd name="connsiteX28" fmla="*/ 131384 w 259384"/>
              <a:gd name="connsiteY28" fmla="*/ 151684 h 304495"/>
              <a:gd name="connsiteX29" fmla="*/ 159014 w 259384"/>
              <a:gd name="connsiteY29" fmla="*/ 181005 h 304495"/>
              <a:gd name="connsiteX30" fmla="*/ 166345 w 259384"/>
              <a:gd name="connsiteY30" fmla="*/ 216530 h 304495"/>
              <a:gd name="connsiteX31" fmla="*/ 195666 w 259384"/>
              <a:gd name="connsiteY31" fmla="*/ 247543 h 304495"/>
              <a:gd name="connsiteX32" fmla="*/ 198485 w 259384"/>
              <a:gd name="connsiteY32" fmla="*/ 277993 h 304495"/>
              <a:gd name="connsiteX33" fmla="*/ 190027 w 259384"/>
              <a:gd name="connsiteY33" fmla="*/ 294345 h 304495"/>
              <a:gd name="connsiteX34" fmla="*/ 217658 w 259384"/>
              <a:gd name="connsiteY34" fmla="*/ 307878 h 304495"/>
              <a:gd name="connsiteX35" fmla="*/ 228935 w 259384"/>
              <a:gd name="connsiteY35" fmla="*/ 283632 h 304495"/>
              <a:gd name="connsiteX36" fmla="*/ 258257 w 259384"/>
              <a:gd name="connsiteY36" fmla="*/ 296601 h 3044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259384" h="304495">
                <a:moveTo>
                  <a:pt x="258257" y="296601"/>
                </a:moveTo>
                <a:lnTo>
                  <a:pt x="259385" y="260512"/>
                </a:lnTo>
                <a:lnTo>
                  <a:pt x="248107" y="235138"/>
                </a:lnTo>
                <a:lnTo>
                  <a:pt x="221041" y="210327"/>
                </a:lnTo>
                <a:lnTo>
                  <a:pt x="196794" y="178750"/>
                </a:lnTo>
                <a:lnTo>
                  <a:pt x="164653" y="136459"/>
                </a:lnTo>
                <a:lnTo>
                  <a:pt x="123490" y="115031"/>
                </a:lnTo>
                <a:lnTo>
                  <a:pt x="130820" y="102062"/>
                </a:lnTo>
                <a:lnTo>
                  <a:pt x="149428" y="92476"/>
                </a:lnTo>
                <a:lnTo>
                  <a:pt x="132512" y="61463"/>
                </a:lnTo>
                <a:lnTo>
                  <a:pt x="94168" y="60899"/>
                </a:lnTo>
                <a:lnTo>
                  <a:pt x="74996" y="28758"/>
                </a:lnTo>
                <a:lnTo>
                  <a:pt x="52441" y="0"/>
                </a:lnTo>
                <a:lnTo>
                  <a:pt x="37216" y="5639"/>
                </a:lnTo>
                <a:lnTo>
                  <a:pt x="47930" y="46238"/>
                </a:lnTo>
                <a:lnTo>
                  <a:pt x="31577" y="45674"/>
                </a:lnTo>
                <a:lnTo>
                  <a:pt x="27630" y="37216"/>
                </a:lnTo>
                <a:lnTo>
                  <a:pt x="4511" y="60335"/>
                </a:lnTo>
                <a:lnTo>
                  <a:pt x="0" y="73868"/>
                </a:lnTo>
                <a:lnTo>
                  <a:pt x="14661" y="84582"/>
                </a:lnTo>
                <a:lnTo>
                  <a:pt x="19736" y="106009"/>
                </a:lnTo>
                <a:lnTo>
                  <a:pt x="41164" y="107701"/>
                </a:lnTo>
                <a:lnTo>
                  <a:pt x="38908" y="145481"/>
                </a:lnTo>
                <a:lnTo>
                  <a:pt x="44547" y="177622"/>
                </a:lnTo>
                <a:lnTo>
                  <a:pt x="74432" y="156195"/>
                </a:lnTo>
                <a:lnTo>
                  <a:pt x="84582" y="162961"/>
                </a:lnTo>
                <a:lnTo>
                  <a:pt x="102626" y="161833"/>
                </a:lnTo>
                <a:lnTo>
                  <a:pt x="107137" y="149428"/>
                </a:lnTo>
                <a:lnTo>
                  <a:pt x="131384" y="151684"/>
                </a:lnTo>
                <a:lnTo>
                  <a:pt x="159014" y="181005"/>
                </a:lnTo>
                <a:lnTo>
                  <a:pt x="166345" y="216530"/>
                </a:lnTo>
                <a:lnTo>
                  <a:pt x="195666" y="247543"/>
                </a:lnTo>
                <a:lnTo>
                  <a:pt x="198485" y="277993"/>
                </a:lnTo>
                <a:lnTo>
                  <a:pt x="190027" y="294345"/>
                </a:lnTo>
                <a:lnTo>
                  <a:pt x="217658" y="307878"/>
                </a:lnTo>
                <a:lnTo>
                  <a:pt x="228935" y="283632"/>
                </a:lnTo>
                <a:lnTo>
                  <a:pt x="258257" y="296601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3" name="Freeform: Shape 326">
            <a:extLst>
              <a:ext uri="{FF2B5EF4-FFF2-40B4-BE49-F238E27FC236}">
                <a16:creationId xmlns:a16="http://schemas.microsoft.com/office/drawing/2014/main" id="{2F0CDC97-ADDB-4BCF-A433-04D948059D72}"/>
              </a:ext>
            </a:extLst>
          </p:cNvPr>
          <p:cNvSpPr/>
          <p:nvPr/>
        </p:nvSpPr>
        <p:spPr>
          <a:xfrm>
            <a:off x="6632834" y="3194163"/>
            <a:ext cx="29497" cy="37924"/>
          </a:xfrm>
          <a:custGeom>
            <a:avLst/>
            <a:gdLst>
              <a:gd name="connsiteX0" fmla="*/ 20300 w 39471"/>
              <a:gd name="connsiteY0" fmla="*/ 49058 h 50749"/>
              <a:gd name="connsiteX1" fmla="*/ 25375 w 39471"/>
              <a:gd name="connsiteY1" fmla="*/ 29322 h 50749"/>
              <a:gd name="connsiteX2" fmla="*/ 40036 w 39471"/>
              <a:gd name="connsiteY2" fmla="*/ 15789 h 50749"/>
              <a:gd name="connsiteX3" fmla="*/ 33269 w 39471"/>
              <a:gd name="connsiteY3" fmla="*/ 1692 h 50749"/>
              <a:gd name="connsiteX4" fmla="*/ 19736 w 39471"/>
              <a:gd name="connsiteY4" fmla="*/ 0 h 50749"/>
              <a:gd name="connsiteX5" fmla="*/ 19172 w 39471"/>
              <a:gd name="connsiteY5" fmla="*/ 1128 h 50749"/>
              <a:gd name="connsiteX6" fmla="*/ 7331 w 39471"/>
              <a:gd name="connsiteY6" fmla="*/ 26502 h 50749"/>
              <a:gd name="connsiteX7" fmla="*/ 0 w 39471"/>
              <a:gd name="connsiteY7" fmla="*/ 55824 h 50749"/>
              <a:gd name="connsiteX8" fmla="*/ 10150 w 39471"/>
              <a:gd name="connsiteY8" fmla="*/ 55824 h 50749"/>
              <a:gd name="connsiteX9" fmla="*/ 12406 w 39471"/>
              <a:gd name="connsiteY9" fmla="*/ 49622 h 50749"/>
              <a:gd name="connsiteX10" fmla="*/ 20300 w 39471"/>
              <a:gd name="connsiteY10" fmla="*/ 49058 h 507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9471" h="50749">
                <a:moveTo>
                  <a:pt x="20300" y="49058"/>
                </a:moveTo>
                <a:lnTo>
                  <a:pt x="25375" y="29322"/>
                </a:lnTo>
                <a:lnTo>
                  <a:pt x="40036" y="15789"/>
                </a:lnTo>
                <a:lnTo>
                  <a:pt x="33269" y="1692"/>
                </a:lnTo>
                <a:lnTo>
                  <a:pt x="19736" y="0"/>
                </a:lnTo>
                <a:lnTo>
                  <a:pt x="19172" y="1128"/>
                </a:lnTo>
                <a:lnTo>
                  <a:pt x="7331" y="26502"/>
                </a:lnTo>
                <a:lnTo>
                  <a:pt x="0" y="55824"/>
                </a:lnTo>
                <a:lnTo>
                  <a:pt x="10150" y="55824"/>
                </a:lnTo>
                <a:lnTo>
                  <a:pt x="12406" y="49622"/>
                </a:lnTo>
                <a:lnTo>
                  <a:pt x="20300" y="49058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4" name="Freeform: Shape 327">
            <a:extLst>
              <a:ext uri="{FF2B5EF4-FFF2-40B4-BE49-F238E27FC236}">
                <a16:creationId xmlns:a16="http://schemas.microsoft.com/office/drawing/2014/main" id="{A57264BC-AE82-4EA4-AB13-EDC43082AF40}"/>
              </a:ext>
            </a:extLst>
          </p:cNvPr>
          <p:cNvSpPr/>
          <p:nvPr/>
        </p:nvSpPr>
        <p:spPr>
          <a:xfrm>
            <a:off x="5572647" y="3893652"/>
            <a:ext cx="88490" cy="109559"/>
          </a:xfrm>
          <a:custGeom>
            <a:avLst/>
            <a:gdLst>
              <a:gd name="connsiteX0" fmla="*/ 94732 w 118414"/>
              <a:gd name="connsiteY0" fmla="*/ 31013 h 146608"/>
              <a:gd name="connsiteX1" fmla="*/ 85710 w 118414"/>
              <a:gd name="connsiteY1" fmla="*/ 29886 h 146608"/>
              <a:gd name="connsiteX2" fmla="*/ 79507 w 118414"/>
              <a:gd name="connsiteY2" fmla="*/ 44547 h 146608"/>
              <a:gd name="connsiteX3" fmla="*/ 70485 w 118414"/>
              <a:gd name="connsiteY3" fmla="*/ 43983 h 146608"/>
              <a:gd name="connsiteX4" fmla="*/ 64282 w 118414"/>
              <a:gd name="connsiteY4" fmla="*/ 36652 h 146608"/>
              <a:gd name="connsiteX5" fmla="*/ 66538 w 118414"/>
              <a:gd name="connsiteY5" fmla="*/ 21991 h 146608"/>
              <a:gd name="connsiteX6" fmla="*/ 53569 w 118414"/>
              <a:gd name="connsiteY6" fmla="*/ 0 h 146608"/>
              <a:gd name="connsiteX7" fmla="*/ 45110 w 118414"/>
              <a:gd name="connsiteY7" fmla="*/ 3947 h 146608"/>
              <a:gd name="connsiteX8" fmla="*/ 38344 w 118414"/>
              <a:gd name="connsiteY8" fmla="*/ 5075 h 146608"/>
              <a:gd name="connsiteX9" fmla="*/ 23683 w 118414"/>
              <a:gd name="connsiteY9" fmla="*/ 21991 h 146608"/>
              <a:gd name="connsiteX10" fmla="*/ 9022 w 118414"/>
              <a:gd name="connsiteY10" fmla="*/ 41163 h 146608"/>
              <a:gd name="connsiteX11" fmla="*/ 7331 w 118414"/>
              <a:gd name="connsiteY11" fmla="*/ 51877 h 146608"/>
              <a:gd name="connsiteX12" fmla="*/ 0 w 118414"/>
              <a:gd name="connsiteY12" fmla="*/ 63155 h 146608"/>
              <a:gd name="connsiteX13" fmla="*/ 20864 w 118414"/>
              <a:gd name="connsiteY13" fmla="*/ 86274 h 146608"/>
              <a:gd name="connsiteX14" fmla="*/ 47930 w 118414"/>
              <a:gd name="connsiteY14" fmla="*/ 106009 h 146608"/>
              <a:gd name="connsiteX15" fmla="*/ 76688 w 118414"/>
              <a:gd name="connsiteY15" fmla="*/ 133076 h 146608"/>
              <a:gd name="connsiteX16" fmla="*/ 108829 w 118414"/>
              <a:gd name="connsiteY16" fmla="*/ 150556 h 146608"/>
              <a:gd name="connsiteX17" fmla="*/ 117287 w 118414"/>
              <a:gd name="connsiteY17" fmla="*/ 149992 h 146608"/>
              <a:gd name="connsiteX18" fmla="*/ 120107 w 118414"/>
              <a:gd name="connsiteY18" fmla="*/ 120670 h 146608"/>
              <a:gd name="connsiteX19" fmla="*/ 122926 w 118414"/>
              <a:gd name="connsiteY19" fmla="*/ 116159 h 146608"/>
              <a:gd name="connsiteX20" fmla="*/ 121798 w 118414"/>
              <a:gd name="connsiteY20" fmla="*/ 102062 h 146608"/>
              <a:gd name="connsiteX21" fmla="*/ 108829 w 118414"/>
              <a:gd name="connsiteY21" fmla="*/ 86838 h 146608"/>
              <a:gd name="connsiteX22" fmla="*/ 98679 w 118414"/>
              <a:gd name="connsiteY22" fmla="*/ 84582 h 146608"/>
              <a:gd name="connsiteX23" fmla="*/ 89657 w 118414"/>
              <a:gd name="connsiteY23" fmla="*/ 74432 h 146608"/>
              <a:gd name="connsiteX24" fmla="*/ 96424 w 118414"/>
              <a:gd name="connsiteY24" fmla="*/ 58644 h 146608"/>
              <a:gd name="connsiteX25" fmla="*/ 93040 w 118414"/>
              <a:gd name="connsiteY25" fmla="*/ 41163 h 146608"/>
              <a:gd name="connsiteX26" fmla="*/ 94732 w 118414"/>
              <a:gd name="connsiteY26" fmla="*/ 31013 h 1466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118414" h="146608">
                <a:moveTo>
                  <a:pt x="94732" y="31013"/>
                </a:moveTo>
                <a:lnTo>
                  <a:pt x="85710" y="29886"/>
                </a:lnTo>
                <a:lnTo>
                  <a:pt x="79507" y="44547"/>
                </a:lnTo>
                <a:lnTo>
                  <a:pt x="70485" y="43983"/>
                </a:lnTo>
                <a:lnTo>
                  <a:pt x="64282" y="36652"/>
                </a:lnTo>
                <a:lnTo>
                  <a:pt x="66538" y="21991"/>
                </a:lnTo>
                <a:lnTo>
                  <a:pt x="53569" y="0"/>
                </a:lnTo>
                <a:lnTo>
                  <a:pt x="45110" y="3947"/>
                </a:lnTo>
                <a:lnTo>
                  <a:pt x="38344" y="5075"/>
                </a:lnTo>
                <a:lnTo>
                  <a:pt x="23683" y="21991"/>
                </a:lnTo>
                <a:lnTo>
                  <a:pt x="9022" y="41163"/>
                </a:lnTo>
                <a:lnTo>
                  <a:pt x="7331" y="51877"/>
                </a:lnTo>
                <a:lnTo>
                  <a:pt x="0" y="63155"/>
                </a:lnTo>
                <a:lnTo>
                  <a:pt x="20864" y="86274"/>
                </a:lnTo>
                <a:lnTo>
                  <a:pt x="47930" y="106009"/>
                </a:lnTo>
                <a:lnTo>
                  <a:pt x="76688" y="133076"/>
                </a:lnTo>
                <a:lnTo>
                  <a:pt x="108829" y="150556"/>
                </a:lnTo>
                <a:lnTo>
                  <a:pt x="117287" y="149992"/>
                </a:lnTo>
                <a:lnTo>
                  <a:pt x="120107" y="120670"/>
                </a:lnTo>
                <a:lnTo>
                  <a:pt x="122926" y="116159"/>
                </a:lnTo>
                <a:lnTo>
                  <a:pt x="121798" y="102062"/>
                </a:lnTo>
                <a:lnTo>
                  <a:pt x="108829" y="86838"/>
                </a:lnTo>
                <a:lnTo>
                  <a:pt x="98679" y="84582"/>
                </a:lnTo>
                <a:lnTo>
                  <a:pt x="89657" y="74432"/>
                </a:lnTo>
                <a:lnTo>
                  <a:pt x="96424" y="58644"/>
                </a:lnTo>
                <a:lnTo>
                  <a:pt x="93040" y="41163"/>
                </a:lnTo>
                <a:lnTo>
                  <a:pt x="94732" y="31013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5" name="Freeform: Shape 328">
            <a:extLst>
              <a:ext uri="{FF2B5EF4-FFF2-40B4-BE49-F238E27FC236}">
                <a16:creationId xmlns:a16="http://schemas.microsoft.com/office/drawing/2014/main" id="{4A8F765E-BABE-4775-A955-4C8E5433B8B0}"/>
              </a:ext>
            </a:extLst>
          </p:cNvPr>
          <p:cNvSpPr/>
          <p:nvPr/>
        </p:nvSpPr>
        <p:spPr>
          <a:xfrm>
            <a:off x="6056809" y="3234616"/>
            <a:ext cx="366600" cy="362386"/>
          </a:xfrm>
          <a:custGeom>
            <a:avLst/>
            <a:gdLst>
              <a:gd name="connsiteX0" fmla="*/ 475351 w 490575"/>
              <a:gd name="connsiteY0" fmla="*/ 56388 h 484936"/>
              <a:gd name="connsiteX1" fmla="*/ 466893 w 490575"/>
              <a:gd name="connsiteY1" fmla="*/ 44546 h 484936"/>
              <a:gd name="connsiteX2" fmla="*/ 436443 w 490575"/>
              <a:gd name="connsiteY2" fmla="*/ 40036 h 484936"/>
              <a:gd name="connsiteX3" fmla="*/ 426293 w 490575"/>
              <a:gd name="connsiteY3" fmla="*/ 33833 h 484936"/>
              <a:gd name="connsiteX4" fmla="*/ 415016 w 490575"/>
              <a:gd name="connsiteY4" fmla="*/ 33833 h 484936"/>
              <a:gd name="connsiteX5" fmla="*/ 403738 w 490575"/>
              <a:gd name="connsiteY5" fmla="*/ 18044 h 484936"/>
              <a:gd name="connsiteX6" fmla="*/ 362575 w 490575"/>
              <a:gd name="connsiteY6" fmla="*/ 10714 h 484936"/>
              <a:gd name="connsiteX7" fmla="*/ 342275 w 490575"/>
              <a:gd name="connsiteY7" fmla="*/ 15225 h 484936"/>
              <a:gd name="connsiteX8" fmla="*/ 321412 w 490575"/>
              <a:gd name="connsiteY8" fmla="*/ 32141 h 484936"/>
              <a:gd name="connsiteX9" fmla="*/ 312953 w 490575"/>
              <a:gd name="connsiteY9" fmla="*/ 49622 h 484936"/>
              <a:gd name="connsiteX10" fmla="*/ 321412 w 490575"/>
              <a:gd name="connsiteY10" fmla="*/ 76688 h 484936"/>
              <a:gd name="connsiteX11" fmla="*/ 307878 w 490575"/>
              <a:gd name="connsiteY11" fmla="*/ 93604 h 484936"/>
              <a:gd name="connsiteX12" fmla="*/ 293781 w 490575"/>
              <a:gd name="connsiteY12" fmla="*/ 102626 h 484936"/>
              <a:gd name="connsiteX13" fmla="*/ 260512 w 490575"/>
              <a:gd name="connsiteY13" fmla="*/ 85146 h 484936"/>
              <a:gd name="connsiteX14" fmla="*/ 217094 w 490575"/>
              <a:gd name="connsiteY14" fmla="*/ 69921 h 484936"/>
              <a:gd name="connsiteX15" fmla="*/ 189464 w 490575"/>
              <a:gd name="connsiteY15" fmla="*/ 63155 h 484936"/>
              <a:gd name="connsiteX16" fmla="*/ 173675 w 490575"/>
              <a:gd name="connsiteY16" fmla="*/ 31013 h 484936"/>
              <a:gd name="connsiteX17" fmla="*/ 133076 w 490575"/>
              <a:gd name="connsiteY17" fmla="*/ 15225 h 484936"/>
              <a:gd name="connsiteX18" fmla="*/ 107701 w 490575"/>
              <a:gd name="connsiteY18" fmla="*/ 9022 h 484936"/>
              <a:gd name="connsiteX19" fmla="*/ 95296 w 490575"/>
              <a:gd name="connsiteY19" fmla="*/ 12405 h 484936"/>
              <a:gd name="connsiteX20" fmla="*/ 59207 w 490575"/>
              <a:gd name="connsiteY20" fmla="*/ 0 h 484936"/>
              <a:gd name="connsiteX21" fmla="*/ 58644 w 490575"/>
              <a:gd name="connsiteY21" fmla="*/ 27630 h 484936"/>
              <a:gd name="connsiteX22" fmla="*/ 43983 w 490575"/>
              <a:gd name="connsiteY22" fmla="*/ 37780 h 484936"/>
              <a:gd name="connsiteX23" fmla="*/ 35525 w 490575"/>
              <a:gd name="connsiteY23" fmla="*/ 49058 h 484936"/>
              <a:gd name="connsiteX24" fmla="*/ 14661 w 490575"/>
              <a:gd name="connsiteY24" fmla="*/ 63155 h 484936"/>
              <a:gd name="connsiteX25" fmla="*/ 18608 w 490575"/>
              <a:gd name="connsiteY25" fmla="*/ 77816 h 484936"/>
              <a:gd name="connsiteX26" fmla="*/ 16353 w 490575"/>
              <a:gd name="connsiteY26" fmla="*/ 93040 h 484936"/>
              <a:gd name="connsiteX27" fmla="*/ 1692 w 490575"/>
              <a:gd name="connsiteY27" fmla="*/ 100934 h 484936"/>
              <a:gd name="connsiteX28" fmla="*/ 12405 w 490575"/>
              <a:gd name="connsiteY28" fmla="*/ 132512 h 484936"/>
              <a:gd name="connsiteX29" fmla="*/ 14661 w 490575"/>
              <a:gd name="connsiteY29" fmla="*/ 149428 h 484936"/>
              <a:gd name="connsiteX30" fmla="*/ 9586 w 490575"/>
              <a:gd name="connsiteY30" fmla="*/ 178750 h 484936"/>
              <a:gd name="connsiteX31" fmla="*/ 12405 w 490575"/>
              <a:gd name="connsiteY31" fmla="*/ 195103 h 484936"/>
              <a:gd name="connsiteX32" fmla="*/ 9022 w 490575"/>
              <a:gd name="connsiteY32" fmla="*/ 214838 h 484936"/>
              <a:gd name="connsiteX33" fmla="*/ 11841 w 490575"/>
              <a:gd name="connsiteY33" fmla="*/ 237394 h 484936"/>
              <a:gd name="connsiteX34" fmla="*/ 0 w 490575"/>
              <a:gd name="connsiteY34" fmla="*/ 252054 h 484936"/>
              <a:gd name="connsiteX35" fmla="*/ 19172 w 490575"/>
              <a:gd name="connsiteY35" fmla="*/ 278557 h 484936"/>
              <a:gd name="connsiteX36" fmla="*/ 20300 w 490575"/>
              <a:gd name="connsiteY36" fmla="*/ 293782 h 484936"/>
              <a:gd name="connsiteX37" fmla="*/ 31577 w 490575"/>
              <a:gd name="connsiteY37" fmla="*/ 314081 h 484936"/>
              <a:gd name="connsiteX38" fmla="*/ 46238 w 490575"/>
              <a:gd name="connsiteY38" fmla="*/ 307315 h 484936"/>
              <a:gd name="connsiteX39" fmla="*/ 70485 w 490575"/>
              <a:gd name="connsiteY39" fmla="*/ 323667 h 484936"/>
              <a:gd name="connsiteX40" fmla="*/ 84582 w 490575"/>
              <a:gd name="connsiteY40" fmla="*/ 346222 h 484936"/>
              <a:gd name="connsiteX41" fmla="*/ 134204 w 490575"/>
              <a:gd name="connsiteY41" fmla="*/ 362011 h 484936"/>
              <a:gd name="connsiteX42" fmla="*/ 151684 w 490575"/>
              <a:gd name="connsiteY42" fmla="*/ 381747 h 484936"/>
              <a:gd name="connsiteX43" fmla="*/ 173675 w 490575"/>
              <a:gd name="connsiteY43" fmla="*/ 368214 h 484936"/>
              <a:gd name="connsiteX44" fmla="*/ 204124 w 490575"/>
              <a:gd name="connsiteY44" fmla="*/ 348478 h 484936"/>
              <a:gd name="connsiteX45" fmla="*/ 329870 w 490575"/>
              <a:gd name="connsiteY45" fmla="*/ 417271 h 484936"/>
              <a:gd name="connsiteX46" fmla="*/ 456179 w 490575"/>
              <a:gd name="connsiteY46" fmla="*/ 486065 h 484936"/>
              <a:gd name="connsiteX47" fmla="*/ 456179 w 490575"/>
              <a:gd name="connsiteY47" fmla="*/ 470840 h 484936"/>
              <a:gd name="connsiteX48" fmla="*/ 491703 w 490575"/>
              <a:gd name="connsiteY48" fmla="*/ 470840 h 484936"/>
              <a:gd name="connsiteX49" fmla="*/ 488884 w 490575"/>
              <a:gd name="connsiteY49" fmla="*/ 399227 h 484936"/>
              <a:gd name="connsiteX50" fmla="*/ 483245 w 490575"/>
              <a:gd name="connsiteY50" fmla="*/ 267279 h 484936"/>
              <a:gd name="connsiteX51" fmla="*/ 475915 w 490575"/>
              <a:gd name="connsiteY51" fmla="*/ 139278 h 484936"/>
              <a:gd name="connsiteX52" fmla="*/ 464637 w 490575"/>
              <a:gd name="connsiteY52" fmla="*/ 110521 h 484936"/>
              <a:gd name="connsiteX53" fmla="*/ 471404 w 490575"/>
              <a:gd name="connsiteY53" fmla="*/ 88529 h 484936"/>
              <a:gd name="connsiteX54" fmla="*/ 465201 w 490575"/>
              <a:gd name="connsiteY54" fmla="*/ 73304 h 484936"/>
              <a:gd name="connsiteX55" fmla="*/ 475351 w 490575"/>
              <a:gd name="connsiteY55" fmla="*/ 56388 h 4849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490575" h="484936">
                <a:moveTo>
                  <a:pt x="475351" y="56388"/>
                </a:moveTo>
                <a:lnTo>
                  <a:pt x="466893" y="44546"/>
                </a:lnTo>
                <a:lnTo>
                  <a:pt x="436443" y="40036"/>
                </a:lnTo>
                <a:lnTo>
                  <a:pt x="426293" y="33833"/>
                </a:lnTo>
                <a:lnTo>
                  <a:pt x="415016" y="33833"/>
                </a:lnTo>
                <a:lnTo>
                  <a:pt x="403738" y="18044"/>
                </a:lnTo>
                <a:lnTo>
                  <a:pt x="362575" y="10714"/>
                </a:lnTo>
                <a:lnTo>
                  <a:pt x="342275" y="15225"/>
                </a:lnTo>
                <a:lnTo>
                  <a:pt x="321412" y="32141"/>
                </a:lnTo>
                <a:lnTo>
                  <a:pt x="312953" y="49622"/>
                </a:lnTo>
                <a:lnTo>
                  <a:pt x="321412" y="76688"/>
                </a:lnTo>
                <a:lnTo>
                  <a:pt x="307878" y="93604"/>
                </a:lnTo>
                <a:lnTo>
                  <a:pt x="293781" y="102626"/>
                </a:lnTo>
                <a:lnTo>
                  <a:pt x="260512" y="85146"/>
                </a:lnTo>
                <a:lnTo>
                  <a:pt x="217094" y="69921"/>
                </a:lnTo>
                <a:lnTo>
                  <a:pt x="189464" y="63155"/>
                </a:lnTo>
                <a:lnTo>
                  <a:pt x="173675" y="31013"/>
                </a:lnTo>
                <a:lnTo>
                  <a:pt x="133076" y="15225"/>
                </a:lnTo>
                <a:lnTo>
                  <a:pt x="107701" y="9022"/>
                </a:lnTo>
                <a:lnTo>
                  <a:pt x="95296" y="12405"/>
                </a:lnTo>
                <a:lnTo>
                  <a:pt x="59207" y="0"/>
                </a:lnTo>
                <a:lnTo>
                  <a:pt x="58644" y="27630"/>
                </a:lnTo>
                <a:lnTo>
                  <a:pt x="43983" y="37780"/>
                </a:lnTo>
                <a:lnTo>
                  <a:pt x="35525" y="49058"/>
                </a:lnTo>
                <a:lnTo>
                  <a:pt x="14661" y="63155"/>
                </a:lnTo>
                <a:lnTo>
                  <a:pt x="18608" y="77816"/>
                </a:lnTo>
                <a:lnTo>
                  <a:pt x="16353" y="93040"/>
                </a:lnTo>
                <a:lnTo>
                  <a:pt x="1692" y="100934"/>
                </a:lnTo>
                <a:lnTo>
                  <a:pt x="12405" y="132512"/>
                </a:lnTo>
                <a:lnTo>
                  <a:pt x="14661" y="149428"/>
                </a:lnTo>
                <a:lnTo>
                  <a:pt x="9586" y="178750"/>
                </a:lnTo>
                <a:lnTo>
                  <a:pt x="12405" y="195103"/>
                </a:lnTo>
                <a:lnTo>
                  <a:pt x="9022" y="214838"/>
                </a:lnTo>
                <a:lnTo>
                  <a:pt x="11841" y="237394"/>
                </a:lnTo>
                <a:lnTo>
                  <a:pt x="0" y="252054"/>
                </a:lnTo>
                <a:lnTo>
                  <a:pt x="19172" y="278557"/>
                </a:lnTo>
                <a:lnTo>
                  <a:pt x="20300" y="293782"/>
                </a:lnTo>
                <a:lnTo>
                  <a:pt x="31577" y="314081"/>
                </a:lnTo>
                <a:lnTo>
                  <a:pt x="46238" y="307315"/>
                </a:lnTo>
                <a:lnTo>
                  <a:pt x="70485" y="323667"/>
                </a:lnTo>
                <a:lnTo>
                  <a:pt x="84582" y="346222"/>
                </a:lnTo>
                <a:lnTo>
                  <a:pt x="134204" y="362011"/>
                </a:lnTo>
                <a:lnTo>
                  <a:pt x="151684" y="381747"/>
                </a:lnTo>
                <a:lnTo>
                  <a:pt x="173675" y="368214"/>
                </a:lnTo>
                <a:lnTo>
                  <a:pt x="204124" y="348478"/>
                </a:lnTo>
                <a:lnTo>
                  <a:pt x="329870" y="417271"/>
                </a:lnTo>
                <a:lnTo>
                  <a:pt x="456179" y="486065"/>
                </a:lnTo>
                <a:lnTo>
                  <a:pt x="456179" y="470840"/>
                </a:lnTo>
                <a:lnTo>
                  <a:pt x="491703" y="470840"/>
                </a:lnTo>
                <a:lnTo>
                  <a:pt x="488884" y="399227"/>
                </a:lnTo>
                <a:lnTo>
                  <a:pt x="483245" y="267279"/>
                </a:lnTo>
                <a:lnTo>
                  <a:pt x="475915" y="139278"/>
                </a:lnTo>
                <a:lnTo>
                  <a:pt x="464637" y="110521"/>
                </a:lnTo>
                <a:lnTo>
                  <a:pt x="471404" y="88529"/>
                </a:lnTo>
                <a:lnTo>
                  <a:pt x="465201" y="73304"/>
                </a:lnTo>
                <a:lnTo>
                  <a:pt x="475351" y="56388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6" name="Freeform: Shape 329">
            <a:extLst>
              <a:ext uri="{FF2B5EF4-FFF2-40B4-BE49-F238E27FC236}">
                <a16:creationId xmlns:a16="http://schemas.microsoft.com/office/drawing/2014/main" id="{21678E5C-7A7E-4F7F-B954-881D05CBFDC1}"/>
              </a:ext>
            </a:extLst>
          </p:cNvPr>
          <p:cNvSpPr/>
          <p:nvPr/>
        </p:nvSpPr>
        <p:spPr>
          <a:xfrm>
            <a:off x="7724205" y="3859522"/>
            <a:ext cx="46351" cy="101131"/>
          </a:xfrm>
          <a:custGeom>
            <a:avLst/>
            <a:gdLst>
              <a:gd name="connsiteX0" fmla="*/ 50749 w 62026"/>
              <a:gd name="connsiteY0" fmla="*/ 129692 h 135331"/>
              <a:gd name="connsiteX1" fmla="*/ 63719 w 62026"/>
              <a:gd name="connsiteY1" fmla="*/ 119543 h 135331"/>
              <a:gd name="connsiteX2" fmla="*/ 67102 w 62026"/>
              <a:gd name="connsiteY2" fmla="*/ 82326 h 135331"/>
              <a:gd name="connsiteX3" fmla="*/ 50185 w 62026"/>
              <a:gd name="connsiteY3" fmla="*/ 45110 h 135331"/>
              <a:gd name="connsiteX4" fmla="*/ 33833 w 62026"/>
              <a:gd name="connsiteY4" fmla="*/ 19736 h 135331"/>
              <a:gd name="connsiteX5" fmla="*/ 10714 w 62026"/>
              <a:gd name="connsiteY5" fmla="*/ 0 h 135331"/>
              <a:gd name="connsiteX6" fmla="*/ 0 w 62026"/>
              <a:gd name="connsiteY6" fmla="*/ 58080 h 135331"/>
              <a:gd name="connsiteX7" fmla="*/ 7894 w 62026"/>
              <a:gd name="connsiteY7" fmla="*/ 109393 h 135331"/>
              <a:gd name="connsiteX8" fmla="*/ 23683 w 62026"/>
              <a:gd name="connsiteY8" fmla="*/ 138151 h 135331"/>
              <a:gd name="connsiteX9" fmla="*/ 50749 w 62026"/>
              <a:gd name="connsiteY9" fmla="*/ 129692 h 1353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2026" h="135331">
                <a:moveTo>
                  <a:pt x="50749" y="129692"/>
                </a:moveTo>
                <a:lnTo>
                  <a:pt x="63719" y="119543"/>
                </a:lnTo>
                <a:lnTo>
                  <a:pt x="67102" y="82326"/>
                </a:lnTo>
                <a:lnTo>
                  <a:pt x="50185" y="45110"/>
                </a:lnTo>
                <a:lnTo>
                  <a:pt x="33833" y="19736"/>
                </a:lnTo>
                <a:lnTo>
                  <a:pt x="10714" y="0"/>
                </a:lnTo>
                <a:lnTo>
                  <a:pt x="0" y="58080"/>
                </a:lnTo>
                <a:lnTo>
                  <a:pt x="7894" y="109393"/>
                </a:lnTo>
                <a:lnTo>
                  <a:pt x="23683" y="138151"/>
                </a:lnTo>
                <a:lnTo>
                  <a:pt x="50749" y="129692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7" name="Freeform: Shape 330">
            <a:extLst>
              <a:ext uri="{FF2B5EF4-FFF2-40B4-BE49-F238E27FC236}">
                <a16:creationId xmlns:a16="http://schemas.microsoft.com/office/drawing/2014/main" id="{18A469E6-B4F8-4132-BE51-B10A63ECCE6C}"/>
              </a:ext>
            </a:extLst>
          </p:cNvPr>
          <p:cNvSpPr/>
          <p:nvPr/>
        </p:nvSpPr>
        <p:spPr>
          <a:xfrm>
            <a:off x="6456698" y="4890635"/>
            <a:ext cx="50566" cy="50566"/>
          </a:xfrm>
          <a:custGeom>
            <a:avLst/>
            <a:gdLst>
              <a:gd name="connsiteX0" fmla="*/ 32141 w 67665"/>
              <a:gd name="connsiteY0" fmla="*/ 68229 h 67665"/>
              <a:gd name="connsiteX1" fmla="*/ 38343 w 67665"/>
              <a:gd name="connsiteY1" fmla="*/ 56952 h 67665"/>
              <a:gd name="connsiteX2" fmla="*/ 55824 w 67665"/>
              <a:gd name="connsiteY2" fmla="*/ 51313 h 67665"/>
              <a:gd name="connsiteX3" fmla="*/ 62027 w 67665"/>
              <a:gd name="connsiteY3" fmla="*/ 39472 h 67665"/>
              <a:gd name="connsiteX4" fmla="*/ 72741 w 67665"/>
              <a:gd name="connsiteY4" fmla="*/ 21991 h 67665"/>
              <a:gd name="connsiteX5" fmla="*/ 63154 w 67665"/>
              <a:gd name="connsiteY5" fmla="*/ 11278 h 67665"/>
              <a:gd name="connsiteX6" fmla="*/ 50185 w 67665"/>
              <a:gd name="connsiteY6" fmla="*/ 0 h 67665"/>
              <a:gd name="connsiteX7" fmla="*/ 35524 w 67665"/>
              <a:gd name="connsiteY7" fmla="*/ 7330 h 67665"/>
              <a:gd name="connsiteX8" fmla="*/ 18044 w 67665"/>
              <a:gd name="connsiteY8" fmla="*/ 21427 h 67665"/>
              <a:gd name="connsiteX9" fmla="*/ 0 w 67665"/>
              <a:gd name="connsiteY9" fmla="*/ 43983 h 67665"/>
              <a:gd name="connsiteX10" fmla="*/ 20863 w 67665"/>
              <a:gd name="connsiteY10" fmla="*/ 71612 h 67665"/>
              <a:gd name="connsiteX11" fmla="*/ 32141 w 67665"/>
              <a:gd name="connsiteY11" fmla="*/ 68229 h 676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7665" h="67665">
                <a:moveTo>
                  <a:pt x="32141" y="68229"/>
                </a:moveTo>
                <a:lnTo>
                  <a:pt x="38343" y="56952"/>
                </a:lnTo>
                <a:lnTo>
                  <a:pt x="55824" y="51313"/>
                </a:lnTo>
                <a:lnTo>
                  <a:pt x="62027" y="39472"/>
                </a:lnTo>
                <a:lnTo>
                  <a:pt x="72741" y="21991"/>
                </a:lnTo>
                <a:lnTo>
                  <a:pt x="63154" y="11278"/>
                </a:lnTo>
                <a:lnTo>
                  <a:pt x="50185" y="0"/>
                </a:lnTo>
                <a:lnTo>
                  <a:pt x="35524" y="7330"/>
                </a:lnTo>
                <a:lnTo>
                  <a:pt x="18044" y="21427"/>
                </a:lnTo>
                <a:lnTo>
                  <a:pt x="0" y="43983"/>
                </a:lnTo>
                <a:lnTo>
                  <a:pt x="20863" y="71612"/>
                </a:lnTo>
                <a:lnTo>
                  <a:pt x="32141" y="68229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8" name="Freeform: Shape 331">
            <a:extLst>
              <a:ext uri="{FF2B5EF4-FFF2-40B4-BE49-F238E27FC236}">
                <a16:creationId xmlns:a16="http://schemas.microsoft.com/office/drawing/2014/main" id="{AA6F920E-CAC2-4416-A8B7-B72DB0F7778E}"/>
              </a:ext>
            </a:extLst>
          </p:cNvPr>
          <p:cNvSpPr/>
          <p:nvPr/>
        </p:nvSpPr>
        <p:spPr>
          <a:xfrm>
            <a:off x="6255700" y="2624459"/>
            <a:ext cx="109559" cy="58993"/>
          </a:xfrm>
          <a:custGeom>
            <a:avLst/>
            <a:gdLst>
              <a:gd name="connsiteX0" fmla="*/ 144918 w 146608"/>
              <a:gd name="connsiteY0" fmla="*/ 25938 h 78943"/>
              <a:gd name="connsiteX1" fmla="*/ 116724 w 146608"/>
              <a:gd name="connsiteY1" fmla="*/ 9586 h 78943"/>
              <a:gd name="connsiteX2" fmla="*/ 102627 w 146608"/>
              <a:gd name="connsiteY2" fmla="*/ 7330 h 78943"/>
              <a:gd name="connsiteX3" fmla="*/ 97552 w 146608"/>
              <a:gd name="connsiteY3" fmla="*/ 0 h 78943"/>
              <a:gd name="connsiteX4" fmla="*/ 72741 w 146608"/>
              <a:gd name="connsiteY4" fmla="*/ 3383 h 78943"/>
              <a:gd name="connsiteX5" fmla="*/ 28194 w 146608"/>
              <a:gd name="connsiteY5" fmla="*/ 1128 h 78943"/>
              <a:gd name="connsiteX6" fmla="*/ 0 w 146608"/>
              <a:gd name="connsiteY6" fmla="*/ 11841 h 78943"/>
              <a:gd name="connsiteX7" fmla="*/ 9586 w 146608"/>
              <a:gd name="connsiteY7" fmla="*/ 40035 h 78943"/>
              <a:gd name="connsiteX8" fmla="*/ 37780 w 146608"/>
              <a:gd name="connsiteY8" fmla="*/ 46238 h 78943"/>
              <a:gd name="connsiteX9" fmla="*/ 50185 w 146608"/>
              <a:gd name="connsiteY9" fmla="*/ 51313 h 78943"/>
              <a:gd name="connsiteX10" fmla="*/ 49058 w 146608"/>
              <a:gd name="connsiteY10" fmla="*/ 60899 h 78943"/>
              <a:gd name="connsiteX11" fmla="*/ 52441 w 146608"/>
              <a:gd name="connsiteY11" fmla="*/ 69357 h 78943"/>
              <a:gd name="connsiteX12" fmla="*/ 66538 w 146608"/>
              <a:gd name="connsiteY12" fmla="*/ 72740 h 78943"/>
              <a:gd name="connsiteX13" fmla="*/ 74433 w 146608"/>
              <a:gd name="connsiteY13" fmla="*/ 83454 h 78943"/>
              <a:gd name="connsiteX14" fmla="*/ 100371 w 146608"/>
              <a:gd name="connsiteY14" fmla="*/ 83454 h 78943"/>
              <a:gd name="connsiteX15" fmla="*/ 127437 w 146608"/>
              <a:gd name="connsiteY15" fmla="*/ 71049 h 78943"/>
              <a:gd name="connsiteX16" fmla="*/ 130257 w 146608"/>
              <a:gd name="connsiteY16" fmla="*/ 51877 h 78943"/>
              <a:gd name="connsiteX17" fmla="*/ 149993 w 146608"/>
              <a:gd name="connsiteY17" fmla="*/ 40599 h 78943"/>
              <a:gd name="connsiteX18" fmla="*/ 144918 w 146608"/>
              <a:gd name="connsiteY18" fmla="*/ 25938 h 789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46608" h="78943">
                <a:moveTo>
                  <a:pt x="144918" y="25938"/>
                </a:moveTo>
                <a:lnTo>
                  <a:pt x="116724" y="9586"/>
                </a:lnTo>
                <a:lnTo>
                  <a:pt x="102627" y="7330"/>
                </a:lnTo>
                <a:lnTo>
                  <a:pt x="97552" y="0"/>
                </a:lnTo>
                <a:lnTo>
                  <a:pt x="72741" y="3383"/>
                </a:lnTo>
                <a:lnTo>
                  <a:pt x="28194" y="1128"/>
                </a:lnTo>
                <a:lnTo>
                  <a:pt x="0" y="11841"/>
                </a:lnTo>
                <a:lnTo>
                  <a:pt x="9586" y="40035"/>
                </a:lnTo>
                <a:lnTo>
                  <a:pt x="37780" y="46238"/>
                </a:lnTo>
                <a:lnTo>
                  <a:pt x="50185" y="51313"/>
                </a:lnTo>
                <a:lnTo>
                  <a:pt x="49058" y="60899"/>
                </a:lnTo>
                <a:lnTo>
                  <a:pt x="52441" y="69357"/>
                </a:lnTo>
                <a:lnTo>
                  <a:pt x="66538" y="72740"/>
                </a:lnTo>
                <a:lnTo>
                  <a:pt x="74433" y="83454"/>
                </a:lnTo>
                <a:lnTo>
                  <a:pt x="100371" y="83454"/>
                </a:lnTo>
                <a:lnTo>
                  <a:pt x="127437" y="71049"/>
                </a:lnTo>
                <a:lnTo>
                  <a:pt x="130257" y="51877"/>
                </a:lnTo>
                <a:lnTo>
                  <a:pt x="149993" y="40599"/>
                </a:lnTo>
                <a:lnTo>
                  <a:pt x="144918" y="25938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9" name="Freeform: Shape 332">
            <a:extLst>
              <a:ext uri="{FF2B5EF4-FFF2-40B4-BE49-F238E27FC236}">
                <a16:creationId xmlns:a16="http://schemas.microsoft.com/office/drawing/2014/main" id="{8385EFFA-DCD8-4EA1-A108-50A0889BD2E1}"/>
              </a:ext>
            </a:extLst>
          </p:cNvPr>
          <p:cNvSpPr/>
          <p:nvPr/>
        </p:nvSpPr>
        <p:spPr>
          <a:xfrm>
            <a:off x="5959893" y="2784162"/>
            <a:ext cx="8428" cy="16855"/>
          </a:xfrm>
          <a:custGeom>
            <a:avLst/>
            <a:gdLst>
              <a:gd name="connsiteX0" fmla="*/ 14097 w 11277"/>
              <a:gd name="connsiteY0" fmla="*/ 23119 h 22555"/>
              <a:gd name="connsiteX1" fmla="*/ 15225 w 11277"/>
              <a:gd name="connsiteY1" fmla="*/ 7894 h 22555"/>
              <a:gd name="connsiteX2" fmla="*/ 9586 w 11277"/>
              <a:gd name="connsiteY2" fmla="*/ 0 h 22555"/>
              <a:gd name="connsiteX3" fmla="*/ 2256 w 11277"/>
              <a:gd name="connsiteY3" fmla="*/ 1128 h 22555"/>
              <a:gd name="connsiteX4" fmla="*/ 0 w 11277"/>
              <a:gd name="connsiteY4" fmla="*/ 20864 h 22555"/>
              <a:gd name="connsiteX5" fmla="*/ 6203 w 11277"/>
              <a:gd name="connsiteY5" fmla="*/ 23683 h 22555"/>
              <a:gd name="connsiteX6" fmla="*/ 14097 w 11277"/>
              <a:gd name="connsiteY6" fmla="*/ 23119 h 225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277" h="22555">
                <a:moveTo>
                  <a:pt x="14097" y="23119"/>
                </a:moveTo>
                <a:lnTo>
                  <a:pt x="15225" y="7894"/>
                </a:lnTo>
                <a:lnTo>
                  <a:pt x="9586" y="0"/>
                </a:lnTo>
                <a:lnTo>
                  <a:pt x="2256" y="1128"/>
                </a:lnTo>
                <a:lnTo>
                  <a:pt x="0" y="20864"/>
                </a:lnTo>
                <a:lnTo>
                  <a:pt x="6203" y="23683"/>
                </a:lnTo>
                <a:lnTo>
                  <a:pt x="14097" y="23119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0" name="Freeform: Shape 333">
            <a:extLst>
              <a:ext uri="{FF2B5EF4-FFF2-40B4-BE49-F238E27FC236}">
                <a16:creationId xmlns:a16="http://schemas.microsoft.com/office/drawing/2014/main" id="{30D6820D-0464-4E7E-AABD-1DE9DA47041C}"/>
              </a:ext>
            </a:extLst>
          </p:cNvPr>
          <p:cNvSpPr/>
          <p:nvPr/>
        </p:nvSpPr>
        <p:spPr>
          <a:xfrm>
            <a:off x="6253594" y="2584849"/>
            <a:ext cx="139054" cy="58993"/>
          </a:xfrm>
          <a:custGeom>
            <a:avLst/>
            <a:gdLst>
              <a:gd name="connsiteX0" fmla="*/ 157323 w 186080"/>
              <a:gd name="connsiteY0" fmla="*/ 16353 h 78943"/>
              <a:gd name="connsiteX1" fmla="*/ 135896 w 186080"/>
              <a:gd name="connsiteY1" fmla="*/ 16353 h 78943"/>
              <a:gd name="connsiteX2" fmla="*/ 111085 w 186080"/>
              <a:gd name="connsiteY2" fmla="*/ 3947 h 78943"/>
              <a:gd name="connsiteX3" fmla="*/ 99243 w 186080"/>
              <a:gd name="connsiteY3" fmla="*/ 0 h 78943"/>
              <a:gd name="connsiteX4" fmla="*/ 78379 w 186080"/>
              <a:gd name="connsiteY4" fmla="*/ 5639 h 78943"/>
              <a:gd name="connsiteX5" fmla="*/ 77252 w 186080"/>
              <a:gd name="connsiteY5" fmla="*/ 31577 h 78943"/>
              <a:gd name="connsiteX6" fmla="*/ 56952 w 186080"/>
              <a:gd name="connsiteY6" fmla="*/ 32141 h 78943"/>
              <a:gd name="connsiteX7" fmla="*/ 32142 w 186080"/>
              <a:gd name="connsiteY7" fmla="*/ 6767 h 78943"/>
              <a:gd name="connsiteX8" fmla="*/ 9586 w 186080"/>
              <a:gd name="connsiteY8" fmla="*/ 18608 h 78943"/>
              <a:gd name="connsiteX9" fmla="*/ 0 w 186080"/>
              <a:gd name="connsiteY9" fmla="*/ 39472 h 78943"/>
              <a:gd name="connsiteX10" fmla="*/ 2819 w 186080"/>
              <a:gd name="connsiteY10" fmla="*/ 64846 h 78943"/>
              <a:gd name="connsiteX11" fmla="*/ 31013 w 186080"/>
              <a:gd name="connsiteY11" fmla="*/ 54133 h 78943"/>
              <a:gd name="connsiteX12" fmla="*/ 75560 w 186080"/>
              <a:gd name="connsiteY12" fmla="*/ 56388 h 78943"/>
              <a:gd name="connsiteX13" fmla="*/ 100371 w 186080"/>
              <a:gd name="connsiteY13" fmla="*/ 53005 h 78943"/>
              <a:gd name="connsiteX14" fmla="*/ 105446 w 186080"/>
              <a:gd name="connsiteY14" fmla="*/ 60335 h 78943"/>
              <a:gd name="connsiteX15" fmla="*/ 119543 w 186080"/>
              <a:gd name="connsiteY15" fmla="*/ 62591 h 78943"/>
              <a:gd name="connsiteX16" fmla="*/ 147737 w 186080"/>
              <a:gd name="connsiteY16" fmla="*/ 78943 h 78943"/>
              <a:gd name="connsiteX17" fmla="*/ 162398 w 186080"/>
              <a:gd name="connsiteY17" fmla="*/ 73304 h 78943"/>
              <a:gd name="connsiteX18" fmla="*/ 188336 w 186080"/>
              <a:gd name="connsiteY18" fmla="*/ 60335 h 78943"/>
              <a:gd name="connsiteX19" fmla="*/ 176495 w 186080"/>
              <a:gd name="connsiteY19" fmla="*/ 40036 h 78943"/>
              <a:gd name="connsiteX20" fmla="*/ 170856 w 186080"/>
              <a:gd name="connsiteY20" fmla="*/ 24247 h 78943"/>
              <a:gd name="connsiteX21" fmla="*/ 157323 w 186080"/>
              <a:gd name="connsiteY21" fmla="*/ 16353 h 789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86080" h="78943">
                <a:moveTo>
                  <a:pt x="157323" y="16353"/>
                </a:moveTo>
                <a:lnTo>
                  <a:pt x="135896" y="16353"/>
                </a:lnTo>
                <a:lnTo>
                  <a:pt x="111085" y="3947"/>
                </a:lnTo>
                <a:lnTo>
                  <a:pt x="99243" y="0"/>
                </a:lnTo>
                <a:lnTo>
                  <a:pt x="78379" y="5639"/>
                </a:lnTo>
                <a:lnTo>
                  <a:pt x="77252" y="31577"/>
                </a:lnTo>
                <a:lnTo>
                  <a:pt x="56952" y="32141"/>
                </a:lnTo>
                <a:lnTo>
                  <a:pt x="32142" y="6767"/>
                </a:lnTo>
                <a:lnTo>
                  <a:pt x="9586" y="18608"/>
                </a:lnTo>
                <a:lnTo>
                  <a:pt x="0" y="39472"/>
                </a:lnTo>
                <a:lnTo>
                  <a:pt x="2819" y="64846"/>
                </a:lnTo>
                <a:lnTo>
                  <a:pt x="31013" y="54133"/>
                </a:lnTo>
                <a:lnTo>
                  <a:pt x="75560" y="56388"/>
                </a:lnTo>
                <a:lnTo>
                  <a:pt x="100371" y="53005"/>
                </a:lnTo>
                <a:lnTo>
                  <a:pt x="105446" y="60335"/>
                </a:lnTo>
                <a:lnTo>
                  <a:pt x="119543" y="62591"/>
                </a:lnTo>
                <a:lnTo>
                  <a:pt x="147737" y="78943"/>
                </a:lnTo>
                <a:lnTo>
                  <a:pt x="162398" y="73304"/>
                </a:lnTo>
                <a:lnTo>
                  <a:pt x="188336" y="60335"/>
                </a:lnTo>
                <a:lnTo>
                  <a:pt x="176495" y="40036"/>
                </a:lnTo>
                <a:lnTo>
                  <a:pt x="170856" y="24247"/>
                </a:lnTo>
                <a:lnTo>
                  <a:pt x="157323" y="16353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1" name="Freeform: Shape 334">
            <a:extLst>
              <a:ext uri="{FF2B5EF4-FFF2-40B4-BE49-F238E27FC236}">
                <a16:creationId xmlns:a16="http://schemas.microsoft.com/office/drawing/2014/main" id="{BF6A2DCF-5D29-4FB3-A9BA-1E89A230E27E}"/>
              </a:ext>
            </a:extLst>
          </p:cNvPr>
          <p:cNvSpPr/>
          <p:nvPr/>
        </p:nvSpPr>
        <p:spPr>
          <a:xfrm>
            <a:off x="5447917" y="3163824"/>
            <a:ext cx="366600" cy="383455"/>
          </a:xfrm>
          <a:custGeom>
            <a:avLst/>
            <a:gdLst>
              <a:gd name="connsiteX0" fmla="*/ 463509 w 490575"/>
              <a:gd name="connsiteY0" fmla="*/ 21427 h 513130"/>
              <a:gd name="connsiteX1" fmla="*/ 450540 w 490575"/>
              <a:gd name="connsiteY1" fmla="*/ 20863 h 513130"/>
              <a:gd name="connsiteX2" fmla="*/ 419527 w 490575"/>
              <a:gd name="connsiteY2" fmla="*/ 12969 h 513130"/>
              <a:gd name="connsiteX3" fmla="*/ 391333 w 490575"/>
              <a:gd name="connsiteY3" fmla="*/ 15225 h 513130"/>
              <a:gd name="connsiteX4" fmla="*/ 373852 w 490575"/>
              <a:gd name="connsiteY4" fmla="*/ 0 h 513130"/>
              <a:gd name="connsiteX5" fmla="*/ 351861 w 490575"/>
              <a:gd name="connsiteY5" fmla="*/ 0 h 513130"/>
              <a:gd name="connsiteX6" fmla="*/ 341711 w 490575"/>
              <a:gd name="connsiteY6" fmla="*/ 21991 h 513130"/>
              <a:gd name="connsiteX7" fmla="*/ 320848 w 490575"/>
              <a:gd name="connsiteY7" fmla="*/ 59771 h 513130"/>
              <a:gd name="connsiteX8" fmla="*/ 298293 w 490575"/>
              <a:gd name="connsiteY8" fmla="*/ 74432 h 513130"/>
              <a:gd name="connsiteX9" fmla="*/ 267843 w 490575"/>
              <a:gd name="connsiteY9" fmla="*/ 90785 h 513130"/>
              <a:gd name="connsiteX10" fmla="*/ 248107 w 490575"/>
              <a:gd name="connsiteY10" fmla="*/ 115031 h 513130"/>
              <a:gd name="connsiteX11" fmla="*/ 243032 w 490575"/>
              <a:gd name="connsiteY11" fmla="*/ 134203 h 513130"/>
              <a:gd name="connsiteX12" fmla="*/ 231191 w 490575"/>
              <a:gd name="connsiteY12" fmla="*/ 164653 h 513130"/>
              <a:gd name="connsiteX13" fmla="*/ 237393 w 490575"/>
              <a:gd name="connsiteY13" fmla="*/ 209200 h 513130"/>
              <a:gd name="connsiteX14" fmla="*/ 210891 w 490575"/>
              <a:gd name="connsiteY14" fmla="*/ 239085 h 513130"/>
              <a:gd name="connsiteX15" fmla="*/ 195666 w 490575"/>
              <a:gd name="connsiteY15" fmla="*/ 248671 h 513130"/>
              <a:gd name="connsiteX16" fmla="*/ 170856 w 490575"/>
              <a:gd name="connsiteY16" fmla="*/ 273482 h 513130"/>
              <a:gd name="connsiteX17" fmla="*/ 142098 w 490575"/>
              <a:gd name="connsiteY17" fmla="*/ 277429 h 513130"/>
              <a:gd name="connsiteX18" fmla="*/ 126309 w 490575"/>
              <a:gd name="connsiteY18" fmla="*/ 290962 h 513130"/>
              <a:gd name="connsiteX19" fmla="*/ 125745 w 490575"/>
              <a:gd name="connsiteY19" fmla="*/ 291526 h 513130"/>
              <a:gd name="connsiteX20" fmla="*/ 105446 w 490575"/>
              <a:gd name="connsiteY20" fmla="*/ 328178 h 513130"/>
              <a:gd name="connsiteX21" fmla="*/ 84582 w 490575"/>
              <a:gd name="connsiteY21" fmla="*/ 341147 h 513130"/>
              <a:gd name="connsiteX22" fmla="*/ 72741 w 490575"/>
              <a:gd name="connsiteY22" fmla="*/ 363703 h 513130"/>
              <a:gd name="connsiteX23" fmla="*/ 71613 w 490575"/>
              <a:gd name="connsiteY23" fmla="*/ 382311 h 513130"/>
              <a:gd name="connsiteX24" fmla="*/ 62591 w 490575"/>
              <a:gd name="connsiteY24" fmla="*/ 403738 h 513130"/>
              <a:gd name="connsiteX25" fmla="*/ 51877 w 490575"/>
              <a:gd name="connsiteY25" fmla="*/ 409377 h 513130"/>
              <a:gd name="connsiteX26" fmla="*/ 34397 w 490575"/>
              <a:gd name="connsiteY26" fmla="*/ 431932 h 513130"/>
              <a:gd name="connsiteX27" fmla="*/ 23119 w 490575"/>
              <a:gd name="connsiteY27" fmla="*/ 457307 h 513130"/>
              <a:gd name="connsiteX28" fmla="*/ 24811 w 490575"/>
              <a:gd name="connsiteY28" fmla="*/ 469712 h 513130"/>
              <a:gd name="connsiteX29" fmla="*/ 14097 w 490575"/>
              <a:gd name="connsiteY29" fmla="*/ 488320 h 513130"/>
              <a:gd name="connsiteX30" fmla="*/ 1692 w 490575"/>
              <a:gd name="connsiteY30" fmla="*/ 497906 h 513130"/>
              <a:gd name="connsiteX31" fmla="*/ 0 w 490575"/>
              <a:gd name="connsiteY31" fmla="*/ 514822 h 513130"/>
              <a:gd name="connsiteX32" fmla="*/ 564 w 490575"/>
              <a:gd name="connsiteY32" fmla="*/ 514822 h 513130"/>
              <a:gd name="connsiteX33" fmla="*/ 70485 w 490575"/>
              <a:gd name="connsiteY33" fmla="*/ 512003 h 513130"/>
              <a:gd name="connsiteX34" fmla="*/ 74432 w 490575"/>
              <a:gd name="connsiteY34" fmla="*/ 499034 h 513130"/>
              <a:gd name="connsiteX35" fmla="*/ 87401 w 490575"/>
              <a:gd name="connsiteY35" fmla="*/ 482681 h 513130"/>
              <a:gd name="connsiteX36" fmla="*/ 98679 w 490575"/>
              <a:gd name="connsiteY36" fmla="*/ 433060 h 513130"/>
              <a:gd name="connsiteX37" fmla="*/ 142662 w 490575"/>
              <a:gd name="connsiteY37" fmla="*/ 394716 h 513130"/>
              <a:gd name="connsiteX38" fmla="*/ 158450 w 490575"/>
              <a:gd name="connsiteY38" fmla="*/ 349042 h 513130"/>
              <a:gd name="connsiteX39" fmla="*/ 168036 w 490575"/>
              <a:gd name="connsiteY39" fmla="*/ 346786 h 513130"/>
              <a:gd name="connsiteX40" fmla="*/ 178750 w 490575"/>
              <a:gd name="connsiteY40" fmla="*/ 318592 h 513130"/>
              <a:gd name="connsiteX41" fmla="*/ 204688 w 490575"/>
              <a:gd name="connsiteY41" fmla="*/ 314645 h 513130"/>
              <a:gd name="connsiteX42" fmla="*/ 215402 w 490575"/>
              <a:gd name="connsiteY42" fmla="*/ 319720 h 513130"/>
              <a:gd name="connsiteX43" fmla="*/ 229499 w 490575"/>
              <a:gd name="connsiteY43" fmla="*/ 319720 h 513130"/>
              <a:gd name="connsiteX44" fmla="*/ 239649 w 490575"/>
              <a:gd name="connsiteY44" fmla="*/ 311262 h 513130"/>
              <a:gd name="connsiteX45" fmla="*/ 258821 w 490575"/>
              <a:gd name="connsiteY45" fmla="*/ 310134 h 513130"/>
              <a:gd name="connsiteX46" fmla="*/ 258257 w 490575"/>
              <a:gd name="connsiteY46" fmla="*/ 290962 h 513130"/>
              <a:gd name="connsiteX47" fmla="*/ 258257 w 490575"/>
              <a:gd name="connsiteY47" fmla="*/ 290962 h 513130"/>
              <a:gd name="connsiteX48" fmla="*/ 262768 w 490575"/>
              <a:gd name="connsiteY48" fmla="*/ 290962 h 513130"/>
              <a:gd name="connsiteX49" fmla="*/ 263332 w 490575"/>
              <a:gd name="connsiteY49" fmla="*/ 248671 h 513130"/>
              <a:gd name="connsiteX50" fmla="*/ 313517 w 490575"/>
              <a:gd name="connsiteY50" fmla="*/ 222169 h 513130"/>
              <a:gd name="connsiteX51" fmla="*/ 343967 w 490575"/>
              <a:gd name="connsiteY51" fmla="*/ 216530 h 513130"/>
              <a:gd name="connsiteX52" fmla="*/ 368778 w 490575"/>
              <a:gd name="connsiteY52" fmla="*/ 206944 h 513130"/>
              <a:gd name="connsiteX53" fmla="*/ 380619 w 490575"/>
              <a:gd name="connsiteY53" fmla="*/ 188900 h 513130"/>
              <a:gd name="connsiteX54" fmla="*/ 416143 w 490575"/>
              <a:gd name="connsiteY54" fmla="*/ 174803 h 513130"/>
              <a:gd name="connsiteX55" fmla="*/ 417835 w 490575"/>
              <a:gd name="connsiteY55" fmla="*/ 148300 h 513130"/>
              <a:gd name="connsiteX56" fmla="*/ 435315 w 490575"/>
              <a:gd name="connsiteY56" fmla="*/ 145481 h 513130"/>
              <a:gd name="connsiteX57" fmla="*/ 449412 w 490575"/>
              <a:gd name="connsiteY57" fmla="*/ 131948 h 513130"/>
              <a:gd name="connsiteX58" fmla="*/ 488884 w 490575"/>
              <a:gd name="connsiteY58" fmla="*/ 126309 h 513130"/>
              <a:gd name="connsiteX59" fmla="*/ 494523 w 490575"/>
              <a:gd name="connsiteY59" fmla="*/ 112212 h 513130"/>
              <a:gd name="connsiteX60" fmla="*/ 486628 w 490575"/>
              <a:gd name="connsiteY60" fmla="*/ 104318 h 513130"/>
              <a:gd name="connsiteX61" fmla="*/ 476479 w 490575"/>
              <a:gd name="connsiteY61" fmla="*/ 66538 h 513130"/>
              <a:gd name="connsiteX62" fmla="*/ 474787 w 490575"/>
              <a:gd name="connsiteY62" fmla="*/ 44546 h 513130"/>
              <a:gd name="connsiteX63" fmla="*/ 463509 w 490575"/>
              <a:gd name="connsiteY63" fmla="*/ 21427 h 5131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</a:cxnLst>
            <a:rect l="l" t="t" r="r" b="b"/>
            <a:pathLst>
              <a:path w="490575" h="513130">
                <a:moveTo>
                  <a:pt x="463509" y="21427"/>
                </a:moveTo>
                <a:lnTo>
                  <a:pt x="450540" y="20863"/>
                </a:lnTo>
                <a:lnTo>
                  <a:pt x="419527" y="12969"/>
                </a:lnTo>
                <a:lnTo>
                  <a:pt x="391333" y="15225"/>
                </a:lnTo>
                <a:lnTo>
                  <a:pt x="373852" y="0"/>
                </a:lnTo>
                <a:lnTo>
                  <a:pt x="351861" y="0"/>
                </a:lnTo>
                <a:lnTo>
                  <a:pt x="341711" y="21991"/>
                </a:lnTo>
                <a:lnTo>
                  <a:pt x="320848" y="59771"/>
                </a:lnTo>
                <a:lnTo>
                  <a:pt x="298293" y="74432"/>
                </a:lnTo>
                <a:lnTo>
                  <a:pt x="267843" y="90785"/>
                </a:lnTo>
                <a:lnTo>
                  <a:pt x="248107" y="115031"/>
                </a:lnTo>
                <a:lnTo>
                  <a:pt x="243032" y="134203"/>
                </a:lnTo>
                <a:lnTo>
                  <a:pt x="231191" y="164653"/>
                </a:lnTo>
                <a:lnTo>
                  <a:pt x="237393" y="209200"/>
                </a:lnTo>
                <a:lnTo>
                  <a:pt x="210891" y="239085"/>
                </a:lnTo>
                <a:lnTo>
                  <a:pt x="195666" y="248671"/>
                </a:lnTo>
                <a:lnTo>
                  <a:pt x="170856" y="273482"/>
                </a:lnTo>
                <a:lnTo>
                  <a:pt x="142098" y="277429"/>
                </a:lnTo>
                <a:lnTo>
                  <a:pt x="126309" y="290962"/>
                </a:lnTo>
                <a:lnTo>
                  <a:pt x="125745" y="291526"/>
                </a:lnTo>
                <a:lnTo>
                  <a:pt x="105446" y="328178"/>
                </a:lnTo>
                <a:lnTo>
                  <a:pt x="84582" y="341147"/>
                </a:lnTo>
                <a:lnTo>
                  <a:pt x="72741" y="363703"/>
                </a:lnTo>
                <a:lnTo>
                  <a:pt x="71613" y="382311"/>
                </a:lnTo>
                <a:lnTo>
                  <a:pt x="62591" y="403738"/>
                </a:lnTo>
                <a:lnTo>
                  <a:pt x="51877" y="409377"/>
                </a:lnTo>
                <a:lnTo>
                  <a:pt x="34397" y="431932"/>
                </a:lnTo>
                <a:lnTo>
                  <a:pt x="23119" y="457307"/>
                </a:lnTo>
                <a:lnTo>
                  <a:pt x="24811" y="469712"/>
                </a:lnTo>
                <a:lnTo>
                  <a:pt x="14097" y="488320"/>
                </a:lnTo>
                <a:lnTo>
                  <a:pt x="1692" y="497906"/>
                </a:lnTo>
                <a:lnTo>
                  <a:pt x="0" y="514822"/>
                </a:lnTo>
                <a:lnTo>
                  <a:pt x="564" y="514822"/>
                </a:lnTo>
                <a:lnTo>
                  <a:pt x="70485" y="512003"/>
                </a:lnTo>
                <a:lnTo>
                  <a:pt x="74432" y="499034"/>
                </a:lnTo>
                <a:lnTo>
                  <a:pt x="87401" y="482681"/>
                </a:lnTo>
                <a:lnTo>
                  <a:pt x="98679" y="433060"/>
                </a:lnTo>
                <a:lnTo>
                  <a:pt x="142662" y="394716"/>
                </a:lnTo>
                <a:lnTo>
                  <a:pt x="158450" y="349042"/>
                </a:lnTo>
                <a:lnTo>
                  <a:pt x="168036" y="346786"/>
                </a:lnTo>
                <a:lnTo>
                  <a:pt x="178750" y="318592"/>
                </a:lnTo>
                <a:lnTo>
                  <a:pt x="204688" y="314645"/>
                </a:lnTo>
                <a:lnTo>
                  <a:pt x="215402" y="319720"/>
                </a:lnTo>
                <a:lnTo>
                  <a:pt x="229499" y="319720"/>
                </a:lnTo>
                <a:lnTo>
                  <a:pt x="239649" y="311262"/>
                </a:lnTo>
                <a:lnTo>
                  <a:pt x="258821" y="310134"/>
                </a:lnTo>
                <a:lnTo>
                  <a:pt x="258257" y="290962"/>
                </a:lnTo>
                <a:lnTo>
                  <a:pt x="258257" y="290962"/>
                </a:lnTo>
                <a:lnTo>
                  <a:pt x="262768" y="290962"/>
                </a:lnTo>
                <a:lnTo>
                  <a:pt x="263332" y="248671"/>
                </a:lnTo>
                <a:lnTo>
                  <a:pt x="313517" y="222169"/>
                </a:lnTo>
                <a:lnTo>
                  <a:pt x="343967" y="216530"/>
                </a:lnTo>
                <a:lnTo>
                  <a:pt x="368778" y="206944"/>
                </a:lnTo>
                <a:lnTo>
                  <a:pt x="380619" y="188900"/>
                </a:lnTo>
                <a:lnTo>
                  <a:pt x="416143" y="174803"/>
                </a:lnTo>
                <a:lnTo>
                  <a:pt x="417835" y="148300"/>
                </a:lnTo>
                <a:lnTo>
                  <a:pt x="435315" y="145481"/>
                </a:lnTo>
                <a:lnTo>
                  <a:pt x="449412" y="131948"/>
                </a:lnTo>
                <a:lnTo>
                  <a:pt x="488884" y="126309"/>
                </a:lnTo>
                <a:lnTo>
                  <a:pt x="494523" y="112212"/>
                </a:lnTo>
                <a:lnTo>
                  <a:pt x="486628" y="104318"/>
                </a:lnTo>
                <a:lnTo>
                  <a:pt x="476479" y="66538"/>
                </a:lnTo>
                <a:lnTo>
                  <a:pt x="474787" y="44546"/>
                </a:lnTo>
                <a:lnTo>
                  <a:pt x="463509" y="21427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2" name="Freeform: Shape 335">
            <a:extLst>
              <a:ext uri="{FF2B5EF4-FFF2-40B4-BE49-F238E27FC236}">
                <a16:creationId xmlns:a16="http://schemas.microsoft.com/office/drawing/2014/main" id="{1AE5EB1E-4948-4365-88A8-840D99B03E27}"/>
              </a:ext>
            </a:extLst>
          </p:cNvPr>
          <p:cNvSpPr/>
          <p:nvPr/>
        </p:nvSpPr>
        <p:spPr>
          <a:xfrm>
            <a:off x="6396441" y="2827564"/>
            <a:ext cx="75848" cy="75848"/>
          </a:xfrm>
          <a:custGeom>
            <a:avLst/>
            <a:gdLst>
              <a:gd name="connsiteX0" fmla="*/ 58644 w 101498"/>
              <a:gd name="connsiteY0" fmla="*/ 104318 h 101498"/>
              <a:gd name="connsiteX1" fmla="*/ 65410 w 101498"/>
              <a:gd name="connsiteY1" fmla="*/ 100371 h 101498"/>
              <a:gd name="connsiteX2" fmla="*/ 68229 w 101498"/>
              <a:gd name="connsiteY2" fmla="*/ 88529 h 101498"/>
              <a:gd name="connsiteX3" fmla="*/ 74433 w 101498"/>
              <a:gd name="connsiteY3" fmla="*/ 77252 h 101498"/>
              <a:gd name="connsiteX4" fmla="*/ 71613 w 101498"/>
              <a:gd name="connsiteY4" fmla="*/ 71049 h 101498"/>
              <a:gd name="connsiteX5" fmla="*/ 77252 w 101498"/>
              <a:gd name="connsiteY5" fmla="*/ 68230 h 101498"/>
              <a:gd name="connsiteX6" fmla="*/ 80635 w 101498"/>
              <a:gd name="connsiteY6" fmla="*/ 73304 h 101498"/>
              <a:gd name="connsiteX7" fmla="*/ 97552 w 101498"/>
              <a:gd name="connsiteY7" fmla="*/ 74432 h 101498"/>
              <a:gd name="connsiteX8" fmla="*/ 104318 w 101498"/>
              <a:gd name="connsiteY8" fmla="*/ 71613 h 101498"/>
              <a:gd name="connsiteX9" fmla="*/ 98679 w 101498"/>
              <a:gd name="connsiteY9" fmla="*/ 68230 h 101498"/>
              <a:gd name="connsiteX10" fmla="*/ 99807 w 101498"/>
              <a:gd name="connsiteY10" fmla="*/ 62591 h 101498"/>
              <a:gd name="connsiteX11" fmla="*/ 88530 w 101498"/>
              <a:gd name="connsiteY11" fmla="*/ 54133 h 101498"/>
              <a:gd name="connsiteX12" fmla="*/ 82326 w 101498"/>
              <a:gd name="connsiteY12" fmla="*/ 39472 h 101498"/>
              <a:gd name="connsiteX13" fmla="*/ 71613 w 101498"/>
              <a:gd name="connsiteY13" fmla="*/ 33269 h 101498"/>
              <a:gd name="connsiteX14" fmla="*/ 71613 w 101498"/>
              <a:gd name="connsiteY14" fmla="*/ 21428 h 101498"/>
              <a:gd name="connsiteX15" fmla="*/ 57516 w 101498"/>
              <a:gd name="connsiteY15" fmla="*/ 12405 h 101498"/>
              <a:gd name="connsiteX16" fmla="*/ 46239 w 101498"/>
              <a:gd name="connsiteY16" fmla="*/ 10714 h 101498"/>
              <a:gd name="connsiteX17" fmla="*/ 24247 w 101498"/>
              <a:gd name="connsiteY17" fmla="*/ 0 h 101498"/>
              <a:gd name="connsiteX18" fmla="*/ 6203 w 101498"/>
              <a:gd name="connsiteY18" fmla="*/ 3383 h 101498"/>
              <a:gd name="connsiteX19" fmla="*/ 0 w 101498"/>
              <a:gd name="connsiteY19" fmla="*/ 8458 h 101498"/>
              <a:gd name="connsiteX20" fmla="*/ 9022 w 101498"/>
              <a:gd name="connsiteY20" fmla="*/ 11842 h 101498"/>
              <a:gd name="connsiteX21" fmla="*/ 19172 w 101498"/>
              <a:gd name="connsiteY21" fmla="*/ 22555 h 101498"/>
              <a:gd name="connsiteX22" fmla="*/ 29886 w 101498"/>
              <a:gd name="connsiteY22" fmla="*/ 37216 h 101498"/>
              <a:gd name="connsiteX23" fmla="*/ 49058 w 101498"/>
              <a:gd name="connsiteY23" fmla="*/ 58080 h 101498"/>
              <a:gd name="connsiteX24" fmla="*/ 52441 w 101498"/>
              <a:gd name="connsiteY24" fmla="*/ 73304 h 101498"/>
              <a:gd name="connsiteX25" fmla="*/ 51313 w 101498"/>
              <a:gd name="connsiteY25" fmla="*/ 88529 h 101498"/>
              <a:gd name="connsiteX26" fmla="*/ 58644 w 101498"/>
              <a:gd name="connsiteY26" fmla="*/ 104318 h 101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101498" h="101498">
                <a:moveTo>
                  <a:pt x="58644" y="104318"/>
                </a:moveTo>
                <a:lnTo>
                  <a:pt x="65410" y="100371"/>
                </a:lnTo>
                <a:lnTo>
                  <a:pt x="68229" y="88529"/>
                </a:lnTo>
                <a:lnTo>
                  <a:pt x="74433" y="77252"/>
                </a:lnTo>
                <a:lnTo>
                  <a:pt x="71613" y="71049"/>
                </a:lnTo>
                <a:lnTo>
                  <a:pt x="77252" y="68230"/>
                </a:lnTo>
                <a:lnTo>
                  <a:pt x="80635" y="73304"/>
                </a:lnTo>
                <a:lnTo>
                  <a:pt x="97552" y="74432"/>
                </a:lnTo>
                <a:lnTo>
                  <a:pt x="104318" y="71613"/>
                </a:lnTo>
                <a:lnTo>
                  <a:pt x="98679" y="68230"/>
                </a:lnTo>
                <a:lnTo>
                  <a:pt x="99807" y="62591"/>
                </a:lnTo>
                <a:lnTo>
                  <a:pt x="88530" y="54133"/>
                </a:lnTo>
                <a:lnTo>
                  <a:pt x="82326" y="39472"/>
                </a:lnTo>
                <a:lnTo>
                  <a:pt x="71613" y="33269"/>
                </a:lnTo>
                <a:lnTo>
                  <a:pt x="71613" y="21428"/>
                </a:lnTo>
                <a:lnTo>
                  <a:pt x="57516" y="12405"/>
                </a:lnTo>
                <a:lnTo>
                  <a:pt x="46239" y="10714"/>
                </a:lnTo>
                <a:lnTo>
                  <a:pt x="24247" y="0"/>
                </a:lnTo>
                <a:lnTo>
                  <a:pt x="6203" y="3383"/>
                </a:lnTo>
                <a:lnTo>
                  <a:pt x="0" y="8458"/>
                </a:lnTo>
                <a:lnTo>
                  <a:pt x="9022" y="11842"/>
                </a:lnTo>
                <a:lnTo>
                  <a:pt x="19172" y="22555"/>
                </a:lnTo>
                <a:lnTo>
                  <a:pt x="29886" y="37216"/>
                </a:lnTo>
                <a:lnTo>
                  <a:pt x="49058" y="58080"/>
                </a:lnTo>
                <a:lnTo>
                  <a:pt x="52441" y="73304"/>
                </a:lnTo>
                <a:lnTo>
                  <a:pt x="51313" y="88529"/>
                </a:lnTo>
                <a:lnTo>
                  <a:pt x="58644" y="104318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3" name="Freeform: Shape 336">
            <a:extLst>
              <a:ext uri="{FF2B5EF4-FFF2-40B4-BE49-F238E27FC236}">
                <a16:creationId xmlns:a16="http://schemas.microsoft.com/office/drawing/2014/main" id="{79AC69E1-0984-412A-AC98-22FC179F1DC6}"/>
              </a:ext>
            </a:extLst>
          </p:cNvPr>
          <p:cNvSpPr/>
          <p:nvPr/>
        </p:nvSpPr>
        <p:spPr>
          <a:xfrm>
            <a:off x="6845209" y="4445659"/>
            <a:ext cx="176979" cy="362386"/>
          </a:xfrm>
          <a:custGeom>
            <a:avLst/>
            <a:gdLst>
              <a:gd name="connsiteX0" fmla="*/ 231755 w 236829"/>
              <a:gd name="connsiteY0" fmla="*/ 54133 h 484936"/>
              <a:gd name="connsiteX1" fmla="*/ 225552 w 236829"/>
              <a:gd name="connsiteY1" fmla="*/ 30450 h 484936"/>
              <a:gd name="connsiteX2" fmla="*/ 217658 w 236829"/>
              <a:gd name="connsiteY2" fmla="*/ 15225 h 484936"/>
              <a:gd name="connsiteX3" fmla="*/ 207508 w 236829"/>
              <a:gd name="connsiteY3" fmla="*/ 0 h 484936"/>
              <a:gd name="connsiteX4" fmla="*/ 196231 w 236829"/>
              <a:gd name="connsiteY4" fmla="*/ 15789 h 484936"/>
              <a:gd name="connsiteX5" fmla="*/ 194539 w 236829"/>
              <a:gd name="connsiteY5" fmla="*/ 37216 h 484936"/>
              <a:gd name="connsiteX6" fmla="*/ 175931 w 236829"/>
              <a:gd name="connsiteY6" fmla="*/ 62591 h 484936"/>
              <a:gd name="connsiteX7" fmla="*/ 162961 w 236829"/>
              <a:gd name="connsiteY7" fmla="*/ 58080 h 484936"/>
              <a:gd name="connsiteX8" fmla="*/ 166345 w 236829"/>
              <a:gd name="connsiteY8" fmla="*/ 73304 h 484936"/>
              <a:gd name="connsiteX9" fmla="*/ 156195 w 236829"/>
              <a:gd name="connsiteY9" fmla="*/ 91349 h 484936"/>
              <a:gd name="connsiteX10" fmla="*/ 129129 w 236829"/>
              <a:gd name="connsiteY10" fmla="*/ 113340 h 484936"/>
              <a:gd name="connsiteX11" fmla="*/ 109957 w 236829"/>
              <a:gd name="connsiteY11" fmla="*/ 134203 h 484936"/>
              <a:gd name="connsiteX12" fmla="*/ 96423 w 236829"/>
              <a:gd name="connsiteY12" fmla="*/ 134203 h 484936"/>
              <a:gd name="connsiteX13" fmla="*/ 84018 w 236829"/>
              <a:gd name="connsiteY13" fmla="*/ 140970 h 484936"/>
              <a:gd name="connsiteX14" fmla="*/ 66538 w 236829"/>
              <a:gd name="connsiteY14" fmla="*/ 148300 h 484936"/>
              <a:gd name="connsiteX15" fmla="*/ 50749 w 236829"/>
              <a:gd name="connsiteY15" fmla="*/ 149428 h 484936"/>
              <a:gd name="connsiteX16" fmla="*/ 45110 w 236829"/>
              <a:gd name="connsiteY16" fmla="*/ 172548 h 484936"/>
              <a:gd name="connsiteX17" fmla="*/ 32705 w 236829"/>
              <a:gd name="connsiteY17" fmla="*/ 192283 h 484936"/>
              <a:gd name="connsiteX18" fmla="*/ 33269 w 236829"/>
              <a:gd name="connsiteY18" fmla="*/ 225552 h 484936"/>
              <a:gd name="connsiteX19" fmla="*/ 37780 w 236829"/>
              <a:gd name="connsiteY19" fmla="*/ 248107 h 484936"/>
              <a:gd name="connsiteX20" fmla="*/ 43983 w 236829"/>
              <a:gd name="connsiteY20" fmla="*/ 265024 h 484936"/>
              <a:gd name="connsiteX21" fmla="*/ 39472 w 236829"/>
              <a:gd name="connsiteY21" fmla="*/ 288143 h 484936"/>
              <a:gd name="connsiteX22" fmla="*/ 23119 w 236829"/>
              <a:gd name="connsiteY22" fmla="*/ 315209 h 484936"/>
              <a:gd name="connsiteX23" fmla="*/ 21991 w 236829"/>
              <a:gd name="connsiteY23" fmla="*/ 327050 h 484936"/>
              <a:gd name="connsiteX24" fmla="*/ 7331 w 236829"/>
              <a:gd name="connsiteY24" fmla="*/ 333253 h 484936"/>
              <a:gd name="connsiteX25" fmla="*/ 0 w 236829"/>
              <a:gd name="connsiteY25" fmla="*/ 359192 h 484936"/>
              <a:gd name="connsiteX26" fmla="*/ 1128 w 236829"/>
              <a:gd name="connsiteY26" fmla="*/ 385130 h 484936"/>
              <a:gd name="connsiteX27" fmla="*/ 10150 w 236829"/>
              <a:gd name="connsiteY27" fmla="*/ 413324 h 484936"/>
              <a:gd name="connsiteX28" fmla="*/ 9586 w 236829"/>
              <a:gd name="connsiteY28" fmla="*/ 445465 h 484936"/>
              <a:gd name="connsiteX29" fmla="*/ 16353 w 236829"/>
              <a:gd name="connsiteY29" fmla="*/ 464073 h 484936"/>
              <a:gd name="connsiteX30" fmla="*/ 40035 w 236829"/>
              <a:gd name="connsiteY30" fmla="*/ 477043 h 484936"/>
              <a:gd name="connsiteX31" fmla="*/ 56952 w 236829"/>
              <a:gd name="connsiteY31" fmla="*/ 486628 h 484936"/>
              <a:gd name="connsiteX32" fmla="*/ 85146 w 236829"/>
              <a:gd name="connsiteY32" fmla="*/ 471404 h 484936"/>
              <a:gd name="connsiteX33" fmla="*/ 111085 w 236829"/>
              <a:gd name="connsiteY33" fmla="*/ 462946 h 484936"/>
              <a:gd name="connsiteX34" fmla="*/ 128565 w 236829"/>
              <a:gd name="connsiteY34" fmla="*/ 421218 h 484936"/>
              <a:gd name="connsiteX35" fmla="*/ 144353 w 236829"/>
              <a:gd name="connsiteY35" fmla="*/ 371033 h 484936"/>
              <a:gd name="connsiteX36" fmla="*/ 168600 w 236829"/>
              <a:gd name="connsiteY36" fmla="*/ 303367 h 484936"/>
              <a:gd name="connsiteX37" fmla="*/ 187209 w 236829"/>
              <a:gd name="connsiteY37" fmla="*/ 253746 h 484936"/>
              <a:gd name="connsiteX38" fmla="*/ 202433 w 236829"/>
              <a:gd name="connsiteY38" fmla="*/ 212019 h 484936"/>
              <a:gd name="connsiteX39" fmla="*/ 206944 w 236829"/>
              <a:gd name="connsiteY39" fmla="*/ 181569 h 484936"/>
              <a:gd name="connsiteX40" fmla="*/ 215966 w 236829"/>
              <a:gd name="connsiteY40" fmla="*/ 173111 h 484936"/>
              <a:gd name="connsiteX41" fmla="*/ 219913 w 236829"/>
              <a:gd name="connsiteY41" fmla="*/ 157886 h 484936"/>
              <a:gd name="connsiteX42" fmla="*/ 215403 w 236829"/>
              <a:gd name="connsiteY42" fmla="*/ 131384 h 484936"/>
              <a:gd name="connsiteX43" fmla="*/ 222169 w 236829"/>
              <a:gd name="connsiteY43" fmla="*/ 120670 h 484936"/>
              <a:gd name="connsiteX44" fmla="*/ 231191 w 236829"/>
              <a:gd name="connsiteY44" fmla="*/ 142098 h 484936"/>
              <a:gd name="connsiteX45" fmla="*/ 237393 w 236829"/>
              <a:gd name="connsiteY45" fmla="*/ 131384 h 484936"/>
              <a:gd name="connsiteX46" fmla="*/ 241905 w 236829"/>
              <a:gd name="connsiteY46" fmla="*/ 113904 h 484936"/>
              <a:gd name="connsiteX47" fmla="*/ 234574 w 236829"/>
              <a:gd name="connsiteY47" fmla="*/ 97551 h 484936"/>
              <a:gd name="connsiteX48" fmla="*/ 231755 w 236829"/>
              <a:gd name="connsiteY48" fmla="*/ 54133 h 4849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236829" h="484936">
                <a:moveTo>
                  <a:pt x="231755" y="54133"/>
                </a:moveTo>
                <a:lnTo>
                  <a:pt x="225552" y="30450"/>
                </a:lnTo>
                <a:lnTo>
                  <a:pt x="217658" y="15225"/>
                </a:lnTo>
                <a:lnTo>
                  <a:pt x="207508" y="0"/>
                </a:lnTo>
                <a:lnTo>
                  <a:pt x="196231" y="15789"/>
                </a:lnTo>
                <a:lnTo>
                  <a:pt x="194539" y="37216"/>
                </a:lnTo>
                <a:lnTo>
                  <a:pt x="175931" y="62591"/>
                </a:lnTo>
                <a:lnTo>
                  <a:pt x="162961" y="58080"/>
                </a:lnTo>
                <a:lnTo>
                  <a:pt x="166345" y="73304"/>
                </a:lnTo>
                <a:lnTo>
                  <a:pt x="156195" y="91349"/>
                </a:lnTo>
                <a:lnTo>
                  <a:pt x="129129" y="113340"/>
                </a:lnTo>
                <a:lnTo>
                  <a:pt x="109957" y="134203"/>
                </a:lnTo>
                <a:lnTo>
                  <a:pt x="96423" y="134203"/>
                </a:lnTo>
                <a:lnTo>
                  <a:pt x="84018" y="140970"/>
                </a:lnTo>
                <a:lnTo>
                  <a:pt x="66538" y="148300"/>
                </a:lnTo>
                <a:lnTo>
                  <a:pt x="50749" y="149428"/>
                </a:lnTo>
                <a:lnTo>
                  <a:pt x="45110" y="172548"/>
                </a:lnTo>
                <a:lnTo>
                  <a:pt x="32705" y="192283"/>
                </a:lnTo>
                <a:lnTo>
                  <a:pt x="33269" y="225552"/>
                </a:lnTo>
                <a:lnTo>
                  <a:pt x="37780" y="248107"/>
                </a:lnTo>
                <a:lnTo>
                  <a:pt x="43983" y="265024"/>
                </a:lnTo>
                <a:lnTo>
                  <a:pt x="39472" y="288143"/>
                </a:lnTo>
                <a:lnTo>
                  <a:pt x="23119" y="315209"/>
                </a:lnTo>
                <a:lnTo>
                  <a:pt x="21991" y="327050"/>
                </a:lnTo>
                <a:lnTo>
                  <a:pt x="7331" y="333253"/>
                </a:lnTo>
                <a:lnTo>
                  <a:pt x="0" y="359192"/>
                </a:lnTo>
                <a:lnTo>
                  <a:pt x="1128" y="385130"/>
                </a:lnTo>
                <a:lnTo>
                  <a:pt x="10150" y="413324"/>
                </a:lnTo>
                <a:lnTo>
                  <a:pt x="9586" y="445465"/>
                </a:lnTo>
                <a:lnTo>
                  <a:pt x="16353" y="464073"/>
                </a:lnTo>
                <a:lnTo>
                  <a:pt x="40035" y="477043"/>
                </a:lnTo>
                <a:lnTo>
                  <a:pt x="56952" y="486628"/>
                </a:lnTo>
                <a:lnTo>
                  <a:pt x="85146" y="471404"/>
                </a:lnTo>
                <a:lnTo>
                  <a:pt x="111085" y="462946"/>
                </a:lnTo>
                <a:lnTo>
                  <a:pt x="128565" y="421218"/>
                </a:lnTo>
                <a:lnTo>
                  <a:pt x="144353" y="371033"/>
                </a:lnTo>
                <a:lnTo>
                  <a:pt x="168600" y="303367"/>
                </a:lnTo>
                <a:lnTo>
                  <a:pt x="187209" y="253746"/>
                </a:lnTo>
                <a:lnTo>
                  <a:pt x="202433" y="212019"/>
                </a:lnTo>
                <a:lnTo>
                  <a:pt x="206944" y="181569"/>
                </a:lnTo>
                <a:lnTo>
                  <a:pt x="215966" y="173111"/>
                </a:lnTo>
                <a:lnTo>
                  <a:pt x="219913" y="157886"/>
                </a:lnTo>
                <a:lnTo>
                  <a:pt x="215403" y="131384"/>
                </a:lnTo>
                <a:lnTo>
                  <a:pt x="222169" y="120670"/>
                </a:lnTo>
                <a:lnTo>
                  <a:pt x="231191" y="142098"/>
                </a:lnTo>
                <a:lnTo>
                  <a:pt x="237393" y="131384"/>
                </a:lnTo>
                <a:lnTo>
                  <a:pt x="241905" y="113904"/>
                </a:lnTo>
                <a:lnTo>
                  <a:pt x="234574" y="97551"/>
                </a:lnTo>
                <a:lnTo>
                  <a:pt x="231755" y="54133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4" name="Freeform: Shape 337">
            <a:extLst>
              <a:ext uri="{FF2B5EF4-FFF2-40B4-BE49-F238E27FC236}">
                <a16:creationId xmlns:a16="http://schemas.microsoft.com/office/drawing/2014/main" id="{E35201FE-310F-4A41-85E1-2D58CD5CBBC8}"/>
              </a:ext>
            </a:extLst>
          </p:cNvPr>
          <p:cNvSpPr/>
          <p:nvPr/>
        </p:nvSpPr>
        <p:spPr>
          <a:xfrm>
            <a:off x="3202811" y="3245572"/>
            <a:ext cx="623640" cy="484586"/>
          </a:xfrm>
          <a:custGeom>
            <a:avLst/>
            <a:gdLst>
              <a:gd name="connsiteX0" fmla="*/ 531175 w 834542"/>
              <a:gd name="connsiteY0" fmla="*/ 246979 h 648462"/>
              <a:gd name="connsiteX1" fmla="*/ 510875 w 834542"/>
              <a:gd name="connsiteY1" fmla="*/ 239085 h 648462"/>
              <a:gd name="connsiteX2" fmla="*/ 488884 w 834542"/>
              <a:gd name="connsiteY2" fmla="*/ 227808 h 648462"/>
              <a:gd name="connsiteX3" fmla="*/ 484373 w 834542"/>
              <a:gd name="connsiteY3" fmla="*/ 210891 h 648462"/>
              <a:gd name="connsiteX4" fmla="*/ 483245 w 834542"/>
              <a:gd name="connsiteY4" fmla="*/ 185516 h 648462"/>
              <a:gd name="connsiteX5" fmla="*/ 469712 w 834542"/>
              <a:gd name="connsiteY5" fmla="*/ 165217 h 648462"/>
              <a:gd name="connsiteX6" fmla="*/ 464073 w 834542"/>
              <a:gd name="connsiteY6" fmla="*/ 144353 h 648462"/>
              <a:gd name="connsiteX7" fmla="*/ 455051 w 834542"/>
              <a:gd name="connsiteY7" fmla="*/ 119543 h 648462"/>
              <a:gd name="connsiteX8" fmla="*/ 437571 w 834542"/>
              <a:gd name="connsiteY8" fmla="*/ 105446 h 648462"/>
              <a:gd name="connsiteX9" fmla="*/ 412760 w 834542"/>
              <a:gd name="connsiteY9" fmla="*/ 106009 h 648462"/>
              <a:gd name="connsiteX10" fmla="*/ 385694 w 834542"/>
              <a:gd name="connsiteY10" fmla="*/ 134203 h 648462"/>
              <a:gd name="connsiteX11" fmla="*/ 363139 w 834542"/>
              <a:gd name="connsiteY11" fmla="*/ 123490 h 648462"/>
              <a:gd name="connsiteX12" fmla="*/ 350733 w 834542"/>
              <a:gd name="connsiteY12" fmla="*/ 112776 h 648462"/>
              <a:gd name="connsiteX13" fmla="*/ 348478 w 834542"/>
              <a:gd name="connsiteY13" fmla="*/ 93040 h 648462"/>
              <a:gd name="connsiteX14" fmla="*/ 343967 w 834542"/>
              <a:gd name="connsiteY14" fmla="*/ 74432 h 648462"/>
              <a:gd name="connsiteX15" fmla="*/ 330434 w 834542"/>
              <a:gd name="connsiteY15" fmla="*/ 58643 h 648462"/>
              <a:gd name="connsiteX16" fmla="*/ 318592 w 834542"/>
              <a:gd name="connsiteY16" fmla="*/ 47366 h 648462"/>
              <a:gd name="connsiteX17" fmla="*/ 311262 w 834542"/>
              <a:gd name="connsiteY17" fmla="*/ 34961 h 648462"/>
              <a:gd name="connsiteX18" fmla="*/ 258821 w 834542"/>
              <a:gd name="connsiteY18" fmla="*/ 34961 h 648462"/>
              <a:gd name="connsiteX19" fmla="*/ 254310 w 834542"/>
              <a:gd name="connsiteY19" fmla="*/ 49621 h 648462"/>
              <a:gd name="connsiteX20" fmla="*/ 230063 w 834542"/>
              <a:gd name="connsiteY20" fmla="*/ 49621 h 648462"/>
              <a:gd name="connsiteX21" fmla="*/ 169728 w 834542"/>
              <a:gd name="connsiteY21" fmla="*/ 49621 h 648462"/>
              <a:gd name="connsiteX22" fmla="*/ 109393 w 834542"/>
              <a:gd name="connsiteY22" fmla="*/ 24811 h 648462"/>
              <a:gd name="connsiteX23" fmla="*/ 69357 w 834542"/>
              <a:gd name="connsiteY23" fmla="*/ 7330 h 648462"/>
              <a:gd name="connsiteX24" fmla="*/ 74996 w 834542"/>
              <a:gd name="connsiteY24" fmla="*/ 0 h 648462"/>
              <a:gd name="connsiteX25" fmla="*/ 35524 w 834542"/>
              <a:gd name="connsiteY25" fmla="*/ 3947 h 648462"/>
              <a:gd name="connsiteX26" fmla="*/ 0 w 834542"/>
              <a:gd name="connsiteY26" fmla="*/ 6767 h 648462"/>
              <a:gd name="connsiteX27" fmla="*/ 1128 w 834542"/>
              <a:gd name="connsiteY27" fmla="*/ 38908 h 648462"/>
              <a:gd name="connsiteX28" fmla="*/ 5075 w 834542"/>
              <a:gd name="connsiteY28" fmla="*/ 67666 h 648462"/>
              <a:gd name="connsiteX29" fmla="*/ 9022 w 834542"/>
              <a:gd name="connsiteY29" fmla="*/ 90785 h 648462"/>
              <a:gd name="connsiteX30" fmla="*/ 13533 w 834542"/>
              <a:gd name="connsiteY30" fmla="*/ 113340 h 648462"/>
              <a:gd name="connsiteX31" fmla="*/ 28194 w 834542"/>
              <a:gd name="connsiteY31" fmla="*/ 123490 h 648462"/>
              <a:gd name="connsiteX32" fmla="*/ 44546 w 834542"/>
              <a:gd name="connsiteY32" fmla="*/ 148864 h 648462"/>
              <a:gd name="connsiteX33" fmla="*/ 38908 w 834542"/>
              <a:gd name="connsiteY33" fmla="*/ 165217 h 648462"/>
              <a:gd name="connsiteX34" fmla="*/ 23683 w 834542"/>
              <a:gd name="connsiteY34" fmla="*/ 178186 h 648462"/>
              <a:gd name="connsiteX35" fmla="*/ 11841 w 834542"/>
              <a:gd name="connsiteY35" fmla="*/ 176494 h 648462"/>
              <a:gd name="connsiteX36" fmla="*/ 8458 w 834542"/>
              <a:gd name="connsiteY36" fmla="*/ 179314 h 648462"/>
              <a:gd name="connsiteX37" fmla="*/ 21427 w 834542"/>
              <a:gd name="connsiteY37" fmla="*/ 200177 h 648462"/>
              <a:gd name="connsiteX38" fmla="*/ 37780 w 834542"/>
              <a:gd name="connsiteY38" fmla="*/ 208636 h 648462"/>
              <a:gd name="connsiteX39" fmla="*/ 43419 w 834542"/>
              <a:gd name="connsiteY39" fmla="*/ 218222 h 648462"/>
              <a:gd name="connsiteX40" fmla="*/ 48494 w 834542"/>
              <a:gd name="connsiteY40" fmla="*/ 213147 h 648462"/>
              <a:gd name="connsiteX41" fmla="*/ 65974 w 834542"/>
              <a:gd name="connsiteY41" fmla="*/ 229499 h 648462"/>
              <a:gd name="connsiteX42" fmla="*/ 77815 w 834542"/>
              <a:gd name="connsiteY42" fmla="*/ 240777 h 648462"/>
              <a:gd name="connsiteX43" fmla="*/ 78379 w 834542"/>
              <a:gd name="connsiteY43" fmla="*/ 259949 h 648462"/>
              <a:gd name="connsiteX44" fmla="*/ 71613 w 834542"/>
              <a:gd name="connsiteY44" fmla="*/ 286451 h 648462"/>
              <a:gd name="connsiteX45" fmla="*/ 85710 w 834542"/>
              <a:gd name="connsiteY45" fmla="*/ 295473 h 648462"/>
              <a:gd name="connsiteX46" fmla="*/ 104318 w 834542"/>
              <a:gd name="connsiteY46" fmla="*/ 312953 h 648462"/>
              <a:gd name="connsiteX47" fmla="*/ 120670 w 834542"/>
              <a:gd name="connsiteY47" fmla="*/ 333253 h 648462"/>
              <a:gd name="connsiteX48" fmla="*/ 124617 w 834542"/>
              <a:gd name="connsiteY48" fmla="*/ 355244 h 648462"/>
              <a:gd name="connsiteX49" fmla="*/ 130256 w 834542"/>
              <a:gd name="connsiteY49" fmla="*/ 355244 h 648462"/>
              <a:gd name="connsiteX50" fmla="*/ 145481 w 834542"/>
              <a:gd name="connsiteY50" fmla="*/ 342275 h 648462"/>
              <a:gd name="connsiteX51" fmla="*/ 147736 w 834542"/>
              <a:gd name="connsiteY51" fmla="*/ 335509 h 648462"/>
              <a:gd name="connsiteX52" fmla="*/ 139278 w 834542"/>
              <a:gd name="connsiteY52" fmla="*/ 319720 h 648462"/>
              <a:gd name="connsiteX53" fmla="*/ 130256 w 834542"/>
              <a:gd name="connsiteY53" fmla="*/ 303367 h 648462"/>
              <a:gd name="connsiteX54" fmla="*/ 115595 w 834542"/>
              <a:gd name="connsiteY54" fmla="*/ 302240 h 648462"/>
              <a:gd name="connsiteX55" fmla="*/ 117851 w 834542"/>
              <a:gd name="connsiteY55" fmla="*/ 283068 h 648462"/>
              <a:gd name="connsiteX56" fmla="*/ 112776 w 834542"/>
              <a:gd name="connsiteY56" fmla="*/ 266151 h 648462"/>
              <a:gd name="connsiteX57" fmla="*/ 107137 w 834542"/>
              <a:gd name="connsiteY57" fmla="*/ 250363 h 648462"/>
              <a:gd name="connsiteX58" fmla="*/ 104318 w 834542"/>
              <a:gd name="connsiteY58" fmla="*/ 217094 h 648462"/>
              <a:gd name="connsiteX59" fmla="*/ 89657 w 834542"/>
              <a:gd name="connsiteY59" fmla="*/ 199050 h 648462"/>
              <a:gd name="connsiteX60" fmla="*/ 86274 w 834542"/>
              <a:gd name="connsiteY60" fmla="*/ 186080 h 648462"/>
              <a:gd name="connsiteX61" fmla="*/ 79507 w 834542"/>
              <a:gd name="connsiteY61" fmla="*/ 177058 h 648462"/>
              <a:gd name="connsiteX62" fmla="*/ 79507 w 834542"/>
              <a:gd name="connsiteY62" fmla="*/ 153939 h 648462"/>
              <a:gd name="connsiteX63" fmla="*/ 73868 w 834542"/>
              <a:gd name="connsiteY63" fmla="*/ 154503 h 648462"/>
              <a:gd name="connsiteX64" fmla="*/ 73304 w 834542"/>
              <a:gd name="connsiteY64" fmla="*/ 142098 h 648462"/>
              <a:gd name="connsiteX65" fmla="*/ 69357 w 834542"/>
              <a:gd name="connsiteY65" fmla="*/ 139278 h 648462"/>
              <a:gd name="connsiteX66" fmla="*/ 67102 w 834542"/>
              <a:gd name="connsiteY66" fmla="*/ 131384 h 648462"/>
              <a:gd name="connsiteX67" fmla="*/ 51877 w 834542"/>
              <a:gd name="connsiteY67" fmla="*/ 106573 h 648462"/>
              <a:gd name="connsiteX68" fmla="*/ 45674 w 834542"/>
              <a:gd name="connsiteY68" fmla="*/ 91912 h 648462"/>
              <a:gd name="connsiteX69" fmla="*/ 51313 w 834542"/>
              <a:gd name="connsiteY69" fmla="*/ 64846 h 648462"/>
              <a:gd name="connsiteX70" fmla="*/ 51877 w 834542"/>
              <a:gd name="connsiteY70" fmla="*/ 47930 h 648462"/>
              <a:gd name="connsiteX71" fmla="*/ 62027 w 834542"/>
              <a:gd name="connsiteY71" fmla="*/ 33269 h 648462"/>
              <a:gd name="connsiteX72" fmla="*/ 75560 w 834542"/>
              <a:gd name="connsiteY72" fmla="*/ 42855 h 648462"/>
              <a:gd name="connsiteX73" fmla="*/ 86274 w 834542"/>
              <a:gd name="connsiteY73" fmla="*/ 41727 h 648462"/>
              <a:gd name="connsiteX74" fmla="*/ 103754 w 834542"/>
              <a:gd name="connsiteY74" fmla="*/ 55824 h 648462"/>
              <a:gd name="connsiteX75" fmla="*/ 98679 w 834542"/>
              <a:gd name="connsiteY75" fmla="*/ 69357 h 648462"/>
              <a:gd name="connsiteX76" fmla="*/ 100934 w 834542"/>
              <a:gd name="connsiteY76" fmla="*/ 96987 h 648462"/>
              <a:gd name="connsiteX77" fmla="*/ 109393 w 834542"/>
              <a:gd name="connsiteY77" fmla="*/ 123490 h 648462"/>
              <a:gd name="connsiteX78" fmla="*/ 107137 w 834542"/>
              <a:gd name="connsiteY78" fmla="*/ 134767 h 648462"/>
              <a:gd name="connsiteX79" fmla="*/ 116723 w 834542"/>
              <a:gd name="connsiteY79" fmla="*/ 152248 h 648462"/>
              <a:gd name="connsiteX80" fmla="*/ 129692 w 834542"/>
              <a:gd name="connsiteY80" fmla="*/ 171419 h 648462"/>
              <a:gd name="connsiteX81" fmla="*/ 144917 w 834542"/>
              <a:gd name="connsiteY81" fmla="*/ 174239 h 648462"/>
              <a:gd name="connsiteX82" fmla="*/ 146609 w 834542"/>
              <a:gd name="connsiteY82" fmla="*/ 199050 h 648462"/>
              <a:gd name="connsiteX83" fmla="*/ 160142 w 834542"/>
              <a:gd name="connsiteY83" fmla="*/ 216530 h 648462"/>
              <a:gd name="connsiteX84" fmla="*/ 174239 w 834542"/>
              <a:gd name="connsiteY84" fmla="*/ 224988 h 648462"/>
              <a:gd name="connsiteX85" fmla="*/ 164089 w 834542"/>
              <a:gd name="connsiteY85" fmla="*/ 247543 h 648462"/>
              <a:gd name="connsiteX86" fmla="*/ 168036 w 834542"/>
              <a:gd name="connsiteY86" fmla="*/ 256002 h 648462"/>
              <a:gd name="connsiteX87" fmla="*/ 191155 w 834542"/>
              <a:gd name="connsiteY87" fmla="*/ 270662 h 648462"/>
              <a:gd name="connsiteX88" fmla="*/ 201869 w 834542"/>
              <a:gd name="connsiteY88" fmla="*/ 293218 h 648462"/>
              <a:gd name="connsiteX89" fmla="*/ 227244 w 834542"/>
              <a:gd name="connsiteY89" fmla="*/ 320848 h 648462"/>
              <a:gd name="connsiteX90" fmla="*/ 248671 w 834542"/>
              <a:gd name="connsiteY90" fmla="*/ 356936 h 648462"/>
              <a:gd name="connsiteX91" fmla="*/ 256001 w 834542"/>
              <a:gd name="connsiteY91" fmla="*/ 374980 h 648462"/>
              <a:gd name="connsiteX92" fmla="*/ 256001 w 834542"/>
              <a:gd name="connsiteY92" fmla="*/ 389077 h 648462"/>
              <a:gd name="connsiteX93" fmla="*/ 263896 w 834542"/>
              <a:gd name="connsiteY93" fmla="*/ 405430 h 648462"/>
              <a:gd name="connsiteX94" fmla="*/ 262204 w 834542"/>
              <a:gd name="connsiteY94" fmla="*/ 417835 h 648462"/>
              <a:gd name="connsiteX95" fmla="*/ 253182 w 834542"/>
              <a:gd name="connsiteY95" fmla="*/ 426857 h 648462"/>
              <a:gd name="connsiteX96" fmla="*/ 254874 w 834542"/>
              <a:gd name="connsiteY96" fmla="*/ 437007 h 648462"/>
              <a:gd name="connsiteX97" fmla="*/ 244160 w 834542"/>
              <a:gd name="connsiteY97" fmla="*/ 440954 h 648462"/>
              <a:gd name="connsiteX98" fmla="*/ 248671 w 834542"/>
              <a:gd name="connsiteY98" fmla="*/ 458434 h 648462"/>
              <a:gd name="connsiteX99" fmla="*/ 261076 w 834542"/>
              <a:gd name="connsiteY99" fmla="*/ 480990 h 648462"/>
              <a:gd name="connsiteX100" fmla="*/ 290962 w 834542"/>
              <a:gd name="connsiteY100" fmla="*/ 501289 h 648462"/>
              <a:gd name="connsiteX101" fmla="*/ 301676 w 834542"/>
              <a:gd name="connsiteY101" fmla="*/ 517642 h 648462"/>
              <a:gd name="connsiteX102" fmla="*/ 332125 w 834542"/>
              <a:gd name="connsiteY102" fmla="*/ 528919 h 648462"/>
              <a:gd name="connsiteX103" fmla="*/ 349042 w 834542"/>
              <a:gd name="connsiteY103" fmla="*/ 531175 h 648462"/>
              <a:gd name="connsiteX104" fmla="*/ 355808 w 834542"/>
              <a:gd name="connsiteY104" fmla="*/ 540761 h 648462"/>
              <a:gd name="connsiteX105" fmla="*/ 379491 w 834542"/>
              <a:gd name="connsiteY105" fmla="*/ 557677 h 648462"/>
              <a:gd name="connsiteX106" fmla="*/ 412760 w 834542"/>
              <a:gd name="connsiteY106" fmla="*/ 574594 h 648462"/>
              <a:gd name="connsiteX107" fmla="*/ 435315 w 834542"/>
              <a:gd name="connsiteY107" fmla="*/ 579669 h 648462"/>
              <a:gd name="connsiteX108" fmla="*/ 462382 w 834542"/>
              <a:gd name="connsiteY108" fmla="*/ 596021 h 648462"/>
              <a:gd name="connsiteX109" fmla="*/ 484937 w 834542"/>
              <a:gd name="connsiteY109" fmla="*/ 602788 h 648462"/>
              <a:gd name="connsiteX110" fmla="*/ 505800 w 834542"/>
              <a:gd name="connsiteY110" fmla="*/ 612374 h 648462"/>
              <a:gd name="connsiteX111" fmla="*/ 522153 w 834542"/>
              <a:gd name="connsiteY111" fmla="*/ 608427 h 648462"/>
              <a:gd name="connsiteX112" fmla="*/ 549219 w 834542"/>
              <a:gd name="connsiteY112" fmla="*/ 594893 h 648462"/>
              <a:gd name="connsiteX113" fmla="*/ 566699 w 834542"/>
              <a:gd name="connsiteY113" fmla="*/ 592638 h 648462"/>
              <a:gd name="connsiteX114" fmla="*/ 591510 w 834542"/>
              <a:gd name="connsiteY114" fmla="*/ 601660 h 648462"/>
              <a:gd name="connsiteX115" fmla="*/ 606171 w 834542"/>
              <a:gd name="connsiteY115" fmla="*/ 613501 h 648462"/>
              <a:gd name="connsiteX116" fmla="*/ 637184 w 834542"/>
              <a:gd name="connsiteY116" fmla="*/ 652409 h 648462"/>
              <a:gd name="connsiteX117" fmla="*/ 639440 w 834542"/>
              <a:gd name="connsiteY117" fmla="*/ 641695 h 648462"/>
              <a:gd name="connsiteX118" fmla="*/ 643951 w 834542"/>
              <a:gd name="connsiteY118" fmla="*/ 633237 h 648462"/>
              <a:gd name="connsiteX119" fmla="*/ 640004 w 834542"/>
              <a:gd name="connsiteY119" fmla="*/ 626471 h 648462"/>
              <a:gd name="connsiteX120" fmla="*/ 658612 w 834542"/>
              <a:gd name="connsiteY120" fmla="*/ 597149 h 648462"/>
              <a:gd name="connsiteX121" fmla="*/ 698647 w 834542"/>
              <a:gd name="connsiteY121" fmla="*/ 597149 h 648462"/>
              <a:gd name="connsiteX122" fmla="*/ 700903 w 834542"/>
              <a:gd name="connsiteY122" fmla="*/ 585307 h 648462"/>
              <a:gd name="connsiteX123" fmla="*/ 696392 w 834542"/>
              <a:gd name="connsiteY123" fmla="*/ 583052 h 648462"/>
              <a:gd name="connsiteX124" fmla="*/ 693572 w 834542"/>
              <a:gd name="connsiteY124" fmla="*/ 575158 h 648462"/>
              <a:gd name="connsiteX125" fmla="*/ 682859 w 834542"/>
              <a:gd name="connsiteY125" fmla="*/ 566699 h 648462"/>
              <a:gd name="connsiteX126" fmla="*/ 672709 w 834542"/>
              <a:gd name="connsiteY126" fmla="*/ 554858 h 648462"/>
              <a:gd name="connsiteX127" fmla="*/ 687370 w 834542"/>
              <a:gd name="connsiteY127" fmla="*/ 554858 h 648462"/>
              <a:gd name="connsiteX128" fmla="*/ 689625 w 834542"/>
              <a:gd name="connsiteY128" fmla="*/ 534558 h 648462"/>
              <a:gd name="connsiteX129" fmla="*/ 718947 w 834542"/>
              <a:gd name="connsiteY129" fmla="*/ 534558 h 648462"/>
              <a:gd name="connsiteX130" fmla="*/ 747705 w 834542"/>
              <a:gd name="connsiteY130" fmla="*/ 535122 h 648462"/>
              <a:gd name="connsiteX131" fmla="*/ 748269 w 834542"/>
              <a:gd name="connsiteY131" fmla="*/ 529483 h 648462"/>
              <a:gd name="connsiteX132" fmla="*/ 752216 w 834542"/>
              <a:gd name="connsiteY132" fmla="*/ 527792 h 648462"/>
              <a:gd name="connsiteX133" fmla="*/ 757291 w 834542"/>
              <a:gd name="connsiteY133" fmla="*/ 532303 h 648462"/>
              <a:gd name="connsiteX134" fmla="*/ 771388 w 834542"/>
              <a:gd name="connsiteY134" fmla="*/ 510311 h 648462"/>
              <a:gd name="connsiteX135" fmla="*/ 777027 w 834542"/>
              <a:gd name="connsiteY135" fmla="*/ 510311 h 648462"/>
              <a:gd name="connsiteX136" fmla="*/ 783793 w 834542"/>
              <a:gd name="connsiteY136" fmla="*/ 509748 h 648462"/>
              <a:gd name="connsiteX137" fmla="*/ 790560 w 834542"/>
              <a:gd name="connsiteY137" fmla="*/ 518770 h 648462"/>
              <a:gd name="connsiteX138" fmla="*/ 801837 w 834542"/>
              <a:gd name="connsiteY138" fmla="*/ 490576 h 648462"/>
              <a:gd name="connsiteX139" fmla="*/ 808604 w 834542"/>
              <a:gd name="connsiteY139" fmla="*/ 475351 h 648462"/>
              <a:gd name="connsiteX140" fmla="*/ 803529 w 834542"/>
              <a:gd name="connsiteY140" fmla="*/ 469148 h 648462"/>
              <a:gd name="connsiteX141" fmla="*/ 813679 w 834542"/>
              <a:gd name="connsiteY141" fmla="*/ 447157 h 648462"/>
              <a:gd name="connsiteX142" fmla="*/ 833415 w 834542"/>
              <a:gd name="connsiteY142" fmla="*/ 425729 h 648462"/>
              <a:gd name="connsiteX143" fmla="*/ 836798 w 834542"/>
              <a:gd name="connsiteY143" fmla="*/ 408249 h 648462"/>
              <a:gd name="connsiteX144" fmla="*/ 830031 w 834542"/>
              <a:gd name="connsiteY144" fmla="*/ 400919 h 648462"/>
              <a:gd name="connsiteX145" fmla="*/ 810859 w 834542"/>
              <a:gd name="connsiteY145" fmla="*/ 403738 h 648462"/>
              <a:gd name="connsiteX146" fmla="*/ 783793 w 834542"/>
              <a:gd name="connsiteY146" fmla="*/ 402610 h 648462"/>
              <a:gd name="connsiteX147" fmla="*/ 749960 w 834542"/>
              <a:gd name="connsiteY147" fmla="*/ 411069 h 648462"/>
              <a:gd name="connsiteX148" fmla="*/ 727405 w 834542"/>
              <a:gd name="connsiteY148" fmla="*/ 420655 h 648462"/>
              <a:gd name="connsiteX149" fmla="*/ 720639 w 834542"/>
              <a:gd name="connsiteY149" fmla="*/ 430804 h 648462"/>
              <a:gd name="connsiteX150" fmla="*/ 713872 w 834542"/>
              <a:gd name="connsiteY150" fmla="*/ 461254 h 648462"/>
              <a:gd name="connsiteX151" fmla="*/ 703722 w 834542"/>
              <a:gd name="connsiteY151" fmla="*/ 482117 h 648462"/>
              <a:gd name="connsiteX152" fmla="*/ 681731 w 834542"/>
              <a:gd name="connsiteY152" fmla="*/ 496778 h 648462"/>
              <a:gd name="connsiteX153" fmla="*/ 661431 w 834542"/>
              <a:gd name="connsiteY153" fmla="*/ 502981 h 648462"/>
              <a:gd name="connsiteX154" fmla="*/ 637184 w 834542"/>
              <a:gd name="connsiteY154" fmla="*/ 509184 h 648462"/>
              <a:gd name="connsiteX155" fmla="*/ 612937 w 834542"/>
              <a:gd name="connsiteY155" fmla="*/ 512567 h 648462"/>
              <a:gd name="connsiteX156" fmla="*/ 584180 w 834542"/>
              <a:gd name="connsiteY156" fmla="*/ 522717 h 648462"/>
              <a:gd name="connsiteX157" fmla="*/ 573466 w 834542"/>
              <a:gd name="connsiteY157" fmla="*/ 508056 h 648462"/>
              <a:gd name="connsiteX158" fmla="*/ 541889 w 834542"/>
              <a:gd name="connsiteY158" fmla="*/ 498470 h 648462"/>
              <a:gd name="connsiteX159" fmla="*/ 531739 w 834542"/>
              <a:gd name="connsiteY159" fmla="*/ 480426 h 648462"/>
              <a:gd name="connsiteX160" fmla="*/ 527792 w 834542"/>
              <a:gd name="connsiteY160" fmla="*/ 460126 h 648462"/>
              <a:gd name="connsiteX161" fmla="*/ 510875 w 834542"/>
              <a:gd name="connsiteY161" fmla="*/ 433624 h 648462"/>
              <a:gd name="connsiteX162" fmla="*/ 508620 w 834542"/>
              <a:gd name="connsiteY162" fmla="*/ 405430 h 648462"/>
              <a:gd name="connsiteX163" fmla="*/ 501853 w 834542"/>
              <a:gd name="connsiteY163" fmla="*/ 387949 h 648462"/>
              <a:gd name="connsiteX164" fmla="*/ 499034 w 834542"/>
              <a:gd name="connsiteY164" fmla="*/ 368778 h 648462"/>
              <a:gd name="connsiteX165" fmla="*/ 505236 w 834542"/>
              <a:gd name="connsiteY165" fmla="*/ 351297 h 648462"/>
              <a:gd name="connsiteX166" fmla="*/ 515386 w 834542"/>
              <a:gd name="connsiteY166" fmla="*/ 302804 h 648462"/>
              <a:gd name="connsiteX167" fmla="*/ 525536 w 834542"/>
              <a:gd name="connsiteY167" fmla="*/ 277429 h 648462"/>
              <a:gd name="connsiteX168" fmla="*/ 543016 w 834542"/>
              <a:gd name="connsiteY168" fmla="*/ 245852 h 648462"/>
              <a:gd name="connsiteX169" fmla="*/ 531175 w 834542"/>
              <a:gd name="connsiteY169" fmla="*/ 246979 h 648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</a:cxnLst>
            <a:rect l="l" t="t" r="r" b="b"/>
            <a:pathLst>
              <a:path w="834542" h="648462">
                <a:moveTo>
                  <a:pt x="531175" y="246979"/>
                </a:moveTo>
                <a:lnTo>
                  <a:pt x="510875" y="239085"/>
                </a:lnTo>
                <a:lnTo>
                  <a:pt x="488884" y="227808"/>
                </a:lnTo>
                <a:lnTo>
                  <a:pt x="484373" y="210891"/>
                </a:lnTo>
                <a:lnTo>
                  <a:pt x="483245" y="185516"/>
                </a:lnTo>
                <a:lnTo>
                  <a:pt x="469712" y="165217"/>
                </a:lnTo>
                <a:lnTo>
                  <a:pt x="464073" y="144353"/>
                </a:lnTo>
                <a:lnTo>
                  <a:pt x="455051" y="119543"/>
                </a:lnTo>
                <a:lnTo>
                  <a:pt x="437571" y="105446"/>
                </a:lnTo>
                <a:lnTo>
                  <a:pt x="412760" y="106009"/>
                </a:lnTo>
                <a:lnTo>
                  <a:pt x="385694" y="134203"/>
                </a:lnTo>
                <a:lnTo>
                  <a:pt x="363139" y="123490"/>
                </a:lnTo>
                <a:lnTo>
                  <a:pt x="350733" y="112776"/>
                </a:lnTo>
                <a:lnTo>
                  <a:pt x="348478" y="93040"/>
                </a:lnTo>
                <a:lnTo>
                  <a:pt x="343967" y="74432"/>
                </a:lnTo>
                <a:lnTo>
                  <a:pt x="330434" y="58643"/>
                </a:lnTo>
                <a:lnTo>
                  <a:pt x="318592" y="47366"/>
                </a:lnTo>
                <a:lnTo>
                  <a:pt x="311262" y="34961"/>
                </a:lnTo>
                <a:lnTo>
                  <a:pt x="258821" y="34961"/>
                </a:lnTo>
                <a:lnTo>
                  <a:pt x="254310" y="49621"/>
                </a:lnTo>
                <a:lnTo>
                  <a:pt x="230063" y="49621"/>
                </a:lnTo>
                <a:lnTo>
                  <a:pt x="169728" y="49621"/>
                </a:lnTo>
                <a:lnTo>
                  <a:pt x="109393" y="24811"/>
                </a:lnTo>
                <a:lnTo>
                  <a:pt x="69357" y="7330"/>
                </a:lnTo>
                <a:lnTo>
                  <a:pt x="74996" y="0"/>
                </a:lnTo>
                <a:lnTo>
                  <a:pt x="35524" y="3947"/>
                </a:lnTo>
                <a:lnTo>
                  <a:pt x="0" y="6767"/>
                </a:lnTo>
                <a:lnTo>
                  <a:pt x="1128" y="38908"/>
                </a:lnTo>
                <a:lnTo>
                  <a:pt x="5075" y="67666"/>
                </a:lnTo>
                <a:lnTo>
                  <a:pt x="9022" y="90785"/>
                </a:lnTo>
                <a:lnTo>
                  <a:pt x="13533" y="113340"/>
                </a:lnTo>
                <a:lnTo>
                  <a:pt x="28194" y="123490"/>
                </a:lnTo>
                <a:lnTo>
                  <a:pt x="44546" y="148864"/>
                </a:lnTo>
                <a:lnTo>
                  <a:pt x="38908" y="165217"/>
                </a:lnTo>
                <a:lnTo>
                  <a:pt x="23683" y="178186"/>
                </a:lnTo>
                <a:lnTo>
                  <a:pt x="11841" y="176494"/>
                </a:lnTo>
                <a:lnTo>
                  <a:pt x="8458" y="179314"/>
                </a:lnTo>
                <a:lnTo>
                  <a:pt x="21427" y="200177"/>
                </a:lnTo>
                <a:lnTo>
                  <a:pt x="37780" y="208636"/>
                </a:lnTo>
                <a:lnTo>
                  <a:pt x="43419" y="218222"/>
                </a:lnTo>
                <a:lnTo>
                  <a:pt x="48494" y="213147"/>
                </a:lnTo>
                <a:lnTo>
                  <a:pt x="65974" y="229499"/>
                </a:lnTo>
                <a:lnTo>
                  <a:pt x="77815" y="240777"/>
                </a:lnTo>
                <a:lnTo>
                  <a:pt x="78379" y="259949"/>
                </a:lnTo>
                <a:lnTo>
                  <a:pt x="71613" y="286451"/>
                </a:lnTo>
                <a:lnTo>
                  <a:pt x="85710" y="295473"/>
                </a:lnTo>
                <a:lnTo>
                  <a:pt x="104318" y="312953"/>
                </a:lnTo>
                <a:lnTo>
                  <a:pt x="120670" y="333253"/>
                </a:lnTo>
                <a:lnTo>
                  <a:pt x="124617" y="355244"/>
                </a:lnTo>
                <a:lnTo>
                  <a:pt x="130256" y="355244"/>
                </a:lnTo>
                <a:lnTo>
                  <a:pt x="145481" y="342275"/>
                </a:lnTo>
                <a:lnTo>
                  <a:pt x="147736" y="335509"/>
                </a:lnTo>
                <a:lnTo>
                  <a:pt x="139278" y="319720"/>
                </a:lnTo>
                <a:lnTo>
                  <a:pt x="130256" y="303367"/>
                </a:lnTo>
                <a:lnTo>
                  <a:pt x="115595" y="302240"/>
                </a:lnTo>
                <a:lnTo>
                  <a:pt x="117851" y="283068"/>
                </a:lnTo>
                <a:lnTo>
                  <a:pt x="112776" y="266151"/>
                </a:lnTo>
                <a:lnTo>
                  <a:pt x="107137" y="250363"/>
                </a:lnTo>
                <a:lnTo>
                  <a:pt x="104318" y="217094"/>
                </a:lnTo>
                <a:lnTo>
                  <a:pt x="89657" y="199050"/>
                </a:lnTo>
                <a:lnTo>
                  <a:pt x="86274" y="186080"/>
                </a:lnTo>
                <a:lnTo>
                  <a:pt x="79507" y="177058"/>
                </a:lnTo>
                <a:lnTo>
                  <a:pt x="79507" y="153939"/>
                </a:lnTo>
                <a:lnTo>
                  <a:pt x="73868" y="154503"/>
                </a:lnTo>
                <a:lnTo>
                  <a:pt x="73304" y="142098"/>
                </a:lnTo>
                <a:lnTo>
                  <a:pt x="69357" y="139278"/>
                </a:lnTo>
                <a:lnTo>
                  <a:pt x="67102" y="131384"/>
                </a:lnTo>
                <a:lnTo>
                  <a:pt x="51877" y="106573"/>
                </a:lnTo>
                <a:lnTo>
                  <a:pt x="45674" y="91912"/>
                </a:lnTo>
                <a:lnTo>
                  <a:pt x="51313" y="64846"/>
                </a:lnTo>
                <a:lnTo>
                  <a:pt x="51877" y="47930"/>
                </a:lnTo>
                <a:lnTo>
                  <a:pt x="62027" y="33269"/>
                </a:lnTo>
                <a:lnTo>
                  <a:pt x="75560" y="42855"/>
                </a:lnTo>
                <a:lnTo>
                  <a:pt x="86274" y="41727"/>
                </a:lnTo>
                <a:lnTo>
                  <a:pt x="103754" y="55824"/>
                </a:lnTo>
                <a:lnTo>
                  <a:pt x="98679" y="69357"/>
                </a:lnTo>
                <a:lnTo>
                  <a:pt x="100934" y="96987"/>
                </a:lnTo>
                <a:lnTo>
                  <a:pt x="109393" y="123490"/>
                </a:lnTo>
                <a:lnTo>
                  <a:pt x="107137" y="134767"/>
                </a:lnTo>
                <a:lnTo>
                  <a:pt x="116723" y="152248"/>
                </a:lnTo>
                <a:lnTo>
                  <a:pt x="129692" y="171419"/>
                </a:lnTo>
                <a:lnTo>
                  <a:pt x="144917" y="174239"/>
                </a:lnTo>
                <a:lnTo>
                  <a:pt x="146609" y="199050"/>
                </a:lnTo>
                <a:lnTo>
                  <a:pt x="160142" y="216530"/>
                </a:lnTo>
                <a:lnTo>
                  <a:pt x="174239" y="224988"/>
                </a:lnTo>
                <a:lnTo>
                  <a:pt x="164089" y="247543"/>
                </a:lnTo>
                <a:lnTo>
                  <a:pt x="168036" y="256002"/>
                </a:lnTo>
                <a:lnTo>
                  <a:pt x="191155" y="270662"/>
                </a:lnTo>
                <a:lnTo>
                  <a:pt x="201869" y="293218"/>
                </a:lnTo>
                <a:lnTo>
                  <a:pt x="227244" y="320848"/>
                </a:lnTo>
                <a:lnTo>
                  <a:pt x="248671" y="356936"/>
                </a:lnTo>
                <a:lnTo>
                  <a:pt x="256001" y="374980"/>
                </a:lnTo>
                <a:lnTo>
                  <a:pt x="256001" y="389077"/>
                </a:lnTo>
                <a:lnTo>
                  <a:pt x="263896" y="405430"/>
                </a:lnTo>
                <a:lnTo>
                  <a:pt x="262204" y="417835"/>
                </a:lnTo>
                <a:lnTo>
                  <a:pt x="253182" y="426857"/>
                </a:lnTo>
                <a:lnTo>
                  <a:pt x="254874" y="437007"/>
                </a:lnTo>
                <a:lnTo>
                  <a:pt x="244160" y="440954"/>
                </a:lnTo>
                <a:lnTo>
                  <a:pt x="248671" y="458434"/>
                </a:lnTo>
                <a:lnTo>
                  <a:pt x="261076" y="480990"/>
                </a:lnTo>
                <a:lnTo>
                  <a:pt x="290962" y="501289"/>
                </a:lnTo>
                <a:lnTo>
                  <a:pt x="301676" y="517642"/>
                </a:lnTo>
                <a:lnTo>
                  <a:pt x="332125" y="528919"/>
                </a:lnTo>
                <a:lnTo>
                  <a:pt x="349042" y="531175"/>
                </a:lnTo>
                <a:lnTo>
                  <a:pt x="355808" y="540761"/>
                </a:lnTo>
                <a:lnTo>
                  <a:pt x="379491" y="557677"/>
                </a:lnTo>
                <a:lnTo>
                  <a:pt x="412760" y="574594"/>
                </a:lnTo>
                <a:lnTo>
                  <a:pt x="435315" y="579669"/>
                </a:lnTo>
                <a:lnTo>
                  <a:pt x="462382" y="596021"/>
                </a:lnTo>
                <a:lnTo>
                  <a:pt x="484937" y="602788"/>
                </a:lnTo>
                <a:lnTo>
                  <a:pt x="505800" y="612374"/>
                </a:lnTo>
                <a:lnTo>
                  <a:pt x="522153" y="608427"/>
                </a:lnTo>
                <a:lnTo>
                  <a:pt x="549219" y="594893"/>
                </a:lnTo>
                <a:lnTo>
                  <a:pt x="566699" y="592638"/>
                </a:lnTo>
                <a:lnTo>
                  <a:pt x="591510" y="601660"/>
                </a:lnTo>
                <a:lnTo>
                  <a:pt x="606171" y="613501"/>
                </a:lnTo>
                <a:lnTo>
                  <a:pt x="637184" y="652409"/>
                </a:lnTo>
                <a:lnTo>
                  <a:pt x="639440" y="641695"/>
                </a:lnTo>
                <a:lnTo>
                  <a:pt x="643951" y="633237"/>
                </a:lnTo>
                <a:lnTo>
                  <a:pt x="640004" y="626471"/>
                </a:lnTo>
                <a:lnTo>
                  <a:pt x="658612" y="597149"/>
                </a:lnTo>
                <a:lnTo>
                  <a:pt x="698647" y="597149"/>
                </a:lnTo>
                <a:lnTo>
                  <a:pt x="700903" y="585307"/>
                </a:lnTo>
                <a:lnTo>
                  <a:pt x="696392" y="583052"/>
                </a:lnTo>
                <a:lnTo>
                  <a:pt x="693572" y="575158"/>
                </a:lnTo>
                <a:lnTo>
                  <a:pt x="682859" y="566699"/>
                </a:lnTo>
                <a:lnTo>
                  <a:pt x="672709" y="554858"/>
                </a:lnTo>
                <a:lnTo>
                  <a:pt x="687370" y="554858"/>
                </a:lnTo>
                <a:lnTo>
                  <a:pt x="689625" y="534558"/>
                </a:lnTo>
                <a:lnTo>
                  <a:pt x="718947" y="534558"/>
                </a:lnTo>
                <a:lnTo>
                  <a:pt x="747705" y="535122"/>
                </a:lnTo>
                <a:lnTo>
                  <a:pt x="748269" y="529483"/>
                </a:lnTo>
                <a:lnTo>
                  <a:pt x="752216" y="527792"/>
                </a:lnTo>
                <a:lnTo>
                  <a:pt x="757291" y="532303"/>
                </a:lnTo>
                <a:lnTo>
                  <a:pt x="771388" y="510311"/>
                </a:lnTo>
                <a:lnTo>
                  <a:pt x="777027" y="510311"/>
                </a:lnTo>
                <a:lnTo>
                  <a:pt x="783793" y="509748"/>
                </a:lnTo>
                <a:lnTo>
                  <a:pt x="790560" y="518770"/>
                </a:lnTo>
                <a:lnTo>
                  <a:pt x="801837" y="490576"/>
                </a:lnTo>
                <a:lnTo>
                  <a:pt x="808604" y="475351"/>
                </a:lnTo>
                <a:lnTo>
                  <a:pt x="803529" y="469148"/>
                </a:lnTo>
                <a:lnTo>
                  <a:pt x="813679" y="447157"/>
                </a:lnTo>
                <a:lnTo>
                  <a:pt x="833415" y="425729"/>
                </a:lnTo>
                <a:lnTo>
                  <a:pt x="836798" y="408249"/>
                </a:lnTo>
                <a:lnTo>
                  <a:pt x="830031" y="400919"/>
                </a:lnTo>
                <a:lnTo>
                  <a:pt x="810859" y="403738"/>
                </a:lnTo>
                <a:lnTo>
                  <a:pt x="783793" y="402610"/>
                </a:lnTo>
                <a:lnTo>
                  <a:pt x="749960" y="411069"/>
                </a:lnTo>
                <a:lnTo>
                  <a:pt x="727405" y="420655"/>
                </a:lnTo>
                <a:lnTo>
                  <a:pt x="720639" y="430804"/>
                </a:lnTo>
                <a:lnTo>
                  <a:pt x="713872" y="461254"/>
                </a:lnTo>
                <a:lnTo>
                  <a:pt x="703722" y="482117"/>
                </a:lnTo>
                <a:lnTo>
                  <a:pt x="681731" y="496778"/>
                </a:lnTo>
                <a:lnTo>
                  <a:pt x="661431" y="502981"/>
                </a:lnTo>
                <a:lnTo>
                  <a:pt x="637184" y="509184"/>
                </a:lnTo>
                <a:lnTo>
                  <a:pt x="612937" y="512567"/>
                </a:lnTo>
                <a:lnTo>
                  <a:pt x="584180" y="522717"/>
                </a:lnTo>
                <a:lnTo>
                  <a:pt x="573466" y="508056"/>
                </a:lnTo>
                <a:lnTo>
                  <a:pt x="541889" y="498470"/>
                </a:lnTo>
                <a:lnTo>
                  <a:pt x="531739" y="480426"/>
                </a:lnTo>
                <a:lnTo>
                  <a:pt x="527792" y="460126"/>
                </a:lnTo>
                <a:lnTo>
                  <a:pt x="510875" y="433624"/>
                </a:lnTo>
                <a:lnTo>
                  <a:pt x="508620" y="405430"/>
                </a:lnTo>
                <a:lnTo>
                  <a:pt x="501853" y="387949"/>
                </a:lnTo>
                <a:lnTo>
                  <a:pt x="499034" y="368778"/>
                </a:lnTo>
                <a:lnTo>
                  <a:pt x="505236" y="351297"/>
                </a:lnTo>
                <a:lnTo>
                  <a:pt x="515386" y="302804"/>
                </a:lnTo>
                <a:lnTo>
                  <a:pt x="525536" y="277429"/>
                </a:lnTo>
                <a:lnTo>
                  <a:pt x="543016" y="245852"/>
                </a:lnTo>
                <a:lnTo>
                  <a:pt x="531175" y="246979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5" name="Freeform: Shape 338">
            <a:extLst>
              <a:ext uri="{FF2B5EF4-FFF2-40B4-BE49-F238E27FC236}">
                <a16:creationId xmlns:a16="http://schemas.microsoft.com/office/drawing/2014/main" id="{8F41DB29-C72C-46A3-87EA-F5CC3BD639F7}"/>
              </a:ext>
            </a:extLst>
          </p:cNvPr>
          <p:cNvSpPr/>
          <p:nvPr/>
        </p:nvSpPr>
        <p:spPr>
          <a:xfrm>
            <a:off x="6286040" y="2987688"/>
            <a:ext cx="50566" cy="37924"/>
          </a:xfrm>
          <a:custGeom>
            <a:avLst/>
            <a:gdLst>
              <a:gd name="connsiteX0" fmla="*/ 68229 w 67665"/>
              <a:gd name="connsiteY0" fmla="*/ 11278 h 50749"/>
              <a:gd name="connsiteX1" fmla="*/ 52440 w 67665"/>
              <a:gd name="connsiteY1" fmla="*/ 0 h 50749"/>
              <a:gd name="connsiteX2" fmla="*/ 38908 w 67665"/>
              <a:gd name="connsiteY2" fmla="*/ 564 h 50749"/>
              <a:gd name="connsiteX3" fmla="*/ 29321 w 67665"/>
              <a:gd name="connsiteY3" fmla="*/ 2819 h 50749"/>
              <a:gd name="connsiteX4" fmla="*/ 23119 w 67665"/>
              <a:gd name="connsiteY4" fmla="*/ 3947 h 50749"/>
              <a:gd name="connsiteX5" fmla="*/ 6766 w 67665"/>
              <a:gd name="connsiteY5" fmla="*/ 9586 h 50749"/>
              <a:gd name="connsiteX6" fmla="*/ 6203 w 67665"/>
              <a:gd name="connsiteY6" fmla="*/ 16353 h 50749"/>
              <a:gd name="connsiteX7" fmla="*/ 2256 w 67665"/>
              <a:gd name="connsiteY7" fmla="*/ 16353 h 50749"/>
              <a:gd name="connsiteX8" fmla="*/ 2256 w 67665"/>
              <a:gd name="connsiteY8" fmla="*/ 16353 h 50749"/>
              <a:gd name="connsiteX9" fmla="*/ 0 w 67665"/>
              <a:gd name="connsiteY9" fmla="*/ 28194 h 50749"/>
              <a:gd name="connsiteX10" fmla="*/ 5075 w 67665"/>
              <a:gd name="connsiteY10" fmla="*/ 42855 h 50749"/>
              <a:gd name="connsiteX11" fmla="*/ 18044 w 67665"/>
              <a:gd name="connsiteY11" fmla="*/ 51877 h 50749"/>
              <a:gd name="connsiteX12" fmla="*/ 36652 w 67665"/>
              <a:gd name="connsiteY12" fmla="*/ 48494 h 50749"/>
              <a:gd name="connsiteX13" fmla="*/ 47366 w 67665"/>
              <a:gd name="connsiteY13" fmla="*/ 41163 h 50749"/>
              <a:gd name="connsiteX14" fmla="*/ 63154 w 67665"/>
              <a:gd name="connsiteY14" fmla="*/ 41727 h 50749"/>
              <a:gd name="connsiteX15" fmla="*/ 67102 w 67665"/>
              <a:gd name="connsiteY15" fmla="*/ 35525 h 50749"/>
              <a:gd name="connsiteX16" fmla="*/ 72741 w 67665"/>
              <a:gd name="connsiteY16" fmla="*/ 34397 h 50749"/>
              <a:gd name="connsiteX17" fmla="*/ 68229 w 67665"/>
              <a:gd name="connsiteY17" fmla="*/ 11278 h 507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67665" h="50749">
                <a:moveTo>
                  <a:pt x="68229" y="11278"/>
                </a:moveTo>
                <a:lnTo>
                  <a:pt x="52440" y="0"/>
                </a:lnTo>
                <a:lnTo>
                  <a:pt x="38908" y="564"/>
                </a:lnTo>
                <a:lnTo>
                  <a:pt x="29321" y="2819"/>
                </a:lnTo>
                <a:lnTo>
                  <a:pt x="23119" y="3947"/>
                </a:lnTo>
                <a:lnTo>
                  <a:pt x="6766" y="9586"/>
                </a:lnTo>
                <a:lnTo>
                  <a:pt x="6203" y="16353"/>
                </a:lnTo>
                <a:lnTo>
                  <a:pt x="2256" y="16353"/>
                </a:lnTo>
                <a:lnTo>
                  <a:pt x="2256" y="16353"/>
                </a:lnTo>
                <a:lnTo>
                  <a:pt x="0" y="28194"/>
                </a:lnTo>
                <a:lnTo>
                  <a:pt x="5075" y="42855"/>
                </a:lnTo>
                <a:lnTo>
                  <a:pt x="18044" y="51877"/>
                </a:lnTo>
                <a:lnTo>
                  <a:pt x="36652" y="48494"/>
                </a:lnTo>
                <a:lnTo>
                  <a:pt x="47366" y="41163"/>
                </a:lnTo>
                <a:lnTo>
                  <a:pt x="63154" y="41727"/>
                </a:lnTo>
                <a:lnTo>
                  <a:pt x="67102" y="35525"/>
                </a:lnTo>
                <a:lnTo>
                  <a:pt x="72741" y="34397"/>
                </a:lnTo>
                <a:lnTo>
                  <a:pt x="68229" y="11278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6" name="Freeform: Shape 339">
            <a:extLst>
              <a:ext uri="{FF2B5EF4-FFF2-40B4-BE49-F238E27FC236}">
                <a16:creationId xmlns:a16="http://schemas.microsoft.com/office/drawing/2014/main" id="{C9AB3B11-ECCE-436E-91A5-F8CCE45F8677}"/>
              </a:ext>
            </a:extLst>
          </p:cNvPr>
          <p:cNvSpPr/>
          <p:nvPr/>
        </p:nvSpPr>
        <p:spPr>
          <a:xfrm>
            <a:off x="5557054" y="3453312"/>
            <a:ext cx="383455" cy="396096"/>
          </a:xfrm>
          <a:custGeom>
            <a:avLst/>
            <a:gdLst>
              <a:gd name="connsiteX0" fmla="*/ 515386 w 513130"/>
              <a:gd name="connsiteY0" fmla="*/ 208636 h 530047"/>
              <a:gd name="connsiteX1" fmla="*/ 480990 w 513130"/>
              <a:gd name="connsiteY1" fmla="*/ 212019 h 530047"/>
              <a:gd name="connsiteX2" fmla="*/ 480426 w 513130"/>
              <a:gd name="connsiteY2" fmla="*/ 189464 h 530047"/>
              <a:gd name="connsiteX3" fmla="*/ 465765 w 513130"/>
              <a:gd name="connsiteY3" fmla="*/ 183261 h 530047"/>
              <a:gd name="connsiteX4" fmla="*/ 446593 w 513130"/>
              <a:gd name="connsiteY4" fmla="*/ 173111 h 530047"/>
              <a:gd name="connsiteX5" fmla="*/ 439262 w 513130"/>
              <a:gd name="connsiteY5" fmla="*/ 156195 h 530047"/>
              <a:gd name="connsiteX6" fmla="*/ 334381 w 513130"/>
              <a:gd name="connsiteY6" fmla="*/ 78379 h 530047"/>
              <a:gd name="connsiteX7" fmla="*/ 230627 w 513130"/>
              <a:gd name="connsiteY7" fmla="*/ 0 h 530047"/>
              <a:gd name="connsiteX8" fmla="*/ 183261 w 513130"/>
              <a:gd name="connsiteY8" fmla="*/ 564 h 530047"/>
              <a:gd name="connsiteX9" fmla="*/ 196794 w 513130"/>
              <a:gd name="connsiteY9" fmla="*/ 155067 h 530047"/>
              <a:gd name="connsiteX10" fmla="*/ 210327 w 513130"/>
              <a:gd name="connsiteY10" fmla="*/ 310134 h 530047"/>
              <a:gd name="connsiteX11" fmla="*/ 215966 w 513130"/>
              <a:gd name="connsiteY11" fmla="*/ 314645 h 530047"/>
              <a:gd name="connsiteX12" fmla="*/ 208636 w 513130"/>
              <a:gd name="connsiteY12" fmla="*/ 339456 h 530047"/>
              <a:gd name="connsiteX13" fmla="*/ 82890 w 513130"/>
              <a:gd name="connsiteY13" fmla="*/ 340020 h 530047"/>
              <a:gd name="connsiteX14" fmla="*/ 77815 w 513130"/>
              <a:gd name="connsiteY14" fmla="*/ 347914 h 530047"/>
              <a:gd name="connsiteX15" fmla="*/ 65974 w 513130"/>
              <a:gd name="connsiteY15" fmla="*/ 345659 h 530047"/>
              <a:gd name="connsiteX16" fmla="*/ 47930 w 513130"/>
              <a:gd name="connsiteY16" fmla="*/ 352989 h 530047"/>
              <a:gd name="connsiteX17" fmla="*/ 26502 w 513130"/>
              <a:gd name="connsiteY17" fmla="*/ 342839 h 530047"/>
              <a:gd name="connsiteX18" fmla="*/ 16352 w 513130"/>
              <a:gd name="connsiteY18" fmla="*/ 343967 h 530047"/>
              <a:gd name="connsiteX19" fmla="*/ 10714 w 513130"/>
              <a:gd name="connsiteY19" fmla="*/ 364830 h 530047"/>
              <a:gd name="connsiteX20" fmla="*/ 0 w 513130"/>
              <a:gd name="connsiteY20" fmla="*/ 371597 h 530047"/>
              <a:gd name="connsiteX21" fmla="*/ 1127 w 513130"/>
              <a:gd name="connsiteY21" fmla="*/ 393588 h 530047"/>
              <a:gd name="connsiteX22" fmla="*/ 7330 w 513130"/>
              <a:gd name="connsiteY22" fmla="*/ 414452 h 530047"/>
              <a:gd name="connsiteX23" fmla="*/ 19172 w 513130"/>
              <a:gd name="connsiteY23" fmla="*/ 424602 h 530047"/>
              <a:gd name="connsiteX24" fmla="*/ 21427 w 513130"/>
              <a:gd name="connsiteY24" fmla="*/ 438135 h 530047"/>
              <a:gd name="connsiteX25" fmla="*/ 19736 w 513130"/>
              <a:gd name="connsiteY25" fmla="*/ 449412 h 530047"/>
              <a:gd name="connsiteX26" fmla="*/ 21427 w 513130"/>
              <a:gd name="connsiteY26" fmla="*/ 462382 h 530047"/>
              <a:gd name="connsiteX27" fmla="*/ 26502 w 513130"/>
              <a:gd name="connsiteY27" fmla="*/ 462382 h 530047"/>
              <a:gd name="connsiteX28" fmla="*/ 34960 w 513130"/>
              <a:gd name="connsiteY28" fmla="*/ 457871 h 530047"/>
              <a:gd name="connsiteX29" fmla="*/ 40035 w 513130"/>
              <a:gd name="connsiteY29" fmla="*/ 458998 h 530047"/>
              <a:gd name="connsiteX30" fmla="*/ 48494 w 513130"/>
              <a:gd name="connsiteY30" fmla="*/ 468020 h 530047"/>
              <a:gd name="connsiteX31" fmla="*/ 62027 w 513130"/>
              <a:gd name="connsiteY31" fmla="*/ 470840 h 530047"/>
              <a:gd name="connsiteX32" fmla="*/ 71049 w 513130"/>
              <a:gd name="connsiteY32" fmla="*/ 462946 h 530047"/>
              <a:gd name="connsiteX33" fmla="*/ 81199 w 513130"/>
              <a:gd name="connsiteY33" fmla="*/ 458435 h 530047"/>
              <a:gd name="connsiteX34" fmla="*/ 88529 w 513130"/>
              <a:gd name="connsiteY34" fmla="*/ 453360 h 530047"/>
              <a:gd name="connsiteX35" fmla="*/ 94732 w 513130"/>
              <a:gd name="connsiteY35" fmla="*/ 454487 h 530047"/>
              <a:gd name="connsiteX36" fmla="*/ 102062 w 513130"/>
              <a:gd name="connsiteY36" fmla="*/ 462382 h 530047"/>
              <a:gd name="connsiteX37" fmla="*/ 105445 w 513130"/>
              <a:gd name="connsiteY37" fmla="*/ 471968 h 530047"/>
              <a:gd name="connsiteX38" fmla="*/ 118415 w 513130"/>
              <a:gd name="connsiteY38" fmla="*/ 487192 h 530047"/>
              <a:gd name="connsiteX39" fmla="*/ 111648 w 513130"/>
              <a:gd name="connsiteY39" fmla="*/ 496214 h 530047"/>
              <a:gd name="connsiteX40" fmla="*/ 110520 w 513130"/>
              <a:gd name="connsiteY40" fmla="*/ 508056 h 530047"/>
              <a:gd name="connsiteX41" fmla="*/ 117287 w 513130"/>
              <a:gd name="connsiteY41" fmla="*/ 504673 h 530047"/>
              <a:gd name="connsiteX42" fmla="*/ 121234 w 513130"/>
              <a:gd name="connsiteY42" fmla="*/ 508620 h 530047"/>
              <a:gd name="connsiteX43" fmla="*/ 119542 w 513130"/>
              <a:gd name="connsiteY43" fmla="*/ 519334 h 530047"/>
              <a:gd name="connsiteX44" fmla="*/ 129128 w 513130"/>
              <a:gd name="connsiteY44" fmla="*/ 529484 h 530047"/>
              <a:gd name="connsiteX45" fmla="*/ 133076 w 513130"/>
              <a:gd name="connsiteY45" fmla="*/ 526100 h 530047"/>
              <a:gd name="connsiteX46" fmla="*/ 142097 w 513130"/>
              <a:gd name="connsiteY46" fmla="*/ 531739 h 530047"/>
              <a:gd name="connsiteX47" fmla="*/ 166345 w 513130"/>
              <a:gd name="connsiteY47" fmla="*/ 532303 h 530047"/>
              <a:gd name="connsiteX48" fmla="*/ 171983 w 513130"/>
              <a:gd name="connsiteY48" fmla="*/ 521589 h 530047"/>
              <a:gd name="connsiteX49" fmla="*/ 177622 w 513130"/>
              <a:gd name="connsiteY49" fmla="*/ 522153 h 530047"/>
              <a:gd name="connsiteX50" fmla="*/ 186644 w 513130"/>
              <a:gd name="connsiteY50" fmla="*/ 518206 h 530047"/>
              <a:gd name="connsiteX51" fmla="*/ 191719 w 513130"/>
              <a:gd name="connsiteY51" fmla="*/ 533431 h 530047"/>
              <a:gd name="connsiteX52" fmla="*/ 199050 w 513130"/>
              <a:gd name="connsiteY52" fmla="*/ 528920 h 530047"/>
              <a:gd name="connsiteX53" fmla="*/ 212019 w 513130"/>
              <a:gd name="connsiteY53" fmla="*/ 523845 h 530047"/>
              <a:gd name="connsiteX54" fmla="*/ 209763 w 513130"/>
              <a:gd name="connsiteY54" fmla="*/ 502981 h 530047"/>
              <a:gd name="connsiteX55" fmla="*/ 218785 w 513130"/>
              <a:gd name="connsiteY55" fmla="*/ 487756 h 530047"/>
              <a:gd name="connsiteX56" fmla="*/ 217658 w 513130"/>
              <a:gd name="connsiteY56" fmla="*/ 475351 h 530047"/>
              <a:gd name="connsiteX57" fmla="*/ 243032 w 513130"/>
              <a:gd name="connsiteY57" fmla="*/ 446029 h 530047"/>
              <a:gd name="connsiteX58" fmla="*/ 247543 w 513130"/>
              <a:gd name="connsiteY58" fmla="*/ 421218 h 530047"/>
              <a:gd name="connsiteX59" fmla="*/ 256565 w 513130"/>
              <a:gd name="connsiteY59" fmla="*/ 412196 h 530047"/>
              <a:gd name="connsiteX60" fmla="*/ 271790 w 513130"/>
              <a:gd name="connsiteY60" fmla="*/ 417271 h 530047"/>
              <a:gd name="connsiteX61" fmla="*/ 284759 w 513130"/>
              <a:gd name="connsiteY61" fmla="*/ 409941 h 530047"/>
              <a:gd name="connsiteX62" fmla="*/ 289270 w 513130"/>
              <a:gd name="connsiteY62" fmla="*/ 400919 h 530047"/>
              <a:gd name="connsiteX63" fmla="*/ 313517 w 513130"/>
              <a:gd name="connsiteY63" fmla="*/ 384566 h 530047"/>
              <a:gd name="connsiteX64" fmla="*/ 319720 w 513130"/>
              <a:gd name="connsiteY64" fmla="*/ 373289 h 530047"/>
              <a:gd name="connsiteX65" fmla="*/ 349042 w 513130"/>
              <a:gd name="connsiteY65" fmla="*/ 358628 h 530047"/>
              <a:gd name="connsiteX66" fmla="*/ 365958 w 513130"/>
              <a:gd name="connsiteY66" fmla="*/ 353553 h 530047"/>
              <a:gd name="connsiteX67" fmla="*/ 373852 w 513130"/>
              <a:gd name="connsiteY67" fmla="*/ 360319 h 530047"/>
              <a:gd name="connsiteX68" fmla="*/ 394152 w 513130"/>
              <a:gd name="connsiteY68" fmla="*/ 360319 h 530047"/>
              <a:gd name="connsiteX69" fmla="*/ 414452 w 513130"/>
              <a:gd name="connsiteY69" fmla="*/ 358628 h 530047"/>
              <a:gd name="connsiteX70" fmla="*/ 425729 w 513130"/>
              <a:gd name="connsiteY70" fmla="*/ 346222 h 530047"/>
              <a:gd name="connsiteX71" fmla="*/ 468584 w 513130"/>
              <a:gd name="connsiteY71" fmla="*/ 342839 h 530047"/>
              <a:gd name="connsiteX72" fmla="*/ 496214 w 513130"/>
              <a:gd name="connsiteY72" fmla="*/ 337200 h 530047"/>
              <a:gd name="connsiteX73" fmla="*/ 499034 w 513130"/>
              <a:gd name="connsiteY73" fmla="*/ 315209 h 530047"/>
              <a:gd name="connsiteX74" fmla="*/ 515950 w 513130"/>
              <a:gd name="connsiteY74" fmla="*/ 290962 h 530047"/>
              <a:gd name="connsiteX75" fmla="*/ 515386 w 513130"/>
              <a:gd name="connsiteY75" fmla="*/ 208636 h 5300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</a:cxnLst>
            <a:rect l="l" t="t" r="r" b="b"/>
            <a:pathLst>
              <a:path w="513130" h="530047">
                <a:moveTo>
                  <a:pt x="515386" y="208636"/>
                </a:moveTo>
                <a:lnTo>
                  <a:pt x="480990" y="212019"/>
                </a:lnTo>
                <a:lnTo>
                  <a:pt x="480426" y="189464"/>
                </a:lnTo>
                <a:lnTo>
                  <a:pt x="465765" y="183261"/>
                </a:lnTo>
                <a:lnTo>
                  <a:pt x="446593" y="173111"/>
                </a:lnTo>
                <a:lnTo>
                  <a:pt x="439262" y="156195"/>
                </a:lnTo>
                <a:lnTo>
                  <a:pt x="334381" y="78379"/>
                </a:lnTo>
                <a:lnTo>
                  <a:pt x="230627" y="0"/>
                </a:lnTo>
                <a:lnTo>
                  <a:pt x="183261" y="564"/>
                </a:lnTo>
                <a:lnTo>
                  <a:pt x="196794" y="155067"/>
                </a:lnTo>
                <a:lnTo>
                  <a:pt x="210327" y="310134"/>
                </a:lnTo>
                <a:lnTo>
                  <a:pt x="215966" y="314645"/>
                </a:lnTo>
                <a:lnTo>
                  <a:pt x="208636" y="339456"/>
                </a:lnTo>
                <a:lnTo>
                  <a:pt x="82890" y="340020"/>
                </a:lnTo>
                <a:lnTo>
                  <a:pt x="77815" y="347914"/>
                </a:lnTo>
                <a:lnTo>
                  <a:pt x="65974" y="345659"/>
                </a:lnTo>
                <a:lnTo>
                  <a:pt x="47930" y="352989"/>
                </a:lnTo>
                <a:lnTo>
                  <a:pt x="26502" y="342839"/>
                </a:lnTo>
                <a:lnTo>
                  <a:pt x="16352" y="343967"/>
                </a:lnTo>
                <a:lnTo>
                  <a:pt x="10714" y="364830"/>
                </a:lnTo>
                <a:lnTo>
                  <a:pt x="0" y="371597"/>
                </a:lnTo>
                <a:lnTo>
                  <a:pt x="1127" y="393588"/>
                </a:lnTo>
                <a:lnTo>
                  <a:pt x="7330" y="414452"/>
                </a:lnTo>
                <a:lnTo>
                  <a:pt x="19172" y="424602"/>
                </a:lnTo>
                <a:lnTo>
                  <a:pt x="21427" y="438135"/>
                </a:lnTo>
                <a:lnTo>
                  <a:pt x="19736" y="449412"/>
                </a:lnTo>
                <a:lnTo>
                  <a:pt x="21427" y="462382"/>
                </a:lnTo>
                <a:lnTo>
                  <a:pt x="26502" y="462382"/>
                </a:lnTo>
                <a:lnTo>
                  <a:pt x="34960" y="457871"/>
                </a:lnTo>
                <a:lnTo>
                  <a:pt x="40035" y="458998"/>
                </a:lnTo>
                <a:lnTo>
                  <a:pt x="48494" y="468020"/>
                </a:lnTo>
                <a:lnTo>
                  <a:pt x="62027" y="470840"/>
                </a:lnTo>
                <a:lnTo>
                  <a:pt x="71049" y="462946"/>
                </a:lnTo>
                <a:lnTo>
                  <a:pt x="81199" y="458435"/>
                </a:lnTo>
                <a:lnTo>
                  <a:pt x="88529" y="453360"/>
                </a:lnTo>
                <a:lnTo>
                  <a:pt x="94732" y="454487"/>
                </a:lnTo>
                <a:lnTo>
                  <a:pt x="102062" y="462382"/>
                </a:lnTo>
                <a:lnTo>
                  <a:pt x="105445" y="471968"/>
                </a:lnTo>
                <a:lnTo>
                  <a:pt x="118415" y="487192"/>
                </a:lnTo>
                <a:lnTo>
                  <a:pt x="111648" y="496214"/>
                </a:lnTo>
                <a:lnTo>
                  <a:pt x="110520" y="508056"/>
                </a:lnTo>
                <a:lnTo>
                  <a:pt x="117287" y="504673"/>
                </a:lnTo>
                <a:lnTo>
                  <a:pt x="121234" y="508620"/>
                </a:lnTo>
                <a:lnTo>
                  <a:pt x="119542" y="519334"/>
                </a:lnTo>
                <a:lnTo>
                  <a:pt x="129128" y="529484"/>
                </a:lnTo>
                <a:lnTo>
                  <a:pt x="133076" y="526100"/>
                </a:lnTo>
                <a:lnTo>
                  <a:pt x="142097" y="531739"/>
                </a:lnTo>
                <a:lnTo>
                  <a:pt x="166345" y="532303"/>
                </a:lnTo>
                <a:lnTo>
                  <a:pt x="171983" y="521589"/>
                </a:lnTo>
                <a:lnTo>
                  <a:pt x="177622" y="522153"/>
                </a:lnTo>
                <a:lnTo>
                  <a:pt x="186644" y="518206"/>
                </a:lnTo>
                <a:lnTo>
                  <a:pt x="191719" y="533431"/>
                </a:lnTo>
                <a:lnTo>
                  <a:pt x="199050" y="528920"/>
                </a:lnTo>
                <a:lnTo>
                  <a:pt x="212019" y="523845"/>
                </a:lnTo>
                <a:lnTo>
                  <a:pt x="209763" y="502981"/>
                </a:lnTo>
                <a:lnTo>
                  <a:pt x="218785" y="487756"/>
                </a:lnTo>
                <a:lnTo>
                  <a:pt x="217658" y="475351"/>
                </a:lnTo>
                <a:lnTo>
                  <a:pt x="243032" y="446029"/>
                </a:lnTo>
                <a:lnTo>
                  <a:pt x="247543" y="421218"/>
                </a:lnTo>
                <a:lnTo>
                  <a:pt x="256565" y="412196"/>
                </a:lnTo>
                <a:lnTo>
                  <a:pt x="271790" y="417271"/>
                </a:lnTo>
                <a:lnTo>
                  <a:pt x="284759" y="409941"/>
                </a:lnTo>
                <a:lnTo>
                  <a:pt x="289270" y="400919"/>
                </a:lnTo>
                <a:lnTo>
                  <a:pt x="313517" y="384566"/>
                </a:lnTo>
                <a:lnTo>
                  <a:pt x="319720" y="373289"/>
                </a:lnTo>
                <a:lnTo>
                  <a:pt x="349042" y="358628"/>
                </a:lnTo>
                <a:lnTo>
                  <a:pt x="365958" y="353553"/>
                </a:lnTo>
                <a:lnTo>
                  <a:pt x="373852" y="360319"/>
                </a:lnTo>
                <a:lnTo>
                  <a:pt x="394152" y="360319"/>
                </a:lnTo>
                <a:lnTo>
                  <a:pt x="414452" y="358628"/>
                </a:lnTo>
                <a:lnTo>
                  <a:pt x="425729" y="346222"/>
                </a:lnTo>
                <a:lnTo>
                  <a:pt x="468584" y="342839"/>
                </a:lnTo>
                <a:lnTo>
                  <a:pt x="496214" y="337200"/>
                </a:lnTo>
                <a:lnTo>
                  <a:pt x="499034" y="315209"/>
                </a:lnTo>
                <a:lnTo>
                  <a:pt x="515950" y="290962"/>
                </a:lnTo>
                <a:lnTo>
                  <a:pt x="515386" y="208636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7" name="Freeform: Shape 340">
            <a:extLst>
              <a:ext uri="{FF2B5EF4-FFF2-40B4-BE49-F238E27FC236}">
                <a16:creationId xmlns:a16="http://schemas.microsoft.com/office/drawing/2014/main" id="{64D150A9-9EA1-43C9-A1C4-282136621310}"/>
              </a:ext>
            </a:extLst>
          </p:cNvPr>
          <p:cNvSpPr/>
          <p:nvPr/>
        </p:nvSpPr>
        <p:spPr>
          <a:xfrm>
            <a:off x="7984196" y="3363136"/>
            <a:ext cx="206475" cy="493014"/>
          </a:xfrm>
          <a:custGeom>
            <a:avLst/>
            <a:gdLst>
              <a:gd name="connsiteX0" fmla="*/ 276301 w 276301"/>
              <a:gd name="connsiteY0" fmla="*/ 247543 h 659739"/>
              <a:gd name="connsiteX1" fmla="*/ 272918 w 276301"/>
              <a:gd name="connsiteY1" fmla="*/ 232883 h 659739"/>
              <a:gd name="connsiteX2" fmla="*/ 251490 w 276301"/>
              <a:gd name="connsiteY2" fmla="*/ 243032 h 659739"/>
              <a:gd name="connsiteX3" fmla="*/ 237393 w 276301"/>
              <a:gd name="connsiteY3" fmla="*/ 236266 h 659739"/>
              <a:gd name="connsiteX4" fmla="*/ 212019 w 276301"/>
              <a:gd name="connsiteY4" fmla="*/ 222733 h 659739"/>
              <a:gd name="connsiteX5" fmla="*/ 216530 w 276301"/>
              <a:gd name="connsiteY5" fmla="*/ 193411 h 659739"/>
              <a:gd name="connsiteX6" fmla="*/ 195666 w 276301"/>
              <a:gd name="connsiteY6" fmla="*/ 186080 h 659739"/>
              <a:gd name="connsiteX7" fmla="*/ 182697 w 276301"/>
              <a:gd name="connsiteY7" fmla="*/ 153375 h 659739"/>
              <a:gd name="connsiteX8" fmla="*/ 151119 w 276301"/>
              <a:gd name="connsiteY8" fmla="*/ 159014 h 659739"/>
              <a:gd name="connsiteX9" fmla="*/ 147173 w 276301"/>
              <a:gd name="connsiteY9" fmla="*/ 116723 h 659739"/>
              <a:gd name="connsiteX10" fmla="*/ 170291 w 276301"/>
              <a:gd name="connsiteY10" fmla="*/ 86837 h 659739"/>
              <a:gd name="connsiteX11" fmla="*/ 165781 w 276301"/>
              <a:gd name="connsiteY11" fmla="*/ 56952 h 659739"/>
              <a:gd name="connsiteX12" fmla="*/ 158450 w 276301"/>
              <a:gd name="connsiteY12" fmla="*/ 29322 h 659739"/>
              <a:gd name="connsiteX13" fmla="*/ 143226 w 276301"/>
              <a:gd name="connsiteY13" fmla="*/ 20864 h 659739"/>
              <a:gd name="connsiteX14" fmla="*/ 128000 w 276301"/>
              <a:gd name="connsiteY14" fmla="*/ 0 h 659739"/>
              <a:gd name="connsiteX15" fmla="*/ 111084 w 276301"/>
              <a:gd name="connsiteY15" fmla="*/ 2255 h 659739"/>
              <a:gd name="connsiteX16" fmla="*/ 116159 w 276301"/>
              <a:gd name="connsiteY16" fmla="*/ 15789 h 659739"/>
              <a:gd name="connsiteX17" fmla="*/ 107137 w 276301"/>
              <a:gd name="connsiteY17" fmla="*/ 22555 h 659739"/>
              <a:gd name="connsiteX18" fmla="*/ 114467 w 276301"/>
              <a:gd name="connsiteY18" fmla="*/ 44546 h 659739"/>
              <a:gd name="connsiteX19" fmla="*/ 91348 w 276301"/>
              <a:gd name="connsiteY19" fmla="*/ 38344 h 659739"/>
              <a:gd name="connsiteX20" fmla="*/ 56952 w 276301"/>
              <a:gd name="connsiteY20" fmla="*/ 63155 h 659739"/>
              <a:gd name="connsiteX21" fmla="*/ 62027 w 276301"/>
              <a:gd name="connsiteY21" fmla="*/ 83454 h 659739"/>
              <a:gd name="connsiteX22" fmla="*/ 50185 w 276301"/>
              <a:gd name="connsiteY22" fmla="*/ 113904 h 659739"/>
              <a:gd name="connsiteX23" fmla="*/ 51877 w 276301"/>
              <a:gd name="connsiteY23" fmla="*/ 131384 h 659739"/>
              <a:gd name="connsiteX24" fmla="*/ 43418 w 276301"/>
              <a:gd name="connsiteY24" fmla="*/ 160706 h 659739"/>
              <a:gd name="connsiteX25" fmla="*/ 17480 w 276301"/>
              <a:gd name="connsiteY25" fmla="*/ 152812 h 659739"/>
              <a:gd name="connsiteX26" fmla="*/ 22555 w 276301"/>
              <a:gd name="connsiteY26" fmla="*/ 190028 h 659739"/>
              <a:gd name="connsiteX27" fmla="*/ 17480 w 276301"/>
              <a:gd name="connsiteY27" fmla="*/ 201869 h 659739"/>
              <a:gd name="connsiteX28" fmla="*/ 22555 w 276301"/>
              <a:gd name="connsiteY28" fmla="*/ 217094 h 659739"/>
              <a:gd name="connsiteX29" fmla="*/ 9022 w 276301"/>
              <a:gd name="connsiteY29" fmla="*/ 225552 h 659739"/>
              <a:gd name="connsiteX30" fmla="*/ 11841 w 276301"/>
              <a:gd name="connsiteY30" fmla="*/ 251491 h 659739"/>
              <a:gd name="connsiteX31" fmla="*/ 0 w 276301"/>
              <a:gd name="connsiteY31" fmla="*/ 245852 h 659739"/>
              <a:gd name="connsiteX32" fmla="*/ 6203 w 276301"/>
              <a:gd name="connsiteY32" fmla="*/ 274610 h 659739"/>
              <a:gd name="connsiteX33" fmla="*/ 32141 w 276301"/>
              <a:gd name="connsiteY33" fmla="*/ 303931 h 659739"/>
              <a:gd name="connsiteX34" fmla="*/ 51313 w 276301"/>
              <a:gd name="connsiteY34" fmla="*/ 309006 h 659739"/>
              <a:gd name="connsiteX35" fmla="*/ 49057 w 276301"/>
              <a:gd name="connsiteY35" fmla="*/ 321412 h 659739"/>
              <a:gd name="connsiteX36" fmla="*/ 79507 w 276301"/>
              <a:gd name="connsiteY36" fmla="*/ 363139 h 659739"/>
              <a:gd name="connsiteX37" fmla="*/ 90221 w 276301"/>
              <a:gd name="connsiteY37" fmla="*/ 396408 h 659739"/>
              <a:gd name="connsiteX38" fmla="*/ 85146 w 276301"/>
              <a:gd name="connsiteY38" fmla="*/ 440954 h 659739"/>
              <a:gd name="connsiteX39" fmla="*/ 105445 w 276301"/>
              <a:gd name="connsiteY39" fmla="*/ 449412 h 659739"/>
              <a:gd name="connsiteX40" fmla="*/ 123490 w 276301"/>
              <a:gd name="connsiteY40" fmla="*/ 452796 h 659739"/>
              <a:gd name="connsiteX41" fmla="*/ 156194 w 276301"/>
              <a:gd name="connsiteY41" fmla="*/ 426857 h 659739"/>
              <a:gd name="connsiteX42" fmla="*/ 174239 w 276301"/>
              <a:gd name="connsiteY42" fmla="*/ 409377 h 659739"/>
              <a:gd name="connsiteX43" fmla="*/ 191719 w 276301"/>
              <a:gd name="connsiteY43" fmla="*/ 438699 h 659739"/>
              <a:gd name="connsiteX44" fmla="*/ 202997 w 276301"/>
              <a:gd name="connsiteY44" fmla="*/ 484373 h 659739"/>
              <a:gd name="connsiteX45" fmla="*/ 217658 w 276301"/>
              <a:gd name="connsiteY45" fmla="*/ 527228 h 659739"/>
              <a:gd name="connsiteX46" fmla="*/ 232318 w 276301"/>
              <a:gd name="connsiteY46" fmla="*/ 545836 h 659739"/>
              <a:gd name="connsiteX47" fmla="*/ 233446 w 276301"/>
              <a:gd name="connsiteY47" fmla="*/ 584744 h 659739"/>
              <a:gd name="connsiteX48" fmla="*/ 245852 w 276301"/>
              <a:gd name="connsiteY48" fmla="*/ 606171 h 659739"/>
              <a:gd name="connsiteX49" fmla="*/ 238521 w 276301"/>
              <a:gd name="connsiteY49" fmla="*/ 633237 h 659739"/>
              <a:gd name="connsiteX50" fmla="*/ 243596 w 276301"/>
              <a:gd name="connsiteY50" fmla="*/ 660304 h 659739"/>
              <a:gd name="connsiteX51" fmla="*/ 256002 w 276301"/>
              <a:gd name="connsiteY51" fmla="*/ 623087 h 659739"/>
              <a:gd name="connsiteX52" fmla="*/ 270662 w 276301"/>
              <a:gd name="connsiteY52" fmla="*/ 589819 h 659739"/>
              <a:gd name="connsiteX53" fmla="*/ 254873 w 276301"/>
              <a:gd name="connsiteY53" fmla="*/ 557114 h 659739"/>
              <a:gd name="connsiteX54" fmla="*/ 253746 w 276301"/>
              <a:gd name="connsiteY54" fmla="*/ 540197 h 659739"/>
              <a:gd name="connsiteX55" fmla="*/ 248107 w 276301"/>
              <a:gd name="connsiteY55" fmla="*/ 520461 h 659739"/>
              <a:gd name="connsiteX56" fmla="*/ 224424 w 276301"/>
              <a:gd name="connsiteY56" fmla="*/ 491703 h 659739"/>
              <a:gd name="connsiteX57" fmla="*/ 214838 w 276301"/>
              <a:gd name="connsiteY57" fmla="*/ 473659 h 659739"/>
              <a:gd name="connsiteX58" fmla="*/ 224424 w 276301"/>
              <a:gd name="connsiteY58" fmla="*/ 467457 h 659739"/>
              <a:gd name="connsiteX59" fmla="*/ 232318 w 276301"/>
              <a:gd name="connsiteY59" fmla="*/ 435879 h 659739"/>
              <a:gd name="connsiteX60" fmla="*/ 215966 w 276301"/>
              <a:gd name="connsiteY60" fmla="*/ 412196 h 659739"/>
              <a:gd name="connsiteX61" fmla="*/ 192847 w 276301"/>
              <a:gd name="connsiteY61" fmla="*/ 386258 h 659739"/>
              <a:gd name="connsiteX62" fmla="*/ 173111 w 276301"/>
              <a:gd name="connsiteY62" fmla="*/ 354681 h 659739"/>
              <a:gd name="connsiteX63" fmla="*/ 185517 w 276301"/>
              <a:gd name="connsiteY63" fmla="*/ 348478 h 659739"/>
              <a:gd name="connsiteX64" fmla="*/ 193975 w 276301"/>
              <a:gd name="connsiteY64" fmla="*/ 309570 h 659739"/>
              <a:gd name="connsiteX65" fmla="*/ 215966 w 276301"/>
              <a:gd name="connsiteY65" fmla="*/ 307879 h 659739"/>
              <a:gd name="connsiteX66" fmla="*/ 231755 w 276301"/>
              <a:gd name="connsiteY66" fmla="*/ 292090 h 659739"/>
              <a:gd name="connsiteX67" fmla="*/ 248671 w 276301"/>
              <a:gd name="connsiteY67" fmla="*/ 284196 h 659739"/>
              <a:gd name="connsiteX68" fmla="*/ 253182 w 276301"/>
              <a:gd name="connsiteY68" fmla="*/ 270662 h 659739"/>
              <a:gd name="connsiteX69" fmla="*/ 276301 w 276301"/>
              <a:gd name="connsiteY69" fmla="*/ 247543 h 6597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</a:cxnLst>
            <a:rect l="l" t="t" r="r" b="b"/>
            <a:pathLst>
              <a:path w="276301" h="659739">
                <a:moveTo>
                  <a:pt x="276301" y="247543"/>
                </a:moveTo>
                <a:lnTo>
                  <a:pt x="272918" y="232883"/>
                </a:lnTo>
                <a:lnTo>
                  <a:pt x="251490" y="243032"/>
                </a:lnTo>
                <a:lnTo>
                  <a:pt x="237393" y="236266"/>
                </a:lnTo>
                <a:lnTo>
                  <a:pt x="212019" y="222733"/>
                </a:lnTo>
                <a:lnTo>
                  <a:pt x="216530" y="193411"/>
                </a:lnTo>
                <a:lnTo>
                  <a:pt x="195666" y="186080"/>
                </a:lnTo>
                <a:lnTo>
                  <a:pt x="182697" y="153375"/>
                </a:lnTo>
                <a:lnTo>
                  <a:pt x="151119" y="159014"/>
                </a:lnTo>
                <a:lnTo>
                  <a:pt x="147173" y="116723"/>
                </a:lnTo>
                <a:lnTo>
                  <a:pt x="170291" y="86837"/>
                </a:lnTo>
                <a:lnTo>
                  <a:pt x="165781" y="56952"/>
                </a:lnTo>
                <a:lnTo>
                  <a:pt x="158450" y="29322"/>
                </a:lnTo>
                <a:lnTo>
                  <a:pt x="143226" y="20864"/>
                </a:lnTo>
                <a:lnTo>
                  <a:pt x="128000" y="0"/>
                </a:lnTo>
                <a:lnTo>
                  <a:pt x="111084" y="2255"/>
                </a:lnTo>
                <a:lnTo>
                  <a:pt x="116159" y="15789"/>
                </a:lnTo>
                <a:lnTo>
                  <a:pt x="107137" y="22555"/>
                </a:lnTo>
                <a:lnTo>
                  <a:pt x="114467" y="44546"/>
                </a:lnTo>
                <a:lnTo>
                  <a:pt x="91348" y="38344"/>
                </a:lnTo>
                <a:lnTo>
                  <a:pt x="56952" y="63155"/>
                </a:lnTo>
                <a:lnTo>
                  <a:pt x="62027" y="83454"/>
                </a:lnTo>
                <a:lnTo>
                  <a:pt x="50185" y="113904"/>
                </a:lnTo>
                <a:lnTo>
                  <a:pt x="51877" y="131384"/>
                </a:lnTo>
                <a:lnTo>
                  <a:pt x="43418" y="160706"/>
                </a:lnTo>
                <a:lnTo>
                  <a:pt x="17480" y="152812"/>
                </a:lnTo>
                <a:lnTo>
                  <a:pt x="22555" y="190028"/>
                </a:lnTo>
                <a:lnTo>
                  <a:pt x="17480" y="201869"/>
                </a:lnTo>
                <a:lnTo>
                  <a:pt x="22555" y="217094"/>
                </a:lnTo>
                <a:lnTo>
                  <a:pt x="9022" y="225552"/>
                </a:lnTo>
                <a:lnTo>
                  <a:pt x="11841" y="251491"/>
                </a:lnTo>
                <a:lnTo>
                  <a:pt x="0" y="245852"/>
                </a:lnTo>
                <a:lnTo>
                  <a:pt x="6203" y="274610"/>
                </a:lnTo>
                <a:lnTo>
                  <a:pt x="32141" y="303931"/>
                </a:lnTo>
                <a:lnTo>
                  <a:pt x="51313" y="309006"/>
                </a:lnTo>
                <a:lnTo>
                  <a:pt x="49057" y="321412"/>
                </a:lnTo>
                <a:lnTo>
                  <a:pt x="79507" y="363139"/>
                </a:lnTo>
                <a:lnTo>
                  <a:pt x="90221" y="396408"/>
                </a:lnTo>
                <a:lnTo>
                  <a:pt x="85146" y="440954"/>
                </a:lnTo>
                <a:lnTo>
                  <a:pt x="105445" y="449412"/>
                </a:lnTo>
                <a:lnTo>
                  <a:pt x="123490" y="452796"/>
                </a:lnTo>
                <a:lnTo>
                  <a:pt x="156194" y="426857"/>
                </a:lnTo>
                <a:lnTo>
                  <a:pt x="174239" y="409377"/>
                </a:lnTo>
                <a:lnTo>
                  <a:pt x="191719" y="438699"/>
                </a:lnTo>
                <a:lnTo>
                  <a:pt x="202997" y="484373"/>
                </a:lnTo>
                <a:lnTo>
                  <a:pt x="217658" y="527228"/>
                </a:lnTo>
                <a:lnTo>
                  <a:pt x="232318" y="545836"/>
                </a:lnTo>
                <a:lnTo>
                  <a:pt x="233446" y="584744"/>
                </a:lnTo>
                <a:lnTo>
                  <a:pt x="245852" y="606171"/>
                </a:lnTo>
                <a:lnTo>
                  <a:pt x="238521" y="633237"/>
                </a:lnTo>
                <a:lnTo>
                  <a:pt x="243596" y="660304"/>
                </a:lnTo>
                <a:lnTo>
                  <a:pt x="256002" y="623087"/>
                </a:lnTo>
                <a:lnTo>
                  <a:pt x="270662" y="589819"/>
                </a:lnTo>
                <a:lnTo>
                  <a:pt x="254873" y="557114"/>
                </a:lnTo>
                <a:lnTo>
                  <a:pt x="253746" y="540197"/>
                </a:lnTo>
                <a:lnTo>
                  <a:pt x="248107" y="520461"/>
                </a:lnTo>
                <a:lnTo>
                  <a:pt x="224424" y="491703"/>
                </a:lnTo>
                <a:lnTo>
                  <a:pt x="214838" y="473659"/>
                </a:lnTo>
                <a:lnTo>
                  <a:pt x="224424" y="467457"/>
                </a:lnTo>
                <a:lnTo>
                  <a:pt x="232318" y="435879"/>
                </a:lnTo>
                <a:lnTo>
                  <a:pt x="215966" y="412196"/>
                </a:lnTo>
                <a:lnTo>
                  <a:pt x="192847" y="386258"/>
                </a:lnTo>
                <a:lnTo>
                  <a:pt x="173111" y="354681"/>
                </a:lnTo>
                <a:lnTo>
                  <a:pt x="185517" y="348478"/>
                </a:lnTo>
                <a:lnTo>
                  <a:pt x="193975" y="309570"/>
                </a:lnTo>
                <a:lnTo>
                  <a:pt x="215966" y="307879"/>
                </a:lnTo>
                <a:lnTo>
                  <a:pt x="231755" y="292090"/>
                </a:lnTo>
                <a:lnTo>
                  <a:pt x="248671" y="284196"/>
                </a:lnTo>
                <a:lnTo>
                  <a:pt x="253182" y="270662"/>
                </a:lnTo>
                <a:lnTo>
                  <a:pt x="276301" y="247543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8" name="Freeform: Shape 341">
            <a:extLst>
              <a:ext uri="{FF2B5EF4-FFF2-40B4-BE49-F238E27FC236}">
                <a16:creationId xmlns:a16="http://schemas.microsoft.com/office/drawing/2014/main" id="{5A5FA6FB-376A-475E-85CC-B856DC68DB26}"/>
              </a:ext>
            </a:extLst>
          </p:cNvPr>
          <p:cNvSpPr/>
          <p:nvPr/>
        </p:nvSpPr>
        <p:spPr>
          <a:xfrm>
            <a:off x="6240109" y="2956507"/>
            <a:ext cx="37924" cy="42138"/>
          </a:xfrm>
          <a:custGeom>
            <a:avLst/>
            <a:gdLst>
              <a:gd name="connsiteX0" fmla="*/ 50749 w 50749"/>
              <a:gd name="connsiteY0" fmla="*/ 24811 h 56388"/>
              <a:gd name="connsiteX1" fmla="*/ 53005 w 50749"/>
              <a:gd name="connsiteY1" fmla="*/ 21428 h 56388"/>
              <a:gd name="connsiteX2" fmla="*/ 41727 w 50749"/>
              <a:gd name="connsiteY2" fmla="*/ 14661 h 56388"/>
              <a:gd name="connsiteX3" fmla="*/ 31577 w 50749"/>
              <a:gd name="connsiteY3" fmla="*/ 10714 h 56388"/>
              <a:gd name="connsiteX4" fmla="*/ 27067 w 50749"/>
              <a:gd name="connsiteY4" fmla="*/ 6203 h 56388"/>
              <a:gd name="connsiteX5" fmla="*/ 18608 w 50749"/>
              <a:gd name="connsiteY5" fmla="*/ 0 h 56388"/>
              <a:gd name="connsiteX6" fmla="*/ 13533 w 50749"/>
              <a:gd name="connsiteY6" fmla="*/ 3383 h 56388"/>
              <a:gd name="connsiteX7" fmla="*/ 5075 w 50749"/>
              <a:gd name="connsiteY7" fmla="*/ 11278 h 56388"/>
              <a:gd name="connsiteX8" fmla="*/ 2819 w 50749"/>
              <a:gd name="connsiteY8" fmla="*/ 30449 h 56388"/>
              <a:gd name="connsiteX9" fmla="*/ 0 w 50749"/>
              <a:gd name="connsiteY9" fmla="*/ 36088 h 56388"/>
              <a:gd name="connsiteX10" fmla="*/ 0 w 50749"/>
              <a:gd name="connsiteY10" fmla="*/ 36088 h 56388"/>
              <a:gd name="connsiteX11" fmla="*/ 12970 w 50749"/>
              <a:gd name="connsiteY11" fmla="*/ 42855 h 56388"/>
              <a:gd name="connsiteX12" fmla="*/ 21991 w 50749"/>
              <a:gd name="connsiteY12" fmla="*/ 54696 h 56388"/>
              <a:gd name="connsiteX13" fmla="*/ 28194 w 50749"/>
              <a:gd name="connsiteY13" fmla="*/ 56952 h 56388"/>
              <a:gd name="connsiteX14" fmla="*/ 28194 w 50749"/>
              <a:gd name="connsiteY14" fmla="*/ 56952 h 56388"/>
              <a:gd name="connsiteX15" fmla="*/ 25375 w 50749"/>
              <a:gd name="connsiteY15" fmla="*/ 46238 h 56388"/>
              <a:gd name="connsiteX16" fmla="*/ 36652 w 50749"/>
              <a:gd name="connsiteY16" fmla="*/ 28758 h 56388"/>
              <a:gd name="connsiteX17" fmla="*/ 38908 w 50749"/>
              <a:gd name="connsiteY17" fmla="*/ 35525 h 56388"/>
              <a:gd name="connsiteX18" fmla="*/ 46238 w 50749"/>
              <a:gd name="connsiteY18" fmla="*/ 32705 h 56388"/>
              <a:gd name="connsiteX19" fmla="*/ 50749 w 50749"/>
              <a:gd name="connsiteY19" fmla="*/ 24811 h 56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50749" h="56388">
                <a:moveTo>
                  <a:pt x="50749" y="24811"/>
                </a:moveTo>
                <a:lnTo>
                  <a:pt x="53005" y="21428"/>
                </a:lnTo>
                <a:lnTo>
                  <a:pt x="41727" y="14661"/>
                </a:lnTo>
                <a:lnTo>
                  <a:pt x="31577" y="10714"/>
                </a:lnTo>
                <a:lnTo>
                  <a:pt x="27067" y="6203"/>
                </a:lnTo>
                <a:lnTo>
                  <a:pt x="18608" y="0"/>
                </a:lnTo>
                <a:lnTo>
                  <a:pt x="13533" y="3383"/>
                </a:lnTo>
                <a:lnTo>
                  <a:pt x="5075" y="11278"/>
                </a:lnTo>
                <a:lnTo>
                  <a:pt x="2819" y="30449"/>
                </a:lnTo>
                <a:lnTo>
                  <a:pt x="0" y="36088"/>
                </a:lnTo>
                <a:lnTo>
                  <a:pt x="0" y="36088"/>
                </a:lnTo>
                <a:lnTo>
                  <a:pt x="12970" y="42855"/>
                </a:lnTo>
                <a:lnTo>
                  <a:pt x="21991" y="54696"/>
                </a:lnTo>
                <a:lnTo>
                  <a:pt x="28194" y="56952"/>
                </a:lnTo>
                <a:lnTo>
                  <a:pt x="28194" y="56952"/>
                </a:lnTo>
                <a:lnTo>
                  <a:pt x="25375" y="46238"/>
                </a:lnTo>
                <a:lnTo>
                  <a:pt x="36652" y="28758"/>
                </a:lnTo>
                <a:lnTo>
                  <a:pt x="38908" y="35525"/>
                </a:lnTo>
                <a:lnTo>
                  <a:pt x="46238" y="32705"/>
                </a:lnTo>
                <a:lnTo>
                  <a:pt x="50749" y="24811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9" name="Freeform: Shape 342">
            <a:extLst>
              <a:ext uri="{FF2B5EF4-FFF2-40B4-BE49-F238E27FC236}">
                <a16:creationId xmlns:a16="http://schemas.microsoft.com/office/drawing/2014/main" id="{A9454508-9105-4C51-923A-A7033E78F23B}"/>
              </a:ext>
            </a:extLst>
          </p:cNvPr>
          <p:cNvSpPr/>
          <p:nvPr/>
        </p:nvSpPr>
        <p:spPr>
          <a:xfrm>
            <a:off x="7655099" y="2734439"/>
            <a:ext cx="699489" cy="269682"/>
          </a:xfrm>
          <a:custGeom>
            <a:avLst/>
            <a:gdLst>
              <a:gd name="connsiteX0" fmla="*/ 377235 w 936040"/>
              <a:gd name="connsiteY0" fmla="*/ 53005 h 360883"/>
              <a:gd name="connsiteX1" fmla="*/ 356372 w 936040"/>
              <a:gd name="connsiteY1" fmla="*/ 27066 h 360883"/>
              <a:gd name="connsiteX2" fmla="*/ 319156 w 936040"/>
              <a:gd name="connsiteY2" fmla="*/ 18608 h 360883"/>
              <a:gd name="connsiteX3" fmla="*/ 292089 w 936040"/>
              <a:gd name="connsiteY3" fmla="*/ 14097 h 360883"/>
              <a:gd name="connsiteX4" fmla="*/ 253182 w 936040"/>
              <a:gd name="connsiteY4" fmla="*/ 0 h 360883"/>
              <a:gd name="connsiteX5" fmla="*/ 245852 w 936040"/>
              <a:gd name="connsiteY5" fmla="*/ 36088 h 360883"/>
              <a:gd name="connsiteX6" fmla="*/ 268407 w 936040"/>
              <a:gd name="connsiteY6" fmla="*/ 56388 h 360883"/>
              <a:gd name="connsiteX7" fmla="*/ 254873 w 936040"/>
              <a:gd name="connsiteY7" fmla="*/ 80635 h 360883"/>
              <a:gd name="connsiteX8" fmla="*/ 210327 w 936040"/>
              <a:gd name="connsiteY8" fmla="*/ 71613 h 360883"/>
              <a:gd name="connsiteX9" fmla="*/ 182133 w 936040"/>
              <a:gd name="connsiteY9" fmla="*/ 70485 h 360883"/>
              <a:gd name="connsiteX10" fmla="*/ 155631 w 936040"/>
              <a:gd name="connsiteY10" fmla="*/ 54133 h 360883"/>
              <a:gd name="connsiteX11" fmla="*/ 126873 w 936040"/>
              <a:gd name="connsiteY11" fmla="*/ 53569 h 360883"/>
              <a:gd name="connsiteX12" fmla="*/ 96987 w 936040"/>
              <a:gd name="connsiteY12" fmla="*/ 42855 h 360883"/>
              <a:gd name="connsiteX13" fmla="*/ 63718 w 936040"/>
              <a:gd name="connsiteY13" fmla="*/ 59207 h 360883"/>
              <a:gd name="connsiteX14" fmla="*/ 26502 w 936040"/>
              <a:gd name="connsiteY14" fmla="*/ 89657 h 360883"/>
              <a:gd name="connsiteX15" fmla="*/ 0 w 936040"/>
              <a:gd name="connsiteY15" fmla="*/ 95296 h 360883"/>
              <a:gd name="connsiteX16" fmla="*/ 18608 w 936040"/>
              <a:gd name="connsiteY16" fmla="*/ 120106 h 360883"/>
              <a:gd name="connsiteX17" fmla="*/ 50749 w 936040"/>
              <a:gd name="connsiteY17" fmla="*/ 138714 h 360883"/>
              <a:gd name="connsiteX18" fmla="*/ 96423 w 936040"/>
              <a:gd name="connsiteY18" fmla="*/ 151684 h 360883"/>
              <a:gd name="connsiteX19" fmla="*/ 129128 w 936040"/>
              <a:gd name="connsiteY19" fmla="*/ 179878 h 360883"/>
              <a:gd name="connsiteX20" fmla="*/ 136459 w 936040"/>
              <a:gd name="connsiteY20" fmla="*/ 221041 h 360883"/>
              <a:gd name="connsiteX21" fmla="*/ 153375 w 936040"/>
              <a:gd name="connsiteY21" fmla="*/ 236266 h 360883"/>
              <a:gd name="connsiteX22" fmla="*/ 189464 w 936040"/>
              <a:gd name="connsiteY22" fmla="*/ 241905 h 360883"/>
              <a:gd name="connsiteX23" fmla="*/ 230063 w 936040"/>
              <a:gd name="connsiteY23" fmla="*/ 246979 h 360883"/>
              <a:gd name="connsiteX24" fmla="*/ 274609 w 936040"/>
              <a:gd name="connsiteY24" fmla="*/ 268407 h 360883"/>
              <a:gd name="connsiteX25" fmla="*/ 293781 w 936040"/>
              <a:gd name="connsiteY25" fmla="*/ 272354 h 360883"/>
              <a:gd name="connsiteX26" fmla="*/ 321412 w 936040"/>
              <a:gd name="connsiteY26" fmla="*/ 304495 h 360883"/>
              <a:gd name="connsiteX27" fmla="*/ 347914 w 936040"/>
              <a:gd name="connsiteY27" fmla="*/ 324795 h 360883"/>
              <a:gd name="connsiteX28" fmla="*/ 378927 w 936040"/>
              <a:gd name="connsiteY28" fmla="*/ 324231 h 360883"/>
              <a:gd name="connsiteX29" fmla="*/ 442081 w 936040"/>
              <a:gd name="connsiteY29" fmla="*/ 331561 h 360883"/>
              <a:gd name="connsiteX30" fmla="*/ 478170 w 936040"/>
              <a:gd name="connsiteY30" fmla="*/ 327051 h 360883"/>
              <a:gd name="connsiteX31" fmla="*/ 509183 w 936040"/>
              <a:gd name="connsiteY31" fmla="*/ 332125 h 360883"/>
              <a:gd name="connsiteX32" fmla="*/ 561624 w 936040"/>
              <a:gd name="connsiteY32" fmla="*/ 353553 h 360883"/>
              <a:gd name="connsiteX33" fmla="*/ 596585 w 936040"/>
              <a:gd name="connsiteY33" fmla="*/ 352989 h 360883"/>
              <a:gd name="connsiteX34" fmla="*/ 614629 w 936040"/>
              <a:gd name="connsiteY34" fmla="*/ 364266 h 360883"/>
              <a:gd name="connsiteX35" fmla="*/ 639439 w 936040"/>
              <a:gd name="connsiteY35" fmla="*/ 345658 h 360883"/>
              <a:gd name="connsiteX36" fmla="*/ 680039 w 936040"/>
              <a:gd name="connsiteY36" fmla="*/ 333253 h 360883"/>
              <a:gd name="connsiteX37" fmla="*/ 722330 w 936040"/>
              <a:gd name="connsiteY37" fmla="*/ 332125 h 360883"/>
              <a:gd name="connsiteX38" fmla="*/ 749960 w 936040"/>
              <a:gd name="connsiteY38" fmla="*/ 319720 h 360883"/>
              <a:gd name="connsiteX39" fmla="*/ 760674 w 936040"/>
              <a:gd name="connsiteY39" fmla="*/ 301112 h 360883"/>
              <a:gd name="connsiteX40" fmla="*/ 774771 w 936040"/>
              <a:gd name="connsiteY40" fmla="*/ 289834 h 360883"/>
              <a:gd name="connsiteX41" fmla="*/ 764057 w 936040"/>
              <a:gd name="connsiteY41" fmla="*/ 277993 h 360883"/>
              <a:gd name="connsiteX42" fmla="*/ 747705 w 936040"/>
              <a:gd name="connsiteY42" fmla="*/ 265024 h 360883"/>
              <a:gd name="connsiteX43" fmla="*/ 749960 w 936040"/>
              <a:gd name="connsiteY43" fmla="*/ 242469 h 360883"/>
              <a:gd name="connsiteX44" fmla="*/ 768004 w 936040"/>
              <a:gd name="connsiteY44" fmla="*/ 245288 h 360883"/>
              <a:gd name="connsiteX45" fmla="*/ 801273 w 936040"/>
              <a:gd name="connsiteY45" fmla="*/ 252618 h 360883"/>
              <a:gd name="connsiteX46" fmla="*/ 818754 w 936040"/>
              <a:gd name="connsiteY46" fmla="*/ 234010 h 360883"/>
              <a:gd name="connsiteX47" fmla="*/ 854278 w 936040"/>
              <a:gd name="connsiteY47" fmla="*/ 220477 h 360883"/>
              <a:gd name="connsiteX48" fmla="*/ 862172 w 936040"/>
              <a:gd name="connsiteY48" fmla="*/ 197358 h 360883"/>
              <a:gd name="connsiteX49" fmla="*/ 875705 w 936040"/>
              <a:gd name="connsiteY49" fmla="*/ 187208 h 360883"/>
              <a:gd name="connsiteX50" fmla="*/ 914049 w 936040"/>
              <a:gd name="connsiteY50" fmla="*/ 182697 h 360883"/>
              <a:gd name="connsiteX51" fmla="*/ 938296 w 936040"/>
              <a:gd name="connsiteY51" fmla="*/ 186644 h 360883"/>
              <a:gd name="connsiteX52" fmla="*/ 934349 w 936040"/>
              <a:gd name="connsiteY52" fmla="*/ 174239 h 360883"/>
              <a:gd name="connsiteX53" fmla="*/ 893750 w 936040"/>
              <a:gd name="connsiteY53" fmla="*/ 149992 h 360883"/>
              <a:gd name="connsiteX54" fmla="*/ 864991 w 936040"/>
              <a:gd name="connsiteY54" fmla="*/ 138714 h 360883"/>
              <a:gd name="connsiteX55" fmla="*/ 850894 w 936040"/>
              <a:gd name="connsiteY55" fmla="*/ 151684 h 360883"/>
              <a:gd name="connsiteX56" fmla="*/ 820445 w 936040"/>
              <a:gd name="connsiteY56" fmla="*/ 146045 h 360883"/>
              <a:gd name="connsiteX57" fmla="*/ 806912 w 936040"/>
              <a:gd name="connsiteY57" fmla="*/ 150556 h 360883"/>
              <a:gd name="connsiteX58" fmla="*/ 791687 w 936040"/>
              <a:gd name="connsiteY58" fmla="*/ 135895 h 360883"/>
              <a:gd name="connsiteX59" fmla="*/ 789996 w 936040"/>
              <a:gd name="connsiteY59" fmla="*/ 100935 h 360883"/>
              <a:gd name="connsiteX60" fmla="*/ 786613 w 936040"/>
              <a:gd name="connsiteY60" fmla="*/ 74996 h 360883"/>
              <a:gd name="connsiteX61" fmla="*/ 755599 w 936040"/>
              <a:gd name="connsiteY61" fmla="*/ 77815 h 360883"/>
              <a:gd name="connsiteX62" fmla="*/ 733608 w 936040"/>
              <a:gd name="connsiteY62" fmla="*/ 65974 h 360883"/>
              <a:gd name="connsiteX63" fmla="*/ 714999 w 936040"/>
              <a:gd name="connsiteY63" fmla="*/ 62027 h 360883"/>
              <a:gd name="connsiteX64" fmla="*/ 689625 w 936040"/>
              <a:gd name="connsiteY64" fmla="*/ 86838 h 360883"/>
              <a:gd name="connsiteX65" fmla="*/ 656920 w 936040"/>
              <a:gd name="connsiteY65" fmla="*/ 92476 h 360883"/>
              <a:gd name="connsiteX66" fmla="*/ 636620 w 936040"/>
              <a:gd name="connsiteY66" fmla="*/ 101498 h 360883"/>
              <a:gd name="connsiteX67" fmla="*/ 598840 w 936040"/>
              <a:gd name="connsiteY67" fmla="*/ 95860 h 360883"/>
              <a:gd name="connsiteX68" fmla="*/ 573466 w 936040"/>
              <a:gd name="connsiteY68" fmla="*/ 95860 h 360883"/>
              <a:gd name="connsiteX69" fmla="*/ 545835 w 936040"/>
              <a:gd name="connsiteY69" fmla="*/ 78379 h 360883"/>
              <a:gd name="connsiteX70" fmla="*/ 509183 w 936040"/>
              <a:gd name="connsiteY70" fmla="*/ 61463 h 360883"/>
              <a:gd name="connsiteX71" fmla="*/ 478734 w 936040"/>
              <a:gd name="connsiteY71" fmla="*/ 56952 h 360883"/>
              <a:gd name="connsiteX72" fmla="*/ 446593 w 936040"/>
              <a:gd name="connsiteY72" fmla="*/ 61463 h 360883"/>
              <a:gd name="connsiteX73" fmla="*/ 424601 w 936040"/>
              <a:gd name="connsiteY73" fmla="*/ 67666 h 360883"/>
              <a:gd name="connsiteX74" fmla="*/ 377235 w 936040"/>
              <a:gd name="connsiteY74" fmla="*/ 53005 h 3608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</a:cxnLst>
            <a:rect l="l" t="t" r="r" b="b"/>
            <a:pathLst>
              <a:path w="936040" h="360883">
                <a:moveTo>
                  <a:pt x="377235" y="53005"/>
                </a:moveTo>
                <a:lnTo>
                  <a:pt x="356372" y="27066"/>
                </a:lnTo>
                <a:lnTo>
                  <a:pt x="319156" y="18608"/>
                </a:lnTo>
                <a:lnTo>
                  <a:pt x="292089" y="14097"/>
                </a:lnTo>
                <a:lnTo>
                  <a:pt x="253182" y="0"/>
                </a:lnTo>
                <a:lnTo>
                  <a:pt x="245852" y="36088"/>
                </a:lnTo>
                <a:lnTo>
                  <a:pt x="268407" y="56388"/>
                </a:lnTo>
                <a:lnTo>
                  <a:pt x="254873" y="80635"/>
                </a:lnTo>
                <a:lnTo>
                  <a:pt x="210327" y="71613"/>
                </a:lnTo>
                <a:lnTo>
                  <a:pt x="182133" y="70485"/>
                </a:lnTo>
                <a:lnTo>
                  <a:pt x="155631" y="54133"/>
                </a:lnTo>
                <a:lnTo>
                  <a:pt x="126873" y="53569"/>
                </a:lnTo>
                <a:lnTo>
                  <a:pt x="96987" y="42855"/>
                </a:lnTo>
                <a:lnTo>
                  <a:pt x="63718" y="59207"/>
                </a:lnTo>
                <a:lnTo>
                  <a:pt x="26502" y="89657"/>
                </a:lnTo>
                <a:lnTo>
                  <a:pt x="0" y="95296"/>
                </a:lnTo>
                <a:lnTo>
                  <a:pt x="18608" y="120106"/>
                </a:lnTo>
                <a:lnTo>
                  <a:pt x="50749" y="138714"/>
                </a:lnTo>
                <a:lnTo>
                  <a:pt x="96423" y="151684"/>
                </a:lnTo>
                <a:lnTo>
                  <a:pt x="129128" y="179878"/>
                </a:lnTo>
                <a:lnTo>
                  <a:pt x="136459" y="221041"/>
                </a:lnTo>
                <a:lnTo>
                  <a:pt x="153375" y="236266"/>
                </a:lnTo>
                <a:lnTo>
                  <a:pt x="189464" y="241905"/>
                </a:lnTo>
                <a:lnTo>
                  <a:pt x="230063" y="246979"/>
                </a:lnTo>
                <a:lnTo>
                  <a:pt x="274609" y="268407"/>
                </a:lnTo>
                <a:lnTo>
                  <a:pt x="293781" y="272354"/>
                </a:lnTo>
                <a:lnTo>
                  <a:pt x="321412" y="304495"/>
                </a:lnTo>
                <a:lnTo>
                  <a:pt x="347914" y="324795"/>
                </a:lnTo>
                <a:lnTo>
                  <a:pt x="378927" y="324231"/>
                </a:lnTo>
                <a:lnTo>
                  <a:pt x="442081" y="331561"/>
                </a:lnTo>
                <a:lnTo>
                  <a:pt x="478170" y="327051"/>
                </a:lnTo>
                <a:lnTo>
                  <a:pt x="509183" y="332125"/>
                </a:lnTo>
                <a:lnTo>
                  <a:pt x="561624" y="353553"/>
                </a:lnTo>
                <a:lnTo>
                  <a:pt x="596585" y="352989"/>
                </a:lnTo>
                <a:lnTo>
                  <a:pt x="614629" y="364266"/>
                </a:lnTo>
                <a:lnTo>
                  <a:pt x="639439" y="345658"/>
                </a:lnTo>
                <a:lnTo>
                  <a:pt x="680039" y="333253"/>
                </a:lnTo>
                <a:lnTo>
                  <a:pt x="722330" y="332125"/>
                </a:lnTo>
                <a:lnTo>
                  <a:pt x="749960" y="319720"/>
                </a:lnTo>
                <a:lnTo>
                  <a:pt x="760674" y="301112"/>
                </a:lnTo>
                <a:lnTo>
                  <a:pt x="774771" y="289834"/>
                </a:lnTo>
                <a:lnTo>
                  <a:pt x="764057" y="277993"/>
                </a:lnTo>
                <a:lnTo>
                  <a:pt x="747705" y="265024"/>
                </a:lnTo>
                <a:lnTo>
                  <a:pt x="749960" y="242469"/>
                </a:lnTo>
                <a:lnTo>
                  <a:pt x="768004" y="245288"/>
                </a:lnTo>
                <a:lnTo>
                  <a:pt x="801273" y="252618"/>
                </a:lnTo>
                <a:lnTo>
                  <a:pt x="818754" y="234010"/>
                </a:lnTo>
                <a:lnTo>
                  <a:pt x="854278" y="220477"/>
                </a:lnTo>
                <a:lnTo>
                  <a:pt x="862172" y="197358"/>
                </a:lnTo>
                <a:lnTo>
                  <a:pt x="875705" y="187208"/>
                </a:lnTo>
                <a:lnTo>
                  <a:pt x="914049" y="182697"/>
                </a:lnTo>
                <a:lnTo>
                  <a:pt x="938296" y="186644"/>
                </a:lnTo>
                <a:lnTo>
                  <a:pt x="934349" y="174239"/>
                </a:lnTo>
                <a:lnTo>
                  <a:pt x="893750" y="149992"/>
                </a:lnTo>
                <a:lnTo>
                  <a:pt x="864991" y="138714"/>
                </a:lnTo>
                <a:lnTo>
                  <a:pt x="850894" y="151684"/>
                </a:lnTo>
                <a:lnTo>
                  <a:pt x="820445" y="146045"/>
                </a:lnTo>
                <a:lnTo>
                  <a:pt x="806912" y="150556"/>
                </a:lnTo>
                <a:lnTo>
                  <a:pt x="791687" y="135895"/>
                </a:lnTo>
                <a:lnTo>
                  <a:pt x="789996" y="100935"/>
                </a:lnTo>
                <a:lnTo>
                  <a:pt x="786613" y="74996"/>
                </a:lnTo>
                <a:lnTo>
                  <a:pt x="755599" y="77815"/>
                </a:lnTo>
                <a:lnTo>
                  <a:pt x="733608" y="65974"/>
                </a:lnTo>
                <a:lnTo>
                  <a:pt x="714999" y="62027"/>
                </a:lnTo>
                <a:lnTo>
                  <a:pt x="689625" y="86838"/>
                </a:lnTo>
                <a:lnTo>
                  <a:pt x="656920" y="92476"/>
                </a:lnTo>
                <a:lnTo>
                  <a:pt x="636620" y="101498"/>
                </a:lnTo>
                <a:lnTo>
                  <a:pt x="598840" y="95860"/>
                </a:lnTo>
                <a:lnTo>
                  <a:pt x="573466" y="95860"/>
                </a:lnTo>
                <a:lnTo>
                  <a:pt x="545835" y="78379"/>
                </a:lnTo>
                <a:lnTo>
                  <a:pt x="509183" y="61463"/>
                </a:lnTo>
                <a:lnTo>
                  <a:pt x="478734" y="56952"/>
                </a:lnTo>
                <a:lnTo>
                  <a:pt x="446593" y="61463"/>
                </a:lnTo>
                <a:lnTo>
                  <a:pt x="424601" y="67666"/>
                </a:lnTo>
                <a:lnTo>
                  <a:pt x="377235" y="53005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0" name="Freeform: Shape 343">
            <a:extLst>
              <a:ext uri="{FF2B5EF4-FFF2-40B4-BE49-F238E27FC236}">
                <a16:creationId xmlns:a16="http://schemas.microsoft.com/office/drawing/2014/main" id="{2AB65923-5D7A-413A-8C21-A513CE0E4EE8}"/>
              </a:ext>
            </a:extLst>
          </p:cNvPr>
          <p:cNvSpPr/>
          <p:nvPr/>
        </p:nvSpPr>
        <p:spPr>
          <a:xfrm>
            <a:off x="6550666" y="4399307"/>
            <a:ext cx="248613" cy="438234"/>
          </a:xfrm>
          <a:custGeom>
            <a:avLst/>
            <a:gdLst>
              <a:gd name="connsiteX0" fmla="*/ 328742 w 332689"/>
              <a:gd name="connsiteY0" fmla="*/ 16353 h 586435"/>
              <a:gd name="connsiteX1" fmla="*/ 324231 w 332689"/>
              <a:gd name="connsiteY1" fmla="*/ 0 h 586435"/>
              <a:gd name="connsiteX2" fmla="*/ 324231 w 332689"/>
              <a:gd name="connsiteY2" fmla="*/ 0 h 586435"/>
              <a:gd name="connsiteX3" fmla="*/ 324231 w 332689"/>
              <a:gd name="connsiteY3" fmla="*/ 0 h 586435"/>
              <a:gd name="connsiteX4" fmla="*/ 298293 w 332689"/>
              <a:gd name="connsiteY4" fmla="*/ 20864 h 586435"/>
              <a:gd name="connsiteX5" fmla="*/ 263332 w 332689"/>
              <a:gd name="connsiteY5" fmla="*/ 34961 h 586435"/>
              <a:gd name="connsiteX6" fmla="*/ 244724 w 332689"/>
              <a:gd name="connsiteY6" fmla="*/ 34397 h 586435"/>
              <a:gd name="connsiteX7" fmla="*/ 232883 w 332689"/>
              <a:gd name="connsiteY7" fmla="*/ 45110 h 586435"/>
              <a:gd name="connsiteX8" fmla="*/ 210891 w 332689"/>
              <a:gd name="connsiteY8" fmla="*/ 45674 h 586435"/>
              <a:gd name="connsiteX9" fmla="*/ 202997 w 332689"/>
              <a:gd name="connsiteY9" fmla="*/ 50185 h 586435"/>
              <a:gd name="connsiteX10" fmla="*/ 165217 w 332689"/>
              <a:gd name="connsiteY10" fmla="*/ 40036 h 586435"/>
              <a:gd name="connsiteX11" fmla="*/ 153376 w 332689"/>
              <a:gd name="connsiteY11" fmla="*/ 41727 h 586435"/>
              <a:gd name="connsiteX12" fmla="*/ 144354 w 332689"/>
              <a:gd name="connsiteY12" fmla="*/ 75560 h 586435"/>
              <a:gd name="connsiteX13" fmla="*/ 148301 w 332689"/>
              <a:gd name="connsiteY13" fmla="*/ 116723 h 586435"/>
              <a:gd name="connsiteX14" fmla="*/ 149993 w 332689"/>
              <a:gd name="connsiteY14" fmla="*/ 116723 h 586435"/>
              <a:gd name="connsiteX15" fmla="*/ 160706 w 332689"/>
              <a:gd name="connsiteY15" fmla="*/ 128001 h 586435"/>
              <a:gd name="connsiteX16" fmla="*/ 173112 w 332689"/>
              <a:gd name="connsiteY16" fmla="*/ 153939 h 586435"/>
              <a:gd name="connsiteX17" fmla="*/ 173675 w 332689"/>
              <a:gd name="connsiteY17" fmla="*/ 200177 h 586435"/>
              <a:gd name="connsiteX18" fmla="*/ 159578 w 332689"/>
              <a:gd name="connsiteY18" fmla="*/ 207508 h 586435"/>
              <a:gd name="connsiteX19" fmla="*/ 148864 w 332689"/>
              <a:gd name="connsiteY19" fmla="*/ 232882 h 586435"/>
              <a:gd name="connsiteX20" fmla="*/ 129692 w 332689"/>
              <a:gd name="connsiteY20" fmla="*/ 210327 h 586435"/>
              <a:gd name="connsiteX21" fmla="*/ 128565 w 332689"/>
              <a:gd name="connsiteY21" fmla="*/ 184953 h 586435"/>
              <a:gd name="connsiteX22" fmla="*/ 135896 w 332689"/>
              <a:gd name="connsiteY22" fmla="*/ 168600 h 586435"/>
              <a:gd name="connsiteX23" fmla="*/ 134204 w 332689"/>
              <a:gd name="connsiteY23" fmla="*/ 153939 h 586435"/>
              <a:gd name="connsiteX24" fmla="*/ 122362 w 332689"/>
              <a:gd name="connsiteY24" fmla="*/ 144917 h 586435"/>
              <a:gd name="connsiteX25" fmla="*/ 113340 w 332689"/>
              <a:gd name="connsiteY25" fmla="*/ 148300 h 586435"/>
              <a:gd name="connsiteX26" fmla="*/ 96424 w 332689"/>
              <a:gd name="connsiteY26" fmla="*/ 131384 h 586435"/>
              <a:gd name="connsiteX27" fmla="*/ 0 w 332689"/>
              <a:gd name="connsiteY27" fmla="*/ 160706 h 586435"/>
              <a:gd name="connsiteX28" fmla="*/ 1692 w 332689"/>
              <a:gd name="connsiteY28" fmla="*/ 186080 h 586435"/>
              <a:gd name="connsiteX29" fmla="*/ 3384 w 332689"/>
              <a:gd name="connsiteY29" fmla="*/ 199614 h 586435"/>
              <a:gd name="connsiteX30" fmla="*/ 29322 w 332689"/>
              <a:gd name="connsiteY30" fmla="*/ 199050 h 586435"/>
              <a:gd name="connsiteX31" fmla="*/ 43983 w 332689"/>
              <a:gd name="connsiteY31" fmla="*/ 206380 h 586435"/>
              <a:gd name="connsiteX32" fmla="*/ 50185 w 332689"/>
              <a:gd name="connsiteY32" fmla="*/ 215402 h 586435"/>
              <a:gd name="connsiteX33" fmla="*/ 64846 w 332689"/>
              <a:gd name="connsiteY33" fmla="*/ 218222 h 586435"/>
              <a:gd name="connsiteX34" fmla="*/ 80635 w 332689"/>
              <a:gd name="connsiteY34" fmla="*/ 229499 h 586435"/>
              <a:gd name="connsiteX35" fmla="*/ 78943 w 332689"/>
              <a:gd name="connsiteY35" fmla="*/ 275173 h 586435"/>
              <a:gd name="connsiteX36" fmla="*/ 71613 w 332689"/>
              <a:gd name="connsiteY36" fmla="*/ 299984 h 586435"/>
              <a:gd name="connsiteX37" fmla="*/ 68794 w 332689"/>
              <a:gd name="connsiteY37" fmla="*/ 326487 h 586435"/>
              <a:gd name="connsiteX38" fmla="*/ 73304 w 332689"/>
              <a:gd name="connsiteY38" fmla="*/ 337200 h 586435"/>
              <a:gd name="connsiteX39" fmla="*/ 68794 w 332689"/>
              <a:gd name="connsiteY39" fmla="*/ 358064 h 586435"/>
              <a:gd name="connsiteX40" fmla="*/ 63719 w 332689"/>
              <a:gd name="connsiteY40" fmla="*/ 361447 h 586435"/>
              <a:gd name="connsiteX41" fmla="*/ 54697 w 332689"/>
              <a:gd name="connsiteY41" fmla="*/ 387386 h 586435"/>
              <a:gd name="connsiteX42" fmla="*/ 19736 w 332689"/>
              <a:gd name="connsiteY42" fmla="*/ 427985 h 586435"/>
              <a:gd name="connsiteX43" fmla="*/ 32142 w 332689"/>
              <a:gd name="connsiteY43" fmla="*/ 478734 h 586435"/>
              <a:gd name="connsiteX44" fmla="*/ 38344 w 332689"/>
              <a:gd name="connsiteY44" fmla="*/ 504109 h 586435"/>
              <a:gd name="connsiteX45" fmla="*/ 30450 w 332689"/>
              <a:gd name="connsiteY45" fmla="*/ 544144 h 586435"/>
              <a:gd name="connsiteX46" fmla="*/ 32705 w 332689"/>
              <a:gd name="connsiteY46" fmla="*/ 557113 h 586435"/>
              <a:gd name="connsiteX47" fmla="*/ 36088 w 332689"/>
              <a:gd name="connsiteY47" fmla="*/ 573466 h 586435"/>
              <a:gd name="connsiteX48" fmla="*/ 37780 w 332689"/>
              <a:gd name="connsiteY48" fmla="*/ 589255 h 586435"/>
              <a:gd name="connsiteX49" fmla="*/ 60899 w 332689"/>
              <a:gd name="connsiteY49" fmla="*/ 589255 h 586435"/>
              <a:gd name="connsiteX50" fmla="*/ 64846 w 332689"/>
              <a:gd name="connsiteY50" fmla="*/ 570647 h 586435"/>
              <a:gd name="connsiteX51" fmla="*/ 56952 w 332689"/>
              <a:gd name="connsiteY51" fmla="*/ 567827 h 586435"/>
              <a:gd name="connsiteX52" fmla="*/ 55261 w 332689"/>
              <a:gd name="connsiteY52" fmla="*/ 553167 h 586435"/>
              <a:gd name="connsiteX53" fmla="*/ 69921 w 332689"/>
              <a:gd name="connsiteY53" fmla="*/ 539633 h 586435"/>
              <a:gd name="connsiteX54" fmla="*/ 108265 w 332689"/>
              <a:gd name="connsiteY54" fmla="*/ 520461 h 586435"/>
              <a:gd name="connsiteX55" fmla="*/ 134204 w 332689"/>
              <a:gd name="connsiteY55" fmla="*/ 508056 h 586435"/>
              <a:gd name="connsiteX56" fmla="*/ 148301 w 332689"/>
              <a:gd name="connsiteY56" fmla="*/ 495087 h 586435"/>
              <a:gd name="connsiteX57" fmla="*/ 153376 w 332689"/>
              <a:gd name="connsiteY57" fmla="*/ 480426 h 586435"/>
              <a:gd name="connsiteX58" fmla="*/ 146609 w 332689"/>
              <a:gd name="connsiteY58" fmla="*/ 474223 h 586435"/>
              <a:gd name="connsiteX59" fmla="*/ 152812 w 332689"/>
              <a:gd name="connsiteY59" fmla="*/ 457307 h 586435"/>
              <a:gd name="connsiteX60" fmla="*/ 155631 w 332689"/>
              <a:gd name="connsiteY60" fmla="*/ 422346 h 586435"/>
              <a:gd name="connsiteX61" fmla="*/ 149993 w 332689"/>
              <a:gd name="connsiteY61" fmla="*/ 424038 h 586435"/>
              <a:gd name="connsiteX62" fmla="*/ 149993 w 332689"/>
              <a:gd name="connsiteY62" fmla="*/ 413324 h 586435"/>
              <a:gd name="connsiteX63" fmla="*/ 145481 w 332689"/>
              <a:gd name="connsiteY63" fmla="*/ 392461 h 586435"/>
              <a:gd name="connsiteX64" fmla="*/ 131948 w 332689"/>
              <a:gd name="connsiteY64" fmla="*/ 365394 h 586435"/>
              <a:gd name="connsiteX65" fmla="*/ 135896 w 332689"/>
              <a:gd name="connsiteY65" fmla="*/ 339456 h 586435"/>
              <a:gd name="connsiteX66" fmla="*/ 148864 w 332689"/>
              <a:gd name="connsiteY66" fmla="*/ 331561 h 586435"/>
              <a:gd name="connsiteX67" fmla="*/ 171983 w 332689"/>
              <a:gd name="connsiteY67" fmla="*/ 305623 h 586435"/>
              <a:gd name="connsiteX68" fmla="*/ 184389 w 332689"/>
              <a:gd name="connsiteY68" fmla="*/ 299421 h 586435"/>
              <a:gd name="connsiteX69" fmla="*/ 222169 w 332689"/>
              <a:gd name="connsiteY69" fmla="*/ 261076 h 586435"/>
              <a:gd name="connsiteX70" fmla="*/ 258257 w 332689"/>
              <a:gd name="connsiteY70" fmla="*/ 243596 h 586435"/>
              <a:gd name="connsiteX71" fmla="*/ 287579 w 332689"/>
              <a:gd name="connsiteY71" fmla="*/ 229499 h 586435"/>
              <a:gd name="connsiteX72" fmla="*/ 308443 w 332689"/>
              <a:gd name="connsiteY72" fmla="*/ 207508 h 586435"/>
              <a:gd name="connsiteX73" fmla="*/ 321976 w 332689"/>
              <a:gd name="connsiteY73" fmla="*/ 182697 h 586435"/>
              <a:gd name="connsiteX74" fmla="*/ 332689 w 332689"/>
              <a:gd name="connsiteY74" fmla="*/ 156759 h 586435"/>
              <a:gd name="connsiteX75" fmla="*/ 327615 w 332689"/>
              <a:gd name="connsiteY75" fmla="*/ 139278 h 586435"/>
              <a:gd name="connsiteX76" fmla="*/ 328742 w 332689"/>
              <a:gd name="connsiteY76" fmla="*/ 83454 h 586435"/>
              <a:gd name="connsiteX77" fmla="*/ 326487 w 332689"/>
              <a:gd name="connsiteY77" fmla="*/ 51877 h 586435"/>
              <a:gd name="connsiteX78" fmla="*/ 328742 w 332689"/>
              <a:gd name="connsiteY78" fmla="*/ 16353 h 5864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</a:cxnLst>
            <a:rect l="l" t="t" r="r" b="b"/>
            <a:pathLst>
              <a:path w="332689" h="586435">
                <a:moveTo>
                  <a:pt x="328742" y="16353"/>
                </a:moveTo>
                <a:lnTo>
                  <a:pt x="324231" y="0"/>
                </a:lnTo>
                <a:lnTo>
                  <a:pt x="324231" y="0"/>
                </a:lnTo>
                <a:lnTo>
                  <a:pt x="324231" y="0"/>
                </a:lnTo>
                <a:lnTo>
                  <a:pt x="298293" y="20864"/>
                </a:lnTo>
                <a:lnTo>
                  <a:pt x="263332" y="34961"/>
                </a:lnTo>
                <a:lnTo>
                  <a:pt x="244724" y="34397"/>
                </a:lnTo>
                <a:lnTo>
                  <a:pt x="232883" y="45110"/>
                </a:lnTo>
                <a:lnTo>
                  <a:pt x="210891" y="45674"/>
                </a:lnTo>
                <a:lnTo>
                  <a:pt x="202997" y="50185"/>
                </a:lnTo>
                <a:lnTo>
                  <a:pt x="165217" y="40036"/>
                </a:lnTo>
                <a:lnTo>
                  <a:pt x="153376" y="41727"/>
                </a:lnTo>
                <a:lnTo>
                  <a:pt x="144354" y="75560"/>
                </a:lnTo>
                <a:lnTo>
                  <a:pt x="148301" y="116723"/>
                </a:lnTo>
                <a:lnTo>
                  <a:pt x="149993" y="116723"/>
                </a:lnTo>
                <a:lnTo>
                  <a:pt x="160706" y="128001"/>
                </a:lnTo>
                <a:lnTo>
                  <a:pt x="173112" y="153939"/>
                </a:lnTo>
                <a:lnTo>
                  <a:pt x="173675" y="200177"/>
                </a:lnTo>
                <a:lnTo>
                  <a:pt x="159578" y="207508"/>
                </a:lnTo>
                <a:lnTo>
                  <a:pt x="148864" y="232882"/>
                </a:lnTo>
                <a:lnTo>
                  <a:pt x="129692" y="210327"/>
                </a:lnTo>
                <a:lnTo>
                  <a:pt x="128565" y="184953"/>
                </a:lnTo>
                <a:lnTo>
                  <a:pt x="135896" y="168600"/>
                </a:lnTo>
                <a:lnTo>
                  <a:pt x="134204" y="153939"/>
                </a:lnTo>
                <a:lnTo>
                  <a:pt x="122362" y="144917"/>
                </a:lnTo>
                <a:lnTo>
                  <a:pt x="113340" y="148300"/>
                </a:lnTo>
                <a:lnTo>
                  <a:pt x="96424" y="131384"/>
                </a:lnTo>
                <a:lnTo>
                  <a:pt x="0" y="160706"/>
                </a:lnTo>
                <a:lnTo>
                  <a:pt x="1692" y="186080"/>
                </a:lnTo>
                <a:lnTo>
                  <a:pt x="3384" y="199614"/>
                </a:lnTo>
                <a:lnTo>
                  <a:pt x="29322" y="199050"/>
                </a:lnTo>
                <a:lnTo>
                  <a:pt x="43983" y="206380"/>
                </a:lnTo>
                <a:lnTo>
                  <a:pt x="50185" y="215402"/>
                </a:lnTo>
                <a:lnTo>
                  <a:pt x="64846" y="218222"/>
                </a:lnTo>
                <a:lnTo>
                  <a:pt x="80635" y="229499"/>
                </a:lnTo>
                <a:lnTo>
                  <a:pt x="78943" y="275173"/>
                </a:lnTo>
                <a:lnTo>
                  <a:pt x="71613" y="299984"/>
                </a:lnTo>
                <a:lnTo>
                  <a:pt x="68794" y="326487"/>
                </a:lnTo>
                <a:lnTo>
                  <a:pt x="73304" y="337200"/>
                </a:lnTo>
                <a:lnTo>
                  <a:pt x="68794" y="358064"/>
                </a:lnTo>
                <a:lnTo>
                  <a:pt x="63719" y="361447"/>
                </a:lnTo>
                <a:lnTo>
                  <a:pt x="54697" y="387386"/>
                </a:lnTo>
                <a:lnTo>
                  <a:pt x="19736" y="427985"/>
                </a:lnTo>
                <a:lnTo>
                  <a:pt x="32142" y="478734"/>
                </a:lnTo>
                <a:lnTo>
                  <a:pt x="38344" y="504109"/>
                </a:lnTo>
                <a:lnTo>
                  <a:pt x="30450" y="544144"/>
                </a:lnTo>
                <a:lnTo>
                  <a:pt x="32705" y="557113"/>
                </a:lnTo>
                <a:lnTo>
                  <a:pt x="36088" y="573466"/>
                </a:lnTo>
                <a:lnTo>
                  <a:pt x="37780" y="589255"/>
                </a:lnTo>
                <a:lnTo>
                  <a:pt x="60899" y="589255"/>
                </a:lnTo>
                <a:lnTo>
                  <a:pt x="64846" y="570647"/>
                </a:lnTo>
                <a:lnTo>
                  <a:pt x="56952" y="567827"/>
                </a:lnTo>
                <a:lnTo>
                  <a:pt x="55261" y="553167"/>
                </a:lnTo>
                <a:lnTo>
                  <a:pt x="69921" y="539633"/>
                </a:lnTo>
                <a:lnTo>
                  <a:pt x="108265" y="520461"/>
                </a:lnTo>
                <a:lnTo>
                  <a:pt x="134204" y="508056"/>
                </a:lnTo>
                <a:lnTo>
                  <a:pt x="148301" y="495087"/>
                </a:lnTo>
                <a:lnTo>
                  <a:pt x="153376" y="480426"/>
                </a:lnTo>
                <a:lnTo>
                  <a:pt x="146609" y="474223"/>
                </a:lnTo>
                <a:lnTo>
                  <a:pt x="152812" y="457307"/>
                </a:lnTo>
                <a:lnTo>
                  <a:pt x="155631" y="422346"/>
                </a:lnTo>
                <a:lnTo>
                  <a:pt x="149993" y="424038"/>
                </a:lnTo>
                <a:lnTo>
                  <a:pt x="149993" y="413324"/>
                </a:lnTo>
                <a:lnTo>
                  <a:pt x="145481" y="392461"/>
                </a:lnTo>
                <a:lnTo>
                  <a:pt x="131948" y="365394"/>
                </a:lnTo>
                <a:lnTo>
                  <a:pt x="135896" y="339456"/>
                </a:lnTo>
                <a:lnTo>
                  <a:pt x="148864" y="331561"/>
                </a:lnTo>
                <a:lnTo>
                  <a:pt x="171983" y="305623"/>
                </a:lnTo>
                <a:lnTo>
                  <a:pt x="184389" y="299421"/>
                </a:lnTo>
                <a:lnTo>
                  <a:pt x="222169" y="261076"/>
                </a:lnTo>
                <a:lnTo>
                  <a:pt x="258257" y="243596"/>
                </a:lnTo>
                <a:lnTo>
                  <a:pt x="287579" y="229499"/>
                </a:lnTo>
                <a:lnTo>
                  <a:pt x="308443" y="207508"/>
                </a:lnTo>
                <a:lnTo>
                  <a:pt x="321976" y="182697"/>
                </a:lnTo>
                <a:lnTo>
                  <a:pt x="332689" y="156759"/>
                </a:lnTo>
                <a:lnTo>
                  <a:pt x="327615" y="139278"/>
                </a:lnTo>
                <a:lnTo>
                  <a:pt x="328742" y="83454"/>
                </a:lnTo>
                <a:lnTo>
                  <a:pt x="326487" y="51877"/>
                </a:lnTo>
                <a:lnTo>
                  <a:pt x="328742" y="16353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1" name="Freeform: Shape 344">
            <a:extLst>
              <a:ext uri="{FF2B5EF4-FFF2-40B4-BE49-F238E27FC236}">
                <a16:creationId xmlns:a16="http://schemas.microsoft.com/office/drawing/2014/main" id="{1C1C1004-87BD-4702-86D7-490529666A84}"/>
              </a:ext>
            </a:extLst>
          </p:cNvPr>
          <p:cNvSpPr/>
          <p:nvPr/>
        </p:nvSpPr>
        <p:spPr>
          <a:xfrm>
            <a:off x="5446653" y="3387998"/>
            <a:ext cx="282324" cy="341317"/>
          </a:xfrm>
          <a:custGeom>
            <a:avLst/>
            <a:gdLst>
              <a:gd name="connsiteX0" fmla="*/ 378363 w 377799"/>
              <a:gd name="connsiteY0" fmla="*/ 87401 h 456742"/>
              <a:gd name="connsiteX1" fmla="*/ 263896 w 377799"/>
              <a:gd name="connsiteY1" fmla="*/ 0 h 456742"/>
              <a:gd name="connsiteX2" fmla="*/ 262768 w 377799"/>
              <a:gd name="connsiteY2" fmla="*/ 54696 h 456742"/>
              <a:gd name="connsiteX3" fmla="*/ 161834 w 377799"/>
              <a:gd name="connsiteY3" fmla="*/ 53005 h 456742"/>
              <a:gd name="connsiteX4" fmla="*/ 160706 w 377799"/>
              <a:gd name="connsiteY4" fmla="*/ 144917 h 456742"/>
              <a:gd name="connsiteX5" fmla="*/ 131384 w 377799"/>
              <a:gd name="connsiteY5" fmla="*/ 147737 h 456742"/>
              <a:gd name="connsiteX6" fmla="*/ 123490 w 377799"/>
              <a:gd name="connsiteY6" fmla="*/ 166345 h 456742"/>
              <a:gd name="connsiteX7" fmla="*/ 128565 w 377799"/>
              <a:gd name="connsiteY7" fmla="*/ 218222 h 456742"/>
              <a:gd name="connsiteX8" fmla="*/ 6767 w 377799"/>
              <a:gd name="connsiteY8" fmla="*/ 217658 h 456742"/>
              <a:gd name="connsiteX9" fmla="*/ 0 w 377799"/>
              <a:gd name="connsiteY9" fmla="*/ 230063 h 456742"/>
              <a:gd name="connsiteX10" fmla="*/ 15789 w 377799"/>
              <a:gd name="connsiteY10" fmla="*/ 245288 h 456742"/>
              <a:gd name="connsiteX11" fmla="*/ 23683 w 377799"/>
              <a:gd name="connsiteY11" fmla="*/ 262204 h 456742"/>
              <a:gd name="connsiteX12" fmla="*/ 19736 w 377799"/>
              <a:gd name="connsiteY12" fmla="*/ 280248 h 456742"/>
              <a:gd name="connsiteX13" fmla="*/ 23119 w 377799"/>
              <a:gd name="connsiteY13" fmla="*/ 298293 h 456742"/>
              <a:gd name="connsiteX14" fmla="*/ 25938 w 377799"/>
              <a:gd name="connsiteY14" fmla="*/ 333817 h 456742"/>
              <a:gd name="connsiteX15" fmla="*/ 21427 w 377799"/>
              <a:gd name="connsiteY15" fmla="*/ 367086 h 456742"/>
              <a:gd name="connsiteX16" fmla="*/ 11841 w 377799"/>
              <a:gd name="connsiteY16" fmla="*/ 385130 h 456742"/>
              <a:gd name="connsiteX17" fmla="*/ 14097 w 377799"/>
              <a:gd name="connsiteY17" fmla="*/ 404302 h 456742"/>
              <a:gd name="connsiteX18" fmla="*/ 25375 w 377799"/>
              <a:gd name="connsiteY18" fmla="*/ 393024 h 456742"/>
              <a:gd name="connsiteX19" fmla="*/ 40599 w 377799"/>
              <a:gd name="connsiteY19" fmla="*/ 395844 h 456742"/>
              <a:gd name="connsiteX20" fmla="*/ 56388 w 377799"/>
              <a:gd name="connsiteY20" fmla="*/ 387950 h 456742"/>
              <a:gd name="connsiteX21" fmla="*/ 73868 w 377799"/>
              <a:gd name="connsiteY21" fmla="*/ 387950 h 456742"/>
              <a:gd name="connsiteX22" fmla="*/ 88529 w 377799"/>
              <a:gd name="connsiteY22" fmla="*/ 398099 h 456742"/>
              <a:gd name="connsiteX23" fmla="*/ 109393 w 377799"/>
              <a:gd name="connsiteY23" fmla="*/ 407685 h 456742"/>
              <a:gd name="connsiteX24" fmla="*/ 127437 w 377799"/>
              <a:gd name="connsiteY24" fmla="*/ 434188 h 456742"/>
              <a:gd name="connsiteX25" fmla="*/ 147737 w 377799"/>
              <a:gd name="connsiteY25" fmla="*/ 458998 h 456742"/>
              <a:gd name="connsiteX26" fmla="*/ 158450 w 377799"/>
              <a:gd name="connsiteY26" fmla="*/ 452232 h 456742"/>
              <a:gd name="connsiteX27" fmla="*/ 164089 w 377799"/>
              <a:gd name="connsiteY27" fmla="*/ 431368 h 456742"/>
              <a:gd name="connsiteX28" fmla="*/ 174239 w 377799"/>
              <a:gd name="connsiteY28" fmla="*/ 430241 h 456742"/>
              <a:gd name="connsiteX29" fmla="*/ 195666 w 377799"/>
              <a:gd name="connsiteY29" fmla="*/ 440390 h 456742"/>
              <a:gd name="connsiteX30" fmla="*/ 213710 w 377799"/>
              <a:gd name="connsiteY30" fmla="*/ 433060 h 456742"/>
              <a:gd name="connsiteX31" fmla="*/ 225552 w 377799"/>
              <a:gd name="connsiteY31" fmla="*/ 435315 h 456742"/>
              <a:gd name="connsiteX32" fmla="*/ 230627 w 377799"/>
              <a:gd name="connsiteY32" fmla="*/ 427421 h 456742"/>
              <a:gd name="connsiteX33" fmla="*/ 356372 w 377799"/>
              <a:gd name="connsiteY33" fmla="*/ 426857 h 456742"/>
              <a:gd name="connsiteX34" fmla="*/ 363703 w 377799"/>
              <a:gd name="connsiteY34" fmla="*/ 402047 h 456742"/>
              <a:gd name="connsiteX35" fmla="*/ 358064 w 377799"/>
              <a:gd name="connsiteY35" fmla="*/ 397535 h 456742"/>
              <a:gd name="connsiteX36" fmla="*/ 344531 w 377799"/>
              <a:gd name="connsiteY36" fmla="*/ 242468 h 456742"/>
              <a:gd name="connsiteX37" fmla="*/ 330998 w 377799"/>
              <a:gd name="connsiteY37" fmla="*/ 87965 h 456742"/>
              <a:gd name="connsiteX38" fmla="*/ 378363 w 377799"/>
              <a:gd name="connsiteY38" fmla="*/ 87401 h 4567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</a:cxnLst>
            <a:rect l="l" t="t" r="r" b="b"/>
            <a:pathLst>
              <a:path w="377799" h="456742">
                <a:moveTo>
                  <a:pt x="378363" y="87401"/>
                </a:moveTo>
                <a:lnTo>
                  <a:pt x="263896" y="0"/>
                </a:lnTo>
                <a:lnTo>
                  <a:pt x="262768" y="54696"/>
                </a:lnTo>
                <a:lnTo>
                  <a:pt x="161834" y="53005"/>
                </a:lnTo>
                <a:lnTo>
                  <a:pt x="160706" y="144917"/>
                </a:lnTo>
                <a:lnTo>
                  <a:pt x="131384" y="147737"/>
                </a:lnTo>
                <a:lnTo>
                  <a:pt x="123490" y="166345"/>
                </a:lnTo>
                <a:lnTo>
                  <a:pt x="128565" y="218222"/>
                </a:lnTo>
                <a:lnTo>
                  <a:pt x="6767" y="217658"/>
                </a:lnTo>
                <a:lnTo>
                  <a:pt x="0" y="230063"/>
                </a:lnTo>
                <a:lnTo>
                  <a:pt x="15789" y="245288"/>
                </a:lnTo>
                <a:lnTo>
                  <a:pt x="23683" y="262204"/>
                </a:lnTo>
                <a:lnTo>
                  <a:pt x="19736" y="280248"/>
                </a:lnTo>
                <a:lnTo>
                  <a:pt x="23119" y="298293"/>
                </a:lnTo>
                <a:lnTo>
                  <a:pt x="25938" y="333817"/>
                </a:lnTo>
                <a:lnTo>
                  <a:pt x="21427" y="367086"/>
                </a:lnTo>
                <a:lnTo>
                  <a:pt x="11841" y="385130"/>
                </a:lnTo>
                <a:lnTo>
                  <a:pt x="14097" y="404302"/>
                </a:lnTo>
                <a:lnTo>
                  <a:pt x="25375" y="393024"/>
                </a:lnTo>
                <a:lnTo>
                  <a:pt x="40599" y="395844"/>
                </a:lnTo>
                <a:lnTo>
                  <a:pt x="56388" y="387950"/>
                </a:lnTo>
                <a:lnTo>
                  <a:pt x="73868" y="387950"/>
                </a:lnTo>
                <a:lnTo>
                  <a:pt x="88529" y="398099"/>
                </a:lnTo>
                <a:lnTo>
                  <a:pt x="109393" y="407685"/>
                </a:lnTo>
                <a:lnTo>
                  <a:pt x="127437" y="434188"/>
                </a:lnTo>
                <a:lnTo>
                  <a:pt x="147737" y="458998"/>
                </a:lnTo>
                <a:lnTo>
                  <a:pt x="158450" y="452232"/>
                </a:lnTo>
                <a:lnTo>
                  <a:pt x="164089" y="431368"/>
                </a:lnTo>
                <a:lnTo>
                  <a:pt x="174239" y="430241"/>
                </a:lnTo>
                <a:lnTo>
                  <a:pt x="195666" y="440390"/>
                </a:lnTo>
                <a:lnTo>
                  <a:pt x="213710" y="433060"/>
                </a:lnTo>
                <a:lnTo>
                  <a:pt x="225552" y="435315"/>
                </a:lnTo>
                <a:lnTo>
                  <a:pt x="230627" y="427421"/>
                </a:lnTo>
                <a:lnTo>
                  <a:pt x="356372" y="426857"/>
                </a:lnTo>
                <a:lnTo>
                  <a:pt x="363703" y="402047"/>
                </a:lnTo>
                <a:lnTo>
                  <a:pt x="358064" y="397535"/>
                </a:lnTo>
                <a:lnTo>
                  <a:pt x="344531" y="242468"/>
                </a:lnTo>
                <a:lnTo>
                  <a:pt x="330998" y="87965"/>
                </a:lnTo>
                <a:lnTo>
                  <a:pt x="378363" y="87401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2" name="Freeform: Shape 345">
            <a:extLst>
              <a:ext uri="{FF2B5EF4-FFF2-40B4-BE49-F238E27FC236}">
                <a16:creationId xmlns:a16="http://schemas.microsoft.com/office/drawing/2014/main" id="{4E5C1D62-1D5E-474B-A8D5-BD0FB9506398}"/>
              </a:ext>
            </a:extLst>
          </p:cNvPr>
          <p:cNvSpPr/>
          <p:nvPr/>
        </p:nvSpPr>
        <p:spPr>
          <a:xfrm>
            <a:off x="6610501" y="4370232"/>
            <a:ext cx="67421" cy="202261"/>
          </a:xfrm>
          <a:custGeom>
            <a:avLst/>
            <a:gdLst>
              <a:gd name="connsiteX0" fmla="*/ 58079 w 90220"/>
              <a:gd name="connsiteY0" fmla="*/ 172547 h 270662"/>
              <a:gd name="connsiteX1" fmla="*/ 58644 w 90220"/>
              <a:gd name="connsiteY1" fmla="*/ 159578 h 270662"/>
              <a:gd name="connsiteX2" fmla="*/ 51877 w 90220"/>
              <a:gd name="connsiteY2" fmla="*/ 148864 h 270662"/>
              <a:gd name="connsiteX3" fmla="*/ 52440 w 90220"/>
              <a:gd name="connsiteY3" fmla="*/ 133076 h 270662"/>
              <a:gd name="connsiteX4" fmla="*/ 43982 w 90220"/>
              <a:gd name="connsiteY4" fmla="*/ 106573 h 270662"/>
              <a:gd name="connsiteX5" fmla="*/ 53569 w 90220"/>
              <a:gd name="connsiteY5" fmla="*/ 86837 h 270662"/>
              <a:gd name="connsiteX6" fmla="*/ 53005 w 90220"/>
              <a:gd name="connsiteY6" fmla="*/ 43418 h 270662"/>
              <a:gd name="connsiteX7" fmla="*/ 42291 w 90220"/>
              <a:gd name="connsiteY7" fmla="*/ 20300 h 270662"/>
              <a:gd name="connsiteX8" fmla="*/ 43418 w 90220"/>
              <a:gd name="connsiteY8" fmla="*/ 16352 h 270662"/>
              <a:gd name="connsiteX9" fmla="*/ 43418 w 90220"/>
              <a:gd name="connsiteY9" fmla="*/ 16352 h 270662"/>
              <a:gd name="connsiteX10" fmla="*/ 37216 w 90220"/>
              <a:gd name="connsiteY10" fmla="*/ 6766 h 270662"/>
              <a:gd name="connsiteX11" fmla="*/ 6766 w 90220"/>
              <a:gd name="connsiteY11" fmla="*/ 0 h 270662"/>
              <a:gd name="connsiteX12" fmla="*/ 21427 w 90220"/>
              <a:gd name="connsiteY12" fmla="*/ 15789 h 270662"/>
              <a:gd name="connsiteX13" fmla="*/ 28194 w 90220"/>
              <a:gd name="connsiteY13" fmla="*/ 46238 h 270662"/>
              <a:gd name="connsiteX14" fmla="*/ 22555 w 90220"/>
              <a:gd name="connsiteY14" fmla="*/ 56388 h 270662"/>
              <a:gd name="connsiteX15" fmla="*/ 15788 w 90220"/>
              <a:gd name="connsiteY15" fmla="*/ 85146 h 270662"/>
              <a:gd name="connsiteX16" fmla="*/ 20863 w 90220"/>
              <a:gd name="connsiteY16" fmla="*/ 115031 h 270662"/>
              <a:gd name="connsiteX17" fmla="*/ 10714 w 90220"/>
              <a:gd name="connsiteY17" fmla="*/ 127437 h 270662"/>
              <a:gd name="connsiteX18" fmla="*/ 0 w 90220"/>
              <a:gd name="connsiteY18" fmla="*/ 160706 h 270662"/>
              <a:gd name="connsiteX19" fmla="*/ 16353 w 90220"/>
              <a:gd name="connsiteY19" fmla="*/ 170291 h 270662"/>
              <a:gd name="connsiteX20" fmla="*/ 33269 w 90220"/>
              <a:gd name="connsiteY20" fmla="*/ 187208 h 270662"/>
              <a:gd name="connsiteX21" fmla="*/ 42291 w 90220"/>
              <a:gd name="connsiteY21" fmla="*/ 183825 h 270662"/>
              <a:gd name="connsiteX22" fmla="*/ 54132 w 90220"/>
              <a:gd name="connsiteY22" fmla="*/ 192847 h 270662"/>
              <a:gd name="connsiteX23" fmla="*/ 55824 w 90220"/>
              <a:gd name="connsiteY23" fmla="*/ 207508 h 270662"/>
              <a:gd name="connsiteX24" fmla="*/ 48494 w 90220"/>
              <a:gd name="connsiteY24" fmla="*/ 223860 h 270662"/>
              <a:gd name="connsiteX25" fmla="*/ 49621 w 90220"/>
              <a:gd name="connsiteY25" fmla="*/ 249235 h 270662"/>
              <a:gd name="connsiteX26" fmla="*/ 68793 w 90220"/>
              <a:gd name="connsiteY26" fmla="*/ 271790 h 270662"/>
              <a:gd name="connsiteX27" fmla="*/ 79507 w 90220"/>
              <a:gd name="connsiteY27" fmla="*/ 246415 h 270662"/>
              <a:gd name="connsiteX28" fmla="*/ 93604 w 90220"/>
              <a:gd name="connsiteY28" fmla="*/ 239085 h 270662"/>
              <a:gd name="connsiteX29" fmla="*/ 93040 w 90220"/>
              <a:gd name="connsiteY29" fmla="*/ 192847 h 270662"/>
              <a:gd name="connsiteX30" fmla="*/ 80634 w 90220"/>
              <a:gd name="connsiteY30" fmla="*/ 166908 h 270662"/>
              <a:gd name="connsiteX31" fmla="*/ 69921 w 90220"/>
              <a:gd name="connsiteY31" fmla="*/ 155631 h 270662"/>
              <a:gd name="connsiteX32" fmla="*/ 68229 w 90220"/>
              <a:gd name="connsiteY32" fmla="*/ 155631 h 270662"/>
              <a:gd name="connsiteX33" fmla="*/ 68229 w 90220"/>
              <a:gd name="connsiteY33" fmla="*/ 160142 h 270662"/>
              <a:gd name="connsiteX34" fmla="*/ 74432 w 90220"/>
              <a:gd name="connsiteY34" fmla="*/ 161833 h 270662"/>
              <a:gd name="connsiteX35" fmla="*/ 80071 w 90220"/>
              <a:gd name="connsiteY35" fmla="*/ 181005 h 270662"/>
              <a:gd name="connsiteX36" fmla="*/ 78943 w 90220"/>
              <a:gd name="connsiteY36" fmla="*/ 185516 h 270662"/>
              <a:gd name="connsiteX37" fmla="*/ 68229 w 90220"/>
              <a:gd name="connsiteY37" fmla="*/ 171419 h 270662"/>
              <a:gd name="connsiteX38" fmla="*/ 62591 w 90220"/>
              <a:gd name="connsiteY38" fmla="*/ 180442 h 270662"/>
              <a:gd name="connsiteX39" fmla="*/ 58079 w 90220"/>
              <a:gd name="connsiteY39" fmla="*/ 172547 h 2706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90220" h="270662">
                <a:moveTo>
                  <a:pt x="58079" y="172547"/>
                </a:moveTo>
                <a:lnTo>
                  <a:pt x="58644" y="159578"/>
                </a:lnTo>
                <a:lnTo>
                  <a:pt x="51877" y="148864"/>
                </a:lnTo>
                <a:lnTo>
                  <a:pt x="52440" y="133076"/>
                </a:lnTo>
                <a:lnTo>
                  <a:pt x="43982" y="106573"/>
                </a:lnTo>
                <a:lnTo>
                  <a:pt x="53569" y="86837"/>
                </a:lnTo>
                <a:lnTo>
                  <a:pt x="53005" y="43418"/>
                </a:lnTo>
                <a:lnTo>
                  <a:pt x="42291" y="20300"/>
                </a:lnTo>
                <a:lnTo>
                  <a:pt x="43418" y="16352"/>
                </a:lnTo>
                <a:lnTo>
                  <a:pt x="43418" y="16352"/>
                </a:lnTo>
                <a:lnTo>
                  <a:pt x="37216" y="6766"/>
                </a:lnTo>
                <a:lnTo>
                  <a:pt x="6766" y="0"/>
                </a:lnTo>
                <a:lnTo>
                  <a:pt x="21427" y="15789"/>
                </a:lnTo>
                <a:lnTo>
                  <a:pt x="28194" y="46238"/>
                </a:lnTo>
                <a:lnTo>
                  <a:pt x="22555" y="56388"/>
                </a:lnTo>
                <a:lnTo>
                  <a:pt x="15788" y="85146"/>
                </a:lnTo>
                <a:lnTo>
                  <a:pt x="20863" y="115031"/>
                </a:lnTo>
                <a:lnTo>
                  <a:pt x="10714" y="127437"/>
                </a:lnTo>
                <a:lnTo>
                  <a:pt x="0" y="160706"/>
                </a:lnTo>
                <a:lnTo>
                  <a:pt x="16353" y="170291"/>
                </a:lnTo>
                <a:lnTo>
                  <a:pt x="33269" y="187208"/>
                </a:lnTo>
                <a:lnTo>
                  <a:pt x="42291" y="183825"/>
                </a:lnTo>
                <a:lnTo>
                  <a:pt x="54132" y="192847"/>
                </a:lnTo>
                <a:lnTo>
                  <a:pt x="55824" y="207508"/>
                </a:lnTo>
                <a:lnTo>
                  <a:pt x="48494" y="223860"/>
                </a:lnTo>
                <a:lnTo>
                  <a:pt x="49621" y="249235"/>
                </a:lnTo>
                <a:lnTo>
                  <a:pt x="68793" y="271790"/>
                </a:lnTo>
                <a:lnTo>
                  <a:pt x="79507" y="246415"/>
                </a:lnTo>
                <a:lnTo>
                  <a:pt x="93604" y="239085"/>
                </a:lnTo>
                <a:lnTo>
                  <a:pt x="93040" y="192847"/>
                </a:lnTo>
                <a:lnTo>
                  <a:pt x="80634" y="166908"/>
                </a:lnTo>
                <a:lnTo>
                  <a:pt x="69921" y="155631"/>
                </a:lnTo>
                <a:lnTo>
                  <a:pt x="68229" y="155631"/>
                </a:lnTo>
                <a:lnTo>
                  <a:pt x="68229" y="160142"/>
                </a:lnTo>
                <a:lnTo>
                  <a:pt x="74432" y="161833"/>
                </a:lnTo>
                <a:lnTo>
                  <a:pt x="80071" y="181005"/>
                </a:lnTo>
                <a:lnTo>
                  <a:pt x="78943" y="185516"/>
                </a:lnTo>
                <a:lnTo>
                  <a:pt x="68229" y="171419"/>
                </a:lnTo>
                <a:lnTo>
                  <a:pt x="62591" y="180442"/>
                </a:lnTo>
                <a:lnTo>
                  <a:pt x="58079" y="172547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3" name="Freeform: Shape 346">
            <a:extLst>
              <a:ext uri="{FF2B5EF4-FFF2-40B4-BE49-F238E27FC236}">
                <a16:creationId xmlns:a16="http://schemas.microsoft.com/office/drawing/2014/main" id="{C470E3A3-7D58-4028-B48C-3E3DFB757398}"/>
              </a:ext>
            </a:extLst>
          </p:cNvPr>
          <p:cNvSpPr/>
          <p:nvPr/>
        </p:nvSpPr>
        <p:spPr>
          <a:xfrm>
            <a:off x="8207948" y="3937054"/>
            <a:ext cx="450875" cy="164337"/>
          </a:xfrm>
          <a:custGeom>
            <a:avLst/>
            <a:gdLst>
              <a:gd name="connsiteX0" fmla="*/ 31577 w 603351"/>
              <a:gd name="connsiteY0" fmla="*/ 25939 h 219913"/>
              <a:gd name="connsiteX1" fmla="*/ 5075 w 603351"/>
              <a:gd name="connsiteY1" fmla="*/ 10150 h 219913"/>
              <a:gd name="connsiteX2" fmla="*/ 0 w 603351"/>
              <a:gd name="connsiteY2" fmla="*/ 16353 h 219913"/>
              <a:gd name="connsiteX3" fmla="*/ 7894 w 603351"/>
              <a:gd name="connsiteY3" fmla="*/ 31577 h 219913"/>
              <a:gd name="connsiteX4" fmla="*/ 5639 w 603351"/>
              <a:gd name="connsiteY4" fmla="*/ 58080 h 219913"/>
              <a:gd name="connsiteX5" fmla="*/ 17480 w 603351"/>
              <a:gd name="connsiteY5" fmla="*/ 77252 h 219913"/>
              <a:gd name="connsiteX6" fmla="*/ 23119 w 603351"/>
              <a:gd name="connsiteY6" fmla="*/ 107137 h 219913"/>
              <a:gd name="connsiteX7" fmla="*/ 42291 w 603351"/>
              <a:gd name="connsiteY7" fmla="*/ 131384 h 219913"/>
              <a:gd name="connsiteX8" fmla="*/ 46802 w 603351"/>
              <a:gd name="connsiteY8" fmla="*/ 149428 h 219913"/>
              <a:gd name="connsiteX9" fmla="*/ 84582 w 603351"/>
              <a:gd name="connsiteY9" fmla="*/ 177622 h 219913"/>
              <a:gd name="connsiteX10" fmla="*/ 115032 w 603351"/>
              <a:gd name="connsiteY10" fmla="*/ 204689 h 219913"/>
              <a:gd name="connsiteX11" fmla="*/ 137587 w 603351"/>
              <a:gd name="connsiteY11" fmla="*/ 201869 h 219913"/>
              <a:gd name="connsiteX12" fmla="*/ 138151 w 603351"/>
              <a:gd name="connsiteY12" fmla="*/ 190028 h 219913"/>
              <a:gd name="connsiteX13" fmla="*/ 125181 w 603351"/>
              <a:gd name="connsiteY13" fmla="*/ 158450 h 219913"/>
              <a:gd name="connsiteX14" fmla="*/ 113340 w 603351"/>
              <a:gd name="connsiteY14" fmla="*/ 148301 h 219913"/>
              <a:gd name="connsiteX15" fmla="*/ 110520 w 603351"/>
              <a:gd name="connsiteY15" fmla="*/ 126873 h 219913"/>
              <a:gd name="connsiteX16" fmla="*/ 107137 w 603351"/>
              <a:gd name="connsiteY16" fmla="*/ 115032 h 219913"/>
              <a:gd name="connsiteX17" fmla="*/ 109957 w 603351"/>
              <a:gd name="connsiteY17" fmla="*/ 98679 h 219913"/>
              <a:gd name="connsiteX18" fmla="*/ 107137 w 603351"/>
              <a:gd name="connsiteY18" fmla="*/ 74432 h 219913"/>
              <a:gd name="connsiteX19" fmla="*/ 92476 w 603351"/>
              <a:gd name="connsiteY19" fmla="*/ 50185 h 219913"/>
              <a:gd name="connsiteX20" fmla="*/ 72741 w 603351"/>
              <a:gd name="connsiteY20" fmla="*/ 28758 h 219913"/>
              <a:gd name="connsiteX21" fmla="*/ 65410 w 603351"/>
              <a:gd name="connsiteY21" fmla="*/ 25375 h 219913"/>
              <a:gd name="connsiteX22" fmla="*/ 55824 w 603351"/>
              <a:gd name="connsiteY22" fmla="*/ 40036 h 219913"/>
              <a:gd name="connsiteX23" fmla="*/ 34960 w 603351"/>
              <a:gd name="connsiteY23" fmla="*/ 44547 h 219913"/>
              <a:gd name="connsiteX24" fmla="*/ 31577 w 603351"/>
              <a:gd name="connsiteY24" fmla="*/ 25939 h 219913"/>
              <a:gd name="connsiteX25" fmla="*/ 589818 w 603351"/>
              <a:gd name="connsiteY25" fmla="*/ 87965 h 219913"/>
              <a:gd name="connsiteX26" fmla="*/ 583052 w 603351"/>
              <a:gd name="connsiteY26" fmla="*/ 70485 h 219913"/>
              <a:gd name="connsiteX27" fmla="*/ 604479 w 603351"/>
              <a:gd name="connsiteY27" fmla="*/ 68230 h 219913"/>
              <a:gd name="connsiteX28" fmla="*/ 606171 w 603351"/>
              <a:gd name="connsiteY28" fmla="*/ 54696 h 219913"/>
              <a:gd name="connsiteX29" fmla="*/ 579105 w 603351"/>
              <a:gd name="connsiteY29" fmla="*/ 43419 h 219913"/>
              <a:gd name="connsiteX30" fmla="*/ 557677 w 603351"/>
              <a:gd name="connsiteY30" fmla="*/ 33833 h 219913"/>
              <a:gd name="connsiteX31" fmla="*/ 555422 w 603351"/>
              <a:gd name="connsiteY31" fmla="*/ 18044 h 219913"/>
              <a:gd name="connsiteX32" fmla="*/ 537942 w 603351"/>
              <a:gd name="connsiteY32" fmla="*/ 0 h 219913"/>
              <a:gd name="connsiteX33" fmla="*/ 524972 w 603351"/>
              <a:gd name="connsiteY33" fmla="*/ 0 h 219913"/>
              <a:gd name="connsiteX34" fmla="*/ 510875 w 603351"/>
              <a:gd name="connsiteY34" fmla="*/ 28194 h 219913"/>
              <a:gd name="connsiteX35" fmla="*/ 487756 w 603351"/>
              <a:gd name="connsiteY35" fmla="*/ 53005 h 219913"/>
              <a:gd name="connsiteX36" fmla="*/ 487192 w 603351"/>
              <a:gd name="connsiteY36" fmla="*/ 70485 h 219913"/>
              <a:gd name="connsiteX37" fmla="*/ 486629 w 603351"/>
              <a:gd name="connsiteY37" fmla="*/ 93604 h 219913"/>
              <a:gd name="connsiteX38" fmla="*/ 471404 w 603351"/>
              <a:gd name="connsiteY38" fmla="*/ 92476 h 219913"/>
              <a:gd name="connsiteX39" fmla="*/ 465201 w 603351"/>
              <a:gd name="connsiteY39" fmla="*/ 104882 h 219913"/>
              <a:gd name="connsiteX40" fmla="*/ 449977 w 603351"/>
              <a:gd name="connsiteY40" fmla="*/ 86274 h 219913"/>
              <a:gd name="connsiteX41" fmla="*/ 435315 w 603351"/>
              <a:gd name="connsiteY41" fmla="*/ 108829 h 219913"/>
              <a:gd name="connsiteX42" fmla="*/ 413888 w 603351"/>
              <a:gd name="connsiteY42" fmla="*/ 137023 h 219913"/>
              <a:gd name="connsiteX43" fmla="*/ 376108 w 603351"/>
              <a:gd name="connsiteY43" fmla="*/ 144917 h 219913"/>
              <a:gd name="connsiteX44" fmla="*/ 362575 w 603351"/>
              <a:gd name="connsiteY44" fmla="*/ 151684 h 219913"/>
              <a:gd name="connsiteX45" fmla="*/ 357500 w 603351"/>
              <a:gd name="connsiteY45" fmla="*/ 182134 h 219913"/>
              <a:gd name="connsiteX46" fmla="*/ 332689 w 603351"/>
              <a:gd name="connsiteY46" fmla="*/ 188900 h 219913"/>
              <a:gd name="connsiteX47" fmla="*/ 309570 w 603351"/>
              <a:gd name="connsiteY47" fmla="*/ 176495 h 219913"/>
              <a:gd name="connsiteX48" fmla="*/ 315209 w 603351"/>
              <a:gd name="connsiteY48" fmla="*/ 200742 h 219913"/>
              <a:gd name="connsiteX49" fmla="*/ 337201 w 603351"/>
              <a:gd name="connsiteY49" fmla="*/ 220477 h 219913"/>
              <a:gd name="connsiteX50" fmla="*/ 357500 w 603351"/>
              <a:gd name="connsiteY50" fmla="*/ 213711 h 219913"/>
              <a:gd name="connsiteX51" fmla="*/ 377800 w 603351"/>
              <a:gd name="connsiteY51" fmla="*/ 215966 h 219913"/>
              <a:gd name="connsiteX52" fmla="*/ 395844 w 603351"/>
              <a:gd name="connsiteY52" fmla="*/ 197922 h 219913"/>
              <a:gd name="connsiteX53" fmla="*/ 411069 w 603351"/>
              <a:gd name="connsiteY53" fmla="*/ 194539 h 219913"/>
              <a:gd name="connsiteX54" fmla="*/ 441518 w 603351"/>
              <a:gd name="connsiteY54" fmla="*/ 204689 h 219913"/>
              <a:gd name="connsiteX55" fmla="*/ 466893 w 603351"/>
              <a:gd name="connsiteY55" fmla="*/ 197358 h 219913"/>
              <a:gd name="connsiteX56" fmla="*/ 482117 w 603351"/>
              <a:gd name="connsiteY56" fmla="*/ 147173 h 219913"/>
              <a:gd name="connsiteX57" fmla="*/ 493395 w 603351"/>
              <a:gd name="connsiteY57" fmla="*/ 134767 h 219913"/>
              <a:gd name="connsiteX58" fmla="*/ 502981 w 603351"/>
              <a:gd name="connsiteY58" fmla="*/ 94168 h 219913"/>
              <a:gd name="connsiteX59" fmla="*/ 539069 w 603351"/>
              <a:gd name="connsiteY59" fmla="*/ 94168 h 219913"/>
              <a:gd name="connsiteX60" fmla="*/ 567263 w 603351"/>
              <a:gd name="connsiteY60" fmla="*/ 99807 h 219913"/>
              <a:gd name="connsiteX61" fmla="*/ 589818 w 603351"/>
              <a:gd name="connsiteY61" fmla="*/ 87965 h 2199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603351" h="219913">
                <a:moveTo>
                  <a:pt x="31577" y="25939"/>
                </a:moveTo>
                <a:lnTo>
                  <a:pt x="5075" y="10150"/>
                </a:lnTo>
                <a:lnTo>
                  <a:pt x="0" y="16353"/>
                </a:lnTo>
                <a:lnTo>
                  <a:pt x="7894" y="31577"/>
                </a:lnTo>
                <a:lnTo>
                  <a:pt x="5639" y="58080"/>
                </a:lnTo>
                <a:lnTo>
                  <a:pt x="17480" y="77252"/>
                </a:lnTo>
                <a:lnTo>
                  <a:pt x="23119" y="107137"/>
                </a:lnTo>
                <a:lnTo>
                  <a:pt x="42291" y="131384"/>
                </a:lnTo>
                <a:lnTo>
                  <a:pt x="46802" y="149428"/>
                </a:lnTo>
                <a:lnTo>
                  <a:pt x="84582" y="177622"/>
                </a:lnTo>
                <a:lnTo>
                  <a:pt x="115032" y="204689"/>
                </a:lnTo>
                <a:lnTo>
                  <a:pt x="137587" y="201869"/>
                </a:lnTo>
                <a:lnTo>
                  <a:pt x="138151" y="190028"/>
                </a:lnTo>
                <a:lnTo>
                  <a:pt x="125181" y="158450"/>
                </a:lnTo>
                <a:lnTo>
                  <a:pt x="113340" y="148301"/>
                </a:lnTo>
                <a:lnTo>
                  <a:pt x="110520" y="126873"/>
                </a:lnTo>
                <a:lnTo>
                  <a:pt x="107137" y="115032"/>
                </a:lnTo>
                <a:lnTo>
                  <a:pt x="109957" y="98679"/>
                </a:lnTo>
                <a:lnTo>
                  <a:pt x="107137" y="74432"/>
                </a:lnTo>
                <a:lnTo>
                  <a:pt x="92476" y="50185"/>
                </a:lnTo>
                <a:lnTo>
                  <a:pt x="72741" y="28758"/>
                </a:lnTo>
                <a:lnTo>
                  <a:pt x="65410" y="25375"/>
                </a:lnTo>
                <a:lnTo>
                  <a:pt x="55824" y="40036"/>
                </a:lnTo>
                <a:lnTo>
                  <a:pt x="34960" y="44547"/>
                </a:lnTo>
                <a:lnTo>
                  <a:pt x="31577" y="25939"/>
                </a:lnTo>
                <a:close/>
                <a:moveTo>
                  <a:pt x="589818" y="87965"/>
                </a:moveTo>
                <a:lnTo>
                  <a:pt x="583052" y="70485"/>
                </a:lnTo>
                <a:lnTo>
                  <a:pt x="604479" y="68230"/>
                </a:lnTo>
                <a:lnTo>
                  <a:pt x="606171" y="54696"/>
                </a:lnTo>
                <a:lnTo>
                  <a:pt x="579105" y="43419"/>
                </a:lnTo>
                <a:lnTo>
                  <a:pt x="557677" y="33833"/>
                </a:lnTo>
                <a:lnTo>
                  <a:pt x="555422" y="18044"/>
                </a:lnTo>
                <a:lnTo>
                  <a:pt x="537942" y="0"/>
                </a:lnTo>
                <a:lnTo>
                  <a:pt x="524972" y="0"/>
                </a:lnTo>
                <a:lnTo>
                  <a:pt x="510875" y="28194"/>
                </a:lnTo>
                <a:lnTo>
                  <a:pt x="487756" y="53005"/>
                </a:lnTo>
                <a:lnTo>
                  <a:pt x="487192" y="70485"/>
                </a:lnTo>
                <a:lnTo>
                  <a:pt x="486629" y="93604"/>
                </a:lnTo>
                <a:lnTo>
                  <a:pt x="471404" y="92476"/>
                </a:lnTo>
                <a:lnTo>
                  <a:pt x="465201" y="104882"/>
                </a:lnTo>
                <a:lnTo>
                  <a:pt x="449977" y="86274"/>
                </a:lnTo>
                <a:lnTo>
                  <a:pt x="435315" y="108829"/>
                </a:lnTo>
                <a:lnTo>
                  <a:pt x="413888" y="137023"/>
                </a:lnTo>
                <a:lnTo>
                  <a:pt x="376108" y="144917"/>
                </a:lnTo>
                <a:lnTo>
                  <a:pt x="362575" y="151684"/>
                </a:lnTo>
                <a:lnTo>
                  <a:pt x="357500" y="182134"/>
                </a:lnTo>
                <a:lnTo>
                  <a:pt x="332689" y="188900"/>
                </a:lnTo>
                <a:lnTo>
                  <a:pt x="309570" y="176495"/>
                </a:lnTo>
                <a:lnTo>
                  <a:pt x="315209" y="200742"/>
                </a:lnTo>
                <a:lnTo>
                  <a:pt x="337201" y="220477"/>
                </a:lnTo>
                <a:lnTo>
                  <a:pt x="357500" y="213711"/>
                </a:lnTo>
                <a:lnTo>
                  <a:pt x="377800" y="215966"/>
                </a:lnTo>
                <a:lnTo>
                  <a:pt x="395844" y="197922"/>
                </a:lnTo>
                <a:lnTo>
                  <a:pt x="411069" y="194539"/>
                </a:lnTo>
                <a:lnTo>
                  <a:pt x="441518" y="204689"/>
                </a:lnTo>
                <a:lnTo>
                  <a:pt x="466893" y="197358"/>
                </a:lnTo>
                <a:lnTo>
                  <a:pt x="482117" y="147173"/>
                </a:lnTo>
                <a:lnTo>
                  <a:pt x="493395" y="134767"/>
                </a:lnTo>
                <a:lnTo>
                  <a:pt x="502981" y="94168"/>
                </a:lnTo>
                <a:lnTo>
                  <a:pt x="539069" y="94168"/>
                </a:lnTo>
                <a:lnTo>
                  <a:pt x="567263" y="99807"/>
                </a:lnTo>
                <a:lnTo>
                  <a:pt x="589818" y="87965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4" name="Freeform: Shape 347">
            <a:extLst>
              <a:ext uri="{FF2B5EF4-FFF2-40B4-BE49-F238E27FC236}">
                <a16:creationId xmlns:a16="http://schemas.microsoft.com/office/drawing/2014/main" id="{19BFEC84-2130-4D17-A282-B89E4B1A2514}"/>
              </a:ext>
            </a:extLst>
          </p:cNvPr>
          <p:cNvSpPr/>
          <p:nvPr/>
        </p:nvSpPr>
        <p:spPr>
          <a:xfrm>
            <a:off x="6117067" y="4577129"/>
            <a:ext cx="307606" cy="324462"/>
          </a:xfrm>
          <a:custGeom>
            <a:avLst/>
            <a:gdLst>
              <a:gd name="connsiteX0" fmla="*/ 358628 w 411632"/>
              <a:gd name="connsiteY0" fmla="*/ 20864 h 434187"/>
              <a:gd name="connsiteX1" fmla="*/ 300548 w 411632"/>
              <a:gd name="connsiteY1" fmla="*/ 34961 h 434187"/>
              <a:gd name="connsiteX2" fmla="*/ 224988 w 411632"/>
              <a:gd name="connsiteY2" fmla="*/ 29886 h 434187"/>
              <a:gd name="connsiteX3" fmla="*/ 204124 w 411632"/>
              <a:gd name="connsiteY3" fmla="*/ 12969 h 434187"/>
              <a:gd name="connsiteX4" fmla="*/ 77251 w 411632"/>
              <a:gd name="connsiteY4" fmla="*/ 14661 h 434187"/>
              <a:gd name="connsiteX5" fmla="*/ 72176 w 411632"/>
              <a:gd name="connsiteY5" fmla="*/ 16916 h 434187"/>
              <a:gd name="connsiteX6" fmla="*/ 54132 w 411632"/>
              <a:gd name="connsiteY6" fmla="*/ 564 h 434187"/>
              <a:gd name="connsiteX7" fmla="*/ 33833 w 411632"/>
              <a:gd name="connsiteY7" fmla="*/ 0 h 434187"/>
              <a:gd name="connsiteX8" fmla="*/ 15224 w 411632"/>
              <a:gd name="connsiteY8" fmla="*/ 5639 h 434187"/>
              <a:gd name="connsiteX9" fmla="*/ 0 w 411632"/>
              <a:gd name="connsiteY9" fmla="*/ 12405 h 434187"/>
              <a:gd name="connsiteX10" fmla="*/ 1127 w 411632"/>
              <a:gd name="connsiteY10" fmla="*/ 40035 h 434187"/>
              <a:gd name="connsiteX11" fmla="*/ 25938 w 411632"/>
              <a:gd name="connsiteY11" fmla="*/ 74996 h 434187"/>
              <a:gd name="connsiteX12" fmla="*/ 32141 w 411632"/>
              <a:gd name="connsiteY12" fmla="*/ 97551 h 434187"/>
              <a:gd name="connsiteX13" fmla="*/ 47930 w 411632"/>
              <a:gd name="connsiteY13" fmla="*/ 140970 h 434187"/>
              <a:gd name="connsiteX14" fmla="*/ 63154 w 411632"/>
              <a:gd name="connsiteY14" fmla="*/ 170292 h 434187"/>
              <a:gd name="connsiteX15" fmla="*/ 74996 w 411632"/>
              <a:gd name="connsiteY15" fmla="*/ 184953 h 434187"/>
              <a:gd name="connsiteX16" fmla="*/ 78379 w 411632"/>
              <a:gd name="connsiteY16" fmla="*/ 204688 h 434187"/>
              <a:gd name="connsiteX17" fmla="*/ 78379 w 411632"/>
              <a:gd name="connsiteY17" fmla="*/ 247543 h 434187"/>
              <a:gd name="connsiteX18" fmla="*/ 87401 w 411632"/>
              <a:gd name="connsiteY18" fmla="*/ 302804 h 434187"/>
              <a:gd name="connsiteX19" fmla="*/ 94168 w 411632"/>
              <a:gd name="connsiteY19" fmla="*/ 328742 h 434187"/>
              <a:gd name="connsiteX20" fmla="*/ 99806 w 411632"/>
              <a:gd name="connsiteY20" fmla="*/ 363703 h 434187"/>
              <a:gd name="connsiteX21" fmla="*/ 110520 w 411632"/>
              <a:gd name="connsiteY21" fmla="*/ 390205 h 434187"/>
              <a:gd name="connsiteX22" fmla="*/ 132512 w 411632"/>
              <a:gd name="connsiteY22" fmla="*/ 417271 h 434187"/>
              <a:gd name="connsiteX23" fmla="*/ 147736 w 411632"/>
              <a:gd name="connsiteY23" fmla="*/ 399227 h 434187"/>
              <a:gd name="connsiteX24" fmla="*/ 159578 w 411632"/>
              <a:gd name="connsiteY24" fmla="*/ 409377 h 434187"/>
              <a:gd name="connsiteX25" fmla="*/ 164089 w 411632"/>
              <a:gd name="connsiteY25" fmla="*/ 424602 h 434187"/>
              <a:gd name="connsiteX26" fmla="*/ 177622 w 411632"/>
              <a:gd name="connsiteY26" fmla="*/ 427421 h 434187"/>
              <a:gd name="connsiteX27" fmla="*/ 196230 w 411632"/>
              <a:gd name="connsiteY27" fmla="*/ 434188 h 434187"/>
              <a:gd name="connsiteX28" fmla="*/ 212582 w 411632"/>
              <a:gd name="connsiteY28" fmla="*/ 431368 h 434187"/>
              <a:gd name="connsiteX29" fmla="*/ 240776 w 411632"/>
              <a:gd name="connsiteY29" fmla="*/ 413324 h 434187"/>
              <a:gd name="connsiteX30" fmla="*/ 246979 w 411632"/>
              <a:gd name="connsiteY30" fmla="*/ 280248 h 434187"/>
              <a:gd name="connsiteX31" fmla="*/ 250362 w 411632"/>
              <a:gd name="connsiteY31" fmla="*/ 175931 h 434187"/>
              <a:gd name="connsiteX32" fmla="*/ 280812 w 411632"/>
              <a:gd name="connsiteY32" fmla="*/ 174803 h 434187"/>
              <a:gd name="connsiteX33" fmla="*/ 285887 w 411632"/>
              <a:gd name="connsiteY33" fmla="*/ 46802 h 434187"/>
              <a:gd name="connsiteX34" fmla="*/ 309006 w 411632"/>
              <a:gd name="connsiteY34" fmla="*/ 45674 h 434187"/>
              <a:gd name="connsiteX35" fmla="*/ 357499 w 411632"/>
              <a:gd name="connsiteY35" fmla="*/ 33269 h 434187"/>
              <a:gd name="connsiteX36" fmla="*/ 368777 w 411632"/>
              <a:gd name="connsiteY36" fmla="*/ 47930 h 434187"/>
              <a:gd name="connsiteX37" fmla="*/ 389641 w 411632"/>
              <a:gd name="connsiteY37" fmla="*/ 33833 h 434187"/>
              <a:gd name="connsiteX38" fmla="*/ 398663 w 411632"/>
              <a:gd name="connsiteY38" fmla="*/ 33833 h 434187"/>
              <a:gd name="connsiteX39" fmla="*/ 416707 w 411632"/>
              <a:gd name="connsiteY39" fmla="*/ 25375 h 434187"/>
              <a:gd name="connsiteX40" fmla="*/ 416707 w 411632"/>
              <a:gd name="connsiteY40" fmla="*/ 22555 h 434187"/>
              <a:gd name="connsiteX41" fmla="*/ 404865 w 411632"/>
              <a:gd name="connsiteY41" fmla="*/ 14661 h 434187"/>
              <a:gd name="connsiteX42" fmla="*/ 384566 w 411632"/>
              <a:gd name="connsiteY42" fmla="*/ 12405 h 434187"/>
              <a:gd name="connsiteX43" fmla="*/ 358628 w 411632"/>
              <a:gd name="connsiteY43" fmla="*/ 20864 h 434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411632" h="434187">
                <a:moveTo>
                  <a:pt x="358628" y="20864"/>
                </a:moveTo>
                <a:lnTo>
                  <a:pt x="300548" y="34961"/>
                </a:lnTo>
                <a:lnTo>
                  <a:pt x="224988" y="29886"/>
                </a:lnTo>
                <a:lnTo>
                  <a:pt x="204124" y="12969"/>
                </a:lnTo>
                <a:lnTo>
                  <a:pt x="77251" y="14661"/>
                </a:lnTo>
                <a:lnTo>
                  <a:pt x="72176" y="16916"/>
                </a:lnTo>
                <a:lnTo>
                  <a:pt x="54132" y="564"/>
                </a:lnTo>
                <a:lnTo>
                  <a:pt x="33833" y="0"/>
                </a:lnTo>
                <a:lnTo>
                  <a:pt x="15224" y="5639"/>
                </a:lnTo>
                <a:lnTo>
                  <a:pt x="0" y="12405"/>
                </a:lnTo>
                <a:lnTo>
                  <a:pt x="1127" y="40035"/>
                </a:lnTo>
                <a:lnTo>
                  <a:pt x="25938" y="74996"/>
                </a:lnTo>
                <a:lnTo>
                  <a:pt x="32141" y="97551"/>
                </a:lnTo>
                <a:lnTo>
                  <a:pt x="47930" y="140970"/>
                </a:lnTo>
                <a:lnTo>
                  <a:pt x="63154" y="170292"/>
                </a:lnTo>
                <a:lnTo>
                  <a:pt x="74996" y="184953"/>
                </a:lnTo>
                <a:lnTo>
                  <a:pt x="78379" y="204688"/>
                </a:lnTo>
                <a:lnTo>
                  <a:pt x="78379" y="247543"/>
                </a:lnTo>
                <a:lnTo>
                  <a:pt x="87401" y="302804"/>
                </a:lnTo>
                <a:lnTo>
                  <a:pt x="94168" y="328742"/>
                </a:lnTo>
                <a:lnTo>
                  <a:pt x="99806" y="363703"/>
                </a:lnTo>
                <a:lnTo>
                  <a:pt x="110520" y="390205"/>
                </a:lnTo>
                <a:lnTo>
                  <a:pt x="132512" y="417271"/>
                </a:lnTo>
                <a:lnTo>
                  <a:pt x="147736" y="399227"/>
                </a:lnTo>
                <a:lnTo>
                  <a:pt x="159578" y="409377"/>
                </a:lnTo>
                <a:lnTo>
                  <a:pt x="164089" y="424602"/>
                </a:lnTo>
                <a:lnTo>
                  <a:pt x="177622" y="427421"/>
                </a:lnTo>
                <a:lnTo>
                  <a:pt x="196230" y="434188"/>
                </a:lnTo>
                <a:lnTo>
                  <a:pt x="212582" y="431368"/>
                </a:lnTo>
                <a:lnTo>
                  <a:pt x="240776" y="413324"/>
                </a:lnTo>
                <a:lnTo>
                  <a:pt x="246979" y="280248"/>
                </a:lnTo>
                <a:lnTo>
                  <a:pt x="250362" y="175931"/>
                </a:lnTo>
                <a:lnTo>
                  <a:pt x="280812" y="174803"/>
                </a:lnTo>
                <a:lnTo>
                  <a:pt x="285887" y="46802"/>
                </a:lnTo>
                <a:lnTo>
                  <a:pt x="309006" y="45674"/>
                </a:lnTo>
                <a:lnTo>
                  <a:pt x="357499" y="33269"/>
                </a:lnTo>
                <a:lnTo>
                  <a:pt x="368777" y="47930"/>
                </a:lnTo>
                <a:lnTo>
                  <a:pt x="389641" y="33833"/>
                </a:lnTo>
                <a:lnTo>
                  <a:pt x="398663" y="33833"/>
                </a:lnTo>
                <a:lnTo>
                  <a:pt x="416707" y="25375"/>
                </a:lnTo>
                <a:lnTo>
                  <a:pt x="416707" y="22555"/>
                </a:lnTo>
                <a:lnTo>
                  <a:pt x="404865" y="14661"/>
                </a:lnTo>
                <a:lnTo>
                  <a:pt x="384566" y="12405"/>
                </a:lnTo>
                <a:lnTo>
                  <a:pt x="358628" y="20864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5" name="Freeform: Shape 348">
            <a:extLst>
              <a:ext uri="{FF2B5EF4-FFF2-40B4-BE49-F238E27FC236}">
                <a16:creationId xmlns:a16="http://schemas.microsoft.com/office/drawing/2014/main" id="{56770F09-4C6F-4797-8184-CBA7ACAD33C2}"/>
              </a:ext>
            </a:extLst>
          </p:cNvPr>
          <p:cNvSpPr/>
          <p:nvPr/>
        </p:nvSpPr>
        <p:spPr>
          <a:xfrm>
            <a:off x="5849491" y="3493342"/>
            <a:ext cx="362386" cy="316034"/>
          </a:xfrm>
          <a:custGeom>
            <a:avLst/>
            <a:gdLst>
              <a:gd name="connsiteX0" fmla="*/ 411633 w 484936"/>
              <a:gd name="connsiteY0" fmla="*/ 15789 h 422910"/>
              <a:gd name="connsiteX1" fmla="*/ 362011 w 484936"/>
              <a:gd name="connsiteY1" fmla="*/ 0 h 422910"/>
              <a:gd name="connsiteX2" fmla="*/ 257129 w 484936"/>
              <a:gd name="connsiteY2" fmla="*/ 68793 h 422910"/>
              <a:gd name="connsiteX3" fmla="*/ 168036 w 484936"/>
              <a:gd name="connsiteY3" fmla="*/ 139278 h 422910"/>
              <a:gd name="connsiteX4" fmla="*/ 124054 w 484936"/>
              <a:gd name="connsiteY4" fmla="*/ 155067 h 422910"/>
              <a:gd name="connsiteX5" fmla="*/ 124618 w 484936"/>
              <a:gd name="connsiteY5" fmla="*/ 237394 h 422910"/>
              <a:gd name="connsiteX6" fmla="*/ 107701 w 484936"/>
              <a:gd name="connsiteY6" fmla="*/ 261640 h 422910"/>
              <a:gd name="connsiteX7" fmla="*/ 104882 w 484936"/>
              <a:gd name="connsiteY7" fmla="*/ 283632 h 422910"/>
              <a:gd name="connsiteX8" fmla="*/ 77252 w 484936"/>
              <a:gd name="connsiteY8" fmla="*/ 289271 h 422910"/>
              <a:gd name="connsiteX9" fmla="*/ 34397 w 484936"/>
              <a:gd name="connsiteY9" fmla="*/ 292654 h 422910"/>
              <a:gd name="connsiteX10" fmla="*/ 23119 w 484936"/>
              <a:gd name="connsiteY10" fmla="*/ 305059 h 422910"/>
              <a:gd name="connsiteX11" fmla="*/ 2819 w 484936"/>
              <a:gd name="connsiteY11" fmla="*/ 306751 h 422910"/>
              <a:gd name="connsiteX12" fmla="*/ 0 w 484936"/>
              <a:gd name="connsiteY12" fmla="*/ 324231 h 422910"/>
              <a:gd name="connsiteX13" fmla="*/ 4511 w 484936"/>
              <a:gd name="connsiteY13" fmla="*/ 340584 h 422910"/>
              <a:gd name="connsiteX14" fmla="*/ 21991 w 484936"/>
              <a:gd name="connsiteY14" fmla="*/ 363703 h 422910"/>
              <a:gd name="connsiteX15" fmla="*/ 23119 w 484936"/>
              <a:gd name="connsiteY15" fmla="*/ 381183 h 422910"/>
              <a:gd name="connsiteX16" fmla="*/ 59207 w 484936"/>
              <a:gd name="connsiteY16" fmla="*/ 389077 h 422910"/>
              <a:gd name="connsiteX17" fmla="*/ 58644 w 484936"/>
              <a:gd name="connsiteY17" fmla="*/ 413888 h 422910"/>
              <a:gd name="connsiteX18" fmla="*/ 69357 w 484936"/>
              <a:gd name="connsiteY18" fmla="*/ 403174 h 422910"/>
              <a:gd name="connsiteX19" fmla="*/ 80635 w 484936"/>
              <a:gd name="connsiteY19" fmla="*/ 403174 h 422910"/>
              <a:gd name="connsiteX20" fmla="*/ 104882 w 484936"/>
              <a:gd name="connsiteY20" fmla="*/ 424038 h 422910"/>
              <a:gd name="connsiteX21" fmla="*/ 106573 w 484936"/>
              <a:gd name="connsiteY21" fmla="*/ 391897 h 422910"/>
              <a:gd name="connsiteX22" fmla="*/ 115595 w 484936"/>
              <a:gd name="connsiteY22" fmla="*/ 377236 h 422910"/>
              <a:gd name="connsiteX23" fmla="*/ 120106 w 484936"/>
              <a:gd name="connsiteY23" fmla="*/ 356936 h 422910"/>
              <a:gd name="connsiteX24" fmla="*/ 128001 w 484936"/>
              <a:gd name="connsiteY24" fmla="*/ 349042 h 422910"/>
              <a:gd name="connsiteX25" fmla="*/ 161834 w 484936"/>
              <a:gd name="connsiteY25" fmla="*/ 344531 h 422910"/>
              <a:gd name="connsiteX26" fmla="*/ 193411 w 484936"/>
              <a:gd name="connsiteY26" fmla="*/ 358064 h 422910"/>
              <a:gd name="connsiteX27" fmla="*/ 205252 w 484936"/>
              <a:gd name="connsiteY27" fmla="*/ 371597 h 422910"/>
              <a:gd name="connsiteX28" fmla="*/ 221605 w 484936"/>
              <a:gd name="connsiteY28" fmla="*/ 372161 h 422910"/>
              <a:gd name="connsiteX29" fmla="*/ 236266 w 484936"/>
              <a:gd name="connsiteY29" fmla="*/ 363703 h 422910"/>
              <a:gd name="connsiteX30" fmla="*/ 274610 w 484936"/>
              <a:gd name="connsiteY30" fmla="*/ 382311 h 422910"/>
              <a:gd name="connsiteX31" fmla="*/ 290399 w 484936"/>
              <a:gd name="connsiteY31" fmla="*/ 381183 h 422910"/>
              <a:gd name="connsiteX32" fmla="*/ 309006 w 484936"/>
              <a:gd name="connsiteY32" fmla="*/ 365958 h 422910"/>
              <a:gd name="connsiteX33" fmla="*/ 327615 w 484936"/>
              <a:gd name="connsiteY33" fmla="*/ 367086 h 422910"/>
              <a:gd name="connsiteX34" fmla="*/ 336636 w 484936"/>
              <a:gd name="connsiteY34" fmla="*/ 362011 h 422910"/>
              <a:gd name="connsiteX35" fmla="*/ 353553 w 484936"/>
              <a:gd name="connsiteY35" fmla="*/ 364267 h 422910"/>
              <a:gd name="connsiteX36" fmla="*/ 377800 w 484936"/>
              <a:gd name="connsiteY36" fmla="*/ 374416 h 422910"/>
              <a:gd name="connsiteX37" fmla="*/ 402046 w 484936"/>
              <a:gd name="connsiteY37" fmla="*/ 354681 h 422910"/>
              <a:gd name="connsiteX38" fmla="*/ 409377 w 484936"/>
              <a:gd name="connsiteY38" fmla="*/ 355808 h 422910"/>
              <a:gd name="connsiteX39" fmla="*/ 431369 w 484936"/>
              <a:gd name="connsiteY39" fmla="*/ 395280 h 422910"/>
              <a:gd name="connsiteX40" fmla="*/ 437007 w 484936"/>
              <a:gd name="connsiteY40" fmla="*/ 394152 h 422910"/>
              <a:gd name="connsiteX41" fmla="*/ 438135 w 484936"/>
              <a:gd name="connsiteY41" fmla="*/ 382875 h 422910"/>
              <a:gd name="connsiteX42" fmla="*/ 447157 w 484936"/>
              <a:gd name="connsiteY42" fmla="*/ 380619 h 422910"/>
              <a:gd name="connsiteX43" fmla="*/ 449976 w 484936"/>
              <a:gd name="connsiteY43" fmla="*/ 364267 h 422910"/>
              <a:gd name="connsiteX44" fmla="*/ 429677 w 484936"/>
              <a:gd name="connsiteY44" fmla="*/ 363139 h 422910"/>
              <a:gd name="connsiteX45" fmla="*/ 429677 w 484936"/>
              <a:gd name="connsiteY45" fmla="*/ 340020 h 422910"/>
              <a:gd name="connsiteX46" fmla="*/ 416143 w 484936"/>
              <a:gd name="connsiteY46" fmla="*/ 327050 h 422910"/>
              <a:gd name="connsiteX47" fmla="*/ 429113 w 484936"/>
              <a:gd name="connsiteY47" fmla="*/ 279685 h 422910"/>
              <a:gd name="connsiteX48" fmla="*/ 468021 w 484936"/>
              <a:gd name="connsiteY48" fmla="*/ 245852 h 422910"/>
              <a:gd name="connsiteX49" fmla="*/ 469148 w 484936"/>
              <a:gd name="connsiteY49" fmla="*/ 199050 h 422910"/>
              <a:gd name="connsiteX50" fmla="*/ 479298 w 484936"/>
              <a:gd name="connsiteY50" fmla="*/ 126309 h 422910"/>
              <a:gd name="connsiteX51" fmla="*/ 485501 w 484936"/>
              <a:gd name="connsiteY51" fmla="*/ 111084 h 422910"/>
              <a:gd name="connsiteX52" fmla="*/ 472531 w 484936"/>
              <a:gd name="connsiteY52" fmla="*/ 98679 h 422910"/>
              <a:gd name="connsiteX53" fmla="*/ 471404 w 484936"/>
              <a:gd name="connsiteY53" fmla="*/ 86838 h 422910"/>
              <a:gd name="connsiteX54" fmla="*/ 460126 w 484936"/>
              <a:gd name="connsiteY54" fmla="*/ 77816 h 422910"/>
              <a:gd name="connsiteX55" fmla="*/ 451104 w 484936"/>
              <a:gd name="connsiteY55" fmla="*/ 21991 h 422910"/>
              <a:gd name="connsiteX56" fmla="*/ 429113 w 484936"/>
              <a:gd name="connsiteY56" fmla="*/ 35525 h 422910"/>
              <a:gd name="connsiteX57" fmla="*/ 411633 w 484936"/>
              <a:gd name="connsiteY57" fmla="*/ 15789 h 4229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484936" h="422910">
                <a:moveTo>
                  <a:pt x="411633" y="15789"/>
                </a:moveTo>
                <a:lnTo>
                  <a:pt x="362011" y="0"/>
                </a:lnTo>
                <a:lnTo>
                  <a:pt x="257129" y="68793"/>
                </a:lnTo>
                <a:lnTo>
                  <a:pt x="168036" y="139278"/>
                </a:lnTo>
                <a:lnTo>
                  <a:pt x="124054" y="155067"/>
                </a:lnTo>
                <a:lnTo>
                  <a:pt x="124618" y="237394"/>
                </a:lnTo>
                <a:lnTo>
                  <a:pt x="107701" y="261640"/>
                </a:lnTo>
                <a:lnTo>
                  <a:pt x="104882" y="283632"/>
                </a:lnTo>
                <a:lnTo>
                  <a:pt x="77252" y="289271"/>
                </a:lnTo>
                <a:lnTo>
                  <a:pt x="34397" y="292654"/>
                </a:lnTo>
                <a:lnTo>
                  <a:pt x="23119" y="305059"/>
                </a:lnTo>
                <a:lnTo>
                  <a:pt x="2819" y="306751"/>
                </a:lnTo>
                <a:lnTo>
                  <a:pt x="0" y="324231"/>
                </a:lnTo>
                <a:lnTo>
                  <a:pt x="4511" y="340584"/>
                </a:lnTo>
                <a:lnTo>
                  <a:pt x="21991" y="363703"/>
                </a:lnTo>
                <a:lnTo>
                  <a:pt x="23119" y="381183"/>
                </a:lnTo>
                <a:lnTo>
                  <a:pt x="59207" y="389077"/>
                </a:lnTo>
                <a:lnTo>
                  <a:pt x="58644" y="413888"/>
                </a:lnTo>
                <a:lnTo>
                  <a:pt x="69357" y="403174"/>
                </a:lnTo>
                <a:lnTo>
                  <a:pt x="80635" y="403174"/>
                </a:lnTo>
                <a:lnTo>
                  <a:pt x="104882" y="424038"/>
                </a:lnTo>
                <a:lnTo>
                  <a:pt x="106573" y="391897"/>
                </a:lnTo>
                <a:lnTo>
                  <a:pt x="115595" y="377236"/>
                </a:lnTo>
                <a:lnTo>
                  <a:pt x="120106" y="356936"/>
                </a:lnTo>
                <a:lnTo>
                  <a:pt x="128001" y="349042"/>
                </a:lnTo>
                <a:lnTo>
                  <a:pt x="161834" y="344531"/>
                </a:lnTo>
                <a:lnTo>
                  <a:pt x="193411" y="358064"/>
                </a:lnTo>
                <a:lnTo>
                  <a:pt x="205252" y="371597"/>
                </a:lnTo>
                <a:lnTo>
                  <a:pt x="221605" y="372161"/>
                </a:lnTo>
                <a:lnTo>
                  <a:pt x="236266" y="363703"/>
                </a:lnTo>
                <a:lnTo>
                  <a:pt x="274610" y="382311"/>
                </a:lnTo>
                <a:lnTo>
                  <a:pt x="290399" y="381183"/>
                </a:lnTo>
                <a:lnTo>
                  <a:pt x="309006" y="365958"/>
                </a:lnTo>
                <a:lnTo>
                  <a:pt x="327615" y="367086"/>
                </a:lnTo>
                <a:lnTo>
                  <a:pt x="336636" y="362011"/>
                </a:lnTo>
                <a:lnTo>
                  <a:pt x="353553" y="364267"/>
                </a:lnTo>
                <a:lnTo>
                  <a:pt x="377800" y="374416"/>
                </a:lnTo>
                <a:lnTo>
                  <a:pt x="402046" y="354681"/>
                </a:lnTo>
                <a:lnTo>
                  <a:pt x="409377" y="355808"/>
                </a:lnTo>
                <a:lnTo>
                  <a:pt x="431369" y="395280"/>
                </a:lnTo>
                <a:lnTo>
                  <a:pt x="437007" y="394152"/>
                </a:lnTo>
                <a:lnTo>
                  <a:pt x="438135" y="382875"/>
                </a:lnTo>
                <a:lnTo>
                  <a:pt x="447157" y="380619"/>
                </a:lnTo>
                <a:lnTo>
                  <a:pt x="449976" y="364267"/>
                </a:lnTo>
                <a:lnTo>
                  <a:pt x="429677" y="363139"/>
                </a:lnTo>
                <a:lnTo>
                  <a:pt x="429677" y="340020"/>
                </a:lnTo>
                <a:lnTo>
                  <a:pt x="416143" y="327050"/>
                </a:lnTo>
                <a:lnTo>
                  <a:pt x="429113" y="279685"/>
                </a:lnTo>
                <a:lnTo>
                  <a:pt x="468021" y="245852"/>
                </a:lnTo>
                <a:lnTo>
                  <a:pt x="469148" y="199050"/>
                </a:lnTo>
                <a:lnTo>
                  <a:pt x="479298" y="126309"/>
                </a:lnTo>
                <a:lnTo>
                  <a:pt x="485501" y="111084"/>
                </a:lnTo>
                <a:lnTo>
                  <a:pt x="472531" y="98679"/>
                </a:lnTo>
                <a:lnTo>
                  <a:pt x="471404" y="86838"/>
                </a:lnTo>
                <a:lnTo>
                  <a:pt x="460126" y="77816"/>
                </a:lnTo>
                <a:lnTo>
                  <a:pt x="451104" y="21991"/>
                </a:lnTo>
                <a:lnTo>
                  <a:pt x="429113" y="35525"/>
                </a:lnTo>
                <a:lnTo>
                  <a:pt x="411633" y="15789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6" name="Freeform: Shape 349">
            <a:extLst>
              <a:ext uri="{FF2B5EF4-FFF2-40B4-BE49-F238E27FC236}">
                <a16:creationId xmlns:a16="http://schemas.microsoft.com/office/drawing/2014/main" id="{31EDDA5A-DBEF-49A0-B1A0-29CEE815E796}"/>
              </a:ext>
            </a:extLst>
          </p:cNvPr>
          <p:cNvSpPr/>
          <p:nvPr/>
        </p:nvSpPr>
        <p:spPr>
          <a:xfrm>
            <a:off x="5906378" y="3750805"/>
            <a:ext cx="278111" cy="257041"/>
          </a:xfrm>
          <a:custGeom>
            <a:avLst/>
            <a:gdLst>
              <a:gd name="connsiteX0" fmla="*/ 360884 w 372160"/>
              <a:gd name="connsiteY0" fmla="*/ 49622 h 343966"/>
              <a:gd name="connsiteX1" fmla="*/ 355245 w 372160"/>
              <a:gd name="connsiteY1" fmla="*/ 50749 h 343966"/>
              <a:gd name="connsiteX2" fmla="*/ 333253 w 372160"/>
              <a:gd name="connsiteY2" fmla="*/ 11278 h 343966"/>
              <a:gd name="connsiteX3" fmla="*/ 325923 w 372160"/>
              <a:gd name="connsiteY3" fmla="*/ 10150 h 343966"/>
              <a:gd name="connsiteX4" fmla="*/ 301676 w 372160"/>
              <a:gd name="connsiteY4" fmla="*/ 29886 h 343966"/>
              <a:gd name="connsiteX5" fmla="*/ 277429 w 372160"/>
              <a:gd name="connsiteY5" fmla="*/ 19736 h 343966"/>
              <a:gd name="connsiteX6" fmla="*/ 260513 w 372160"/>
              <a:gd name="connsiteY6" fmla="*/ 17480 h 343966"/>
              <a:gd name="connsiteX7" fmla="*/ 251491 w 372160"/>
              <a:gd name="connsiteY7" fmla="*/ 22555 h 343966"/>
              <a:gd name="connsiteX8" fmla="*/ 232882 w 372160"/>
              <a:gd name="connsiteY8" fmla="*/ 21428 h 343966"/>
              <a:gd name="connsiteX9" fmla="*/ 214275 w 372160"/>
              <a:gd name="connsiteY9" fmla="*/ 36652 h 343966"/>
              <a:gd name="connsiteX10" fmla="*/ 198486 w 372160"/>
              <a:gd name="connsiteY10" fmla="*/ 37780 h 343966"/>
              <a:gd name="connsiteX11" fmla="*/ 160142 w 372160"/>
              <a:gd name="connsiteY11" fmla="*/ 19172 h 343966"/>
              <a:gd name="connsiteX12" fmla="*/ 145481 w 372160"/>
              <a:gd name="connsiteY12" fmla="*/ 27630 h 343966"/>
              <a:gd name="connsiteX13" fmla="*/ 129129 w 372160"/>
              <a:gd name="connsiteY13" fmla="*/ 27066 h 343966"/>
              <a:gd name="connsiteX14" fmla="*/ 117287 w 372160"/>
              <a:gd name="connsiteY14" fmla="*/ 13533 h 343966"/>
              <a:gd name="connsiteX15" fmla="*/ 85710 w 372160"/>
              <a:gd name="connsiteY15" fmla="*/ 0 h 343966"/>
              <a:gd name="connsiteX16" fmla="*/ 51877 w 372160"/>
              <a:gd name="connsiteY16" fmla="*/ 4511 h 343966"/>
              <a:gd name="connsiteX17" fmla="*/ 43983 w 372160"/>
              <a:gd name="connsiteY17" fmla="*/ 12405 h 343966"/>
              <a:gd name="connsiteX18" fmla="*/ 39472 w 372160"/>
              <a:gd name="connsiteY18" fmla="*/ 32705 h 343966"/>
              <a:gd name="connsiteX19" fmla="*/ 30450 w 372160"/>
              <a:gd name="connsiteY19" fmla="*/ 47366 h 343966"/>
              <a:gd name="connsiteX20" fmla="*/ 28758 w 372160"/>
              <a:gd name="connsiteY20" fmla="*/ 79507 h 343966"/>
              <a:gd name="connsiteX21" fmla="*/ 27630 w 372160"/>
              <a:gd name="connsiteY21" fmla="*/ 91349 h 343966"/>
              <a:gd name="connsiteX22" fmla="*/ 34397 w 372160"/>
              <a:gd name="connsiteY22" fmla="*/ 112776 h 343966"/>
              <a:gd name="connsiteX23" fmla="*/ 28194 w 372160"/>
              <a:gd name="connsiteY23" fmla="*/ 126873 h 343966"/>
              <a:gd name="connsiteX24" fmla="*/ 31577 w 372160"/>
              <a:gd name="connsiteY24" fmla="*/ 136459 h 343966"/>
              <a:gd name="connsiteX25" fmla="*/ 16353 w 372160"/>
              <a:gd name="connsiteY25" fmla="*/ 159014 h 343966"/>
              <a:gd name="connsiteX26" fmla="*/ 6767 w 372160"/>
              <a:gd name="connsiteY26" fmla="*/ 169728 h 343966"/>
              <a:gd name="connsiteX27" fmla="*/ 1128 w 372160"/>
              <a:gd name="connsiteY27" fmla="*/ 192283 h 343966"/>
              <a:gd name="connsiteX28" fmla="*/ 1692 w 372160"/>
              <a:gd name="connsiteY28" fmla="*/ 215402 h 343966"/>
              <a:gd name="connsiteX29" fmla="*/ 0 w 372160"/>
              <a:gd name="connsiteY29" fmla="*/ 272918 h 343966"/>
              <a:gd name="connsiteX30" fmla="*/ 27630 w 372160"/>
              <a:gd name="connsiteY30" fmla="*/ 272918 h 343966"/>
              <a:gd name="connsiteX31" fmla="*/ 51877 w 372160"/>
              <a:gd name="connsiteY31" fmla="*/ 272918 h 343966"/>
              <a:gd name="connsiteX32" fmla="*/ 73868 w 372160"/>
              <a:gd name="connsiteY32" fmla="*/ 296601 h 343966"/>
              <a:gd name="connsiteX33" fmla="*/ 84582 w 372160"/>
              <a:gd name="connsiteY33" fmla="*/ 322539 h 343966"/>
              <a:gd name="connsiteX34" fmla="*/ 101498 w 372160"/>
              <a:gd name="connsiteY34" fmla="*/ 344531 h 343966"/>
              <a:gd name="connsiteX35" fmla="*/ 126873 w 372160"/>
              <a:gd name="connsiteY35" fmla="*/ 345659 h 343966"/>
              <a:gd name="connsiteX36" fmla="*/ 139278 w 372160"/>
              <a:gd name="connsiteY36" fmla="*/ 337764 h 343966"/>
              <a:gd name="connsiteX37" fmla="*/ 151120 w 372160"/>
              <a:gd name="connsiteY37" fmla="*/ 339456 h 343966"/>
              <a:gd name="connsiteX38" fmla="*/ 183825 w 372160"/>
              <a:gd name="connsiteY38" fmla="*/ 326487 h 343966"/>
              <a:gd name="connsiteX39" fmla="*/ 191720 w 372160"/>
              <a:gd name="connsiteY39" fmla="*/ 301112 h 343966"/>
              <a:gd name="connsiteX40" fmla="*/ 206944 w 372160"/>
              <a:gd name="connsiteY40" fmla="*/ 266715 h 343966"/>
              <a:gd name="connsiteX41" fmla="*/ 215966 w 372160"/>
              <a:gd name="connsiteY41" fmla="*/ 266151 h 343966"/>
              <a:gd name="connsiteX42" fmla="*/ 234574 w 372160"/>
              <a:gd name="connsiteY42" fmla="*/ 245288 h 343966"/>
              <a:gd name="connsiteX43" fmla="*/ 246416 w 372160"/>
              <a:gd name="connsiteY43" fmla="*/ 244724 h 343966"/>
              <a:gd name="connsiteX44" fmla="*/ 264460 w 372160"/>
              <a:gd name="connsiteY44" fmla="*/ 259385 h 343966"/>
              <a:gd name="connsiteX45" fmla="*/ 286451 w 372160"/>
              <a:gd name="connsiteY45" fmla="*/ 246980 h 343966"/>
              <a:gd name="connsiteX46" fmla="*/ 289270 w 372160"/>
              <a:gd name="connsiteY46" fmla="*/ 232318 h 343966"/>
              <a:gd name="connsiteX47" fmla="*/ 296037 w 372160"/>
              <a:gd name="connsiteY47" fmla="*/ 217658 h 343966"/>
              <a:gd name="connsiteX48" fmla="*/ 300548 w 372160"/>
              <a:gd name="connsiteY48" fmla="*/ 199614 h 343966"/>
              <a:gd name="connsiteX49" fmla="*/ 317464 w 372160"/>
              <a:gd name="connsiteY49" fmla="*/ 184953 h 343966"/>
              <a:gd name="connsiteX50" fmla="*/ 323667 w 372160"/>
              <a:gd name="connsiteY50" fmla="*/ 159578 h 343966"/>
              <a:gd name="connsiteX51" fmla="*/ 330434 w 372160"/>
              <a:gd name="connsiteY51" fmla="*/ 151684 h 343966"/>
              <a:gd name="connsiteX52" fmla="*/ 334381 w 372160"/>
              <a:gd name="connsiteY52" fmla="*/ 133076 h 343966"/>
              <a:gd name="connsiteX53" fmla="*/ 342839 w 372160"/>
              <a:gd name="connsiteY53" fmla="*/ 110521 h 343966"/>
              <a:gd name="connsiteX54" fmla="*/ 368777 w 372160"/>
              <a:gd name="connsiteY54" fmla="*/ 82327 h 343966"/>
              <a:gd name="connsiteX55" fmla="*/ 370469 w 372160"/>
              <a:gd name="connsiteY55" fmla="*/ 70485 h 343966"/>
              <a:gd name="connsiteX56" fmla="*/ 373852 w 372160"/>
              <a:gd name="connsiteY56" fmla="*/ 64282 h 343966"/>
              <a:gd name="connsiteX57" fmla="*/ 360884 w 372160"/>
              <a:gd name="connsiteY57" fmla="*/ 49622 h 3439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372160" h="343966">
                <a:moveTo>
                  <a:pt x="360884" y="49622"/>
                </a:moveTo>
                <a:lnTo>
                  <a:pt x="355245" y="50749"/>
                </a:lnTo>
                <a:lnTo>
                  <a:pt x="333253" y="11278"/>
                </a:lnTo>
                <a:lnTo>
                  <a:pt x="325923" y="10150"/>
                </a:lnTo>
                <a:lnTo>
                  <a:pt x="301676" y="29886"/>
                </a:lnTo>
                <a:lnTo>
                  <a:pt x="277429" y="19736"/>
                </a:lnTo>
                <a:lnTo>
                  <a:pt x="260513" y="17480"/>
                </a:lnTo>
                <a:lnTo>
                  <a:pt x="251491" y="22555"/>
                </a:lnTo>
                <a:lnTo>
                  <a:pt x="232882" y="21428"/>
                </a:lnTo>
                <a:lnTo>
                  <a:pt x="214275" y="36652"/>
                </a:lnTo>
                <a:lnTo>
                  <a:pt x="198486" y="37780"/>
                </a:lnTo>
                <a:lnTo>
                  <a:pt x="160142" y="19172"/>
                </a:lnTo>
                <a:lnTo>
                  <a:pt x="145481" y="27630"/>
                </a:lnTo>
                <a:lnTo>
                  <a:pt x="129129" y="27066"/>
                </a:lnTo>
                <a:lnTo>
                  <a:pt x="117287" y="13533"/>
                </a:lnTo>
                <a:lnTo>
                  <a:pt x="85710" y="0"/>
                </a:lnTo>
                <a:lnTo>
                  <a:pt x="51877" y="4511"/>
                </a:lnTo>
                <a:lnTo>
                  <a:pt x="43983" y="12405"/>
                </a:lnTo>
                <a:lnTo>
                  <a:pt x="39472" y="32705"/>
                </a:lnTo>
                <a:lnTo>
                  <a:pt x="30450" y="47366"/>
                </a:lnTo>
                <a:lnTo>
                  <a:pt x="28758" y="79507"/>
                </a:lnTo>
                <a:lnTo>
                  <a:pt x="27630" y="91349"/>
                </a:lnTo>
                <a:lnTo>
                  <a:pt x="34397" y="112776"/>
                </a:lnTo>
                <a:lnTo>
                  <a:pt x="28194" y="126873"/>
                </a:lnTo>
                <a:lnTo>
                  <a:pt x="31577" y="136459"/>
                </a:lnTo>
                <a:lnTo>
                  <a:pt x="16353" y="159014"/>
                </a:lnTo>
                <a:lnTo>
                  <a:pt x="6767" y="169728"/>
                </a:lnTo>
                <a:lnTo>
                  <a:pt x="1128" y="192283"/>
                </a:lnTo>
                <a:lnTo>
                  <a:pt x="1692" y="215402"/>
                </a:lnTo>
                <a:lnTo>
                  <a:pt x="0" y="272918"/>
                </a:lnTo>
                <a:lnTo>
                  <a:pt x="27630" y="272918"/>
                </a:lnTo>
                <a:lnTo>
                  <a:pt x="51877" y="272918"/>
                </a:lnTo>
                <a:lnTo>
                  <a:pt x="73868" y="296601"/>
                </a:lnTo>
                <a:lnTo>
                  <a:pt x="84582" y="322539"/>
                </a:lnTo>
                <a:lnTo>
                  <a:pt x="101498" y="344531"/>
                </a:lnTo>
                <a:lnTo>
                  <a:pt x="126873" y="345659"/>
                </a:lnTo>
                <a:lnTo>
                  <a:pt x="139278" y="337764"/>
                </a:lnTo>
                <a:lnTo>
                  <a:pt x="151120" y="339456"/>
                </a:lnTo>
                <a:lnTo>
                  <a:pt x="183825" y="326487"/>
                </a:lnTo>
                <a:lnTo>
                  <a:pt x="191720" y="301112"/>
                </a:lnTo>
                <a:lnTo>
                  <a:pt x="206944" y="266715"/>
                </a:lnTo>
                <a:lnTo>
                  <a:pt x="215966" y="266151"/>
                </a:lnTo>
                <a:lnTo>
                  <a:pt x="234574" y="245288"/>
                </a:lnTo>
                <a:lnTo>
                  <a:pt x="246416" y="244724"/>
                </a:lnTo>
                <a:lnTo>
                  <a:pt x="264460" y="259385"/>
                </a:lnTo>
                <a:lnTo>
                  <a:pt x="286451" y="246980"/>
                </a:lnTo>
                <a:lnTo>
                  <a:pt x="289270" y="232318"/>
                </a:lnTo>
                <a:lnTo>
                  <a:pt x="296037" y="217658"/>
                </a:lnTo>
                <a:lnTo>
                  <a:pt x="300548" y="199614"/>
                </a:lnTo>
                <a:lnTo>
                  <a:pt x="317464" y="184953"/>
                </a:lnTo>
                <a:lnTo>
                  <a:pt x="323667" y="159578"/>
                </a:lnTo>
                <a:lnTo>
                  <a:pt x="330434" y="151684"/>
                </a:lnTo>
                <a:lnTo>
                  <a:pt x="334381" y="133076"/>
                </a:lnTo>
                <a:lnTo>
                  <a:pt x="342839" y="110521"/>
                </a:lnTo>
                <a:lnTo>
                  <a:pt x="368777" y="82327"/>
                </a:lnTo>
                <a:lnTo>
                  <a:pt x="370469" y="70485"/>
                </a:lnTo>
                <a:lnTo>
                  <a:pt x="373852" y="64282"/>
                </a:lnTo>
                <a:lnTo>
                  <a:pt x="360884" y="49622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7" name="Freeform: Shape 350">
            <a:extLst>
              <a:ext uri="{FF2B5EF4-FFF2-40B4-BE49-F238E27FC236}">
                <a16:creationId xmlns:a16="http://schemas.microsoft.com/office/drawing/2014/main" id="{373D74CA-917A-4AF1-854B-D60421BFC1C2}"/>
              </a:ext>
            </a:extLst>
          </p:cNvPr>
          <p:cNvSpPr/>
          <p:nvPr/>
        </p:nvSpPr>
        <p:spPr>
          <a:xfrm>
            <a:off x="3781786" y="3720045"/>
            <a:ext cx="109559" cy="113772"/>
          </a:xfrm>
          <a:custGeom>
            <a:avLst/>
            <a:gdLst>
              <a:gd name="connsiteX0" fmla="*/ 149428 w 146608"/>
              <a:gd name="connsiteY0" fmla="*/ 1128 h 152247"/>
              <a:gd name="connsiteX1" fmla="*/ 138715 w 146608"/>
              <a:gd name="connsiteY1" fmla="*/ 0 h 152247"/>
              <a:gd name="connsiteX2" fmla="*/ 133639 w 146608"/>
              <a:gd name="connsiteY2" fmla="*/ 5075 h 152247"/>
              <a:gd name="connsiteX3" fmla="*/ 122362 w 146608"/>
              <a:gd name="connsiteY3" fmla="*/ 9586 h 152247"/>
              <a:gd name="connsiteX4" fmla="*/ 114468 w 146608"/>
              <a:gd name="connsiteY4" fmla="*/ 9586 h 152247"/>
              <a:gd name="connsiteX5" fmla="*/ 107137 w 146608"/>
              <a:gd name="connsiteY5" fmla="*/ 14097 h 152247"/>
              <a:gd name="connsiteX6" fmla="*/ 100934 w 146608"/>
              <a:gd name="connsiteY6" fmla="*/ 12405 h 152247"/>
              <a:gd name="connsiteX7" fmla="*/ 95860 w 146608"/>
              <a:gd name="connsiteY7" fmla="*/ 7330 h 152247"/>
              <a:gd name="connsiteX8" fmla="*/ 92476 w 146608"/>
              <a:gd name="connsiteY8" fmla="*/ 8458 h 152247"/>
              <a:gd name="connsiteX9" fmla="*/ 87965 w 146608"/>
              <a:gd name="connsiteY9" fmla="*/ 16916 h 152247"/>
              <a:gd name="connsiteX10" fmla="*/ 85146 w 146608"/>
              <a:gd name="connsiteY10" fmla="*/ 16352 h 152247"/>
              <a:gd name="connsiteX11" fmla="*/ 83454 w 146608"/>
              <a:gd name="connsiteY11" fmla="*/ 23683 h 152247"/>
              <a:gd name="connsiteX12" fmla="*/ 71613 w 146608"/>
              <a:gd name="connsiteY12" fmla="*/ 33833 h 152247"/>
              <a:gd name="connsiteX13" fmla="*/ 65410 w 146608"/>
              <a:gd name="connsiteY13" fmla="*/ 37780 h 152247"/>
              <a:gd name="connsiteX14" fmla="*/ 62027 w 146608"/>
              <a:gd name="connsiteY14" fmla="*/ 42291 h 152247"/>
              <a:gd name="connsiteX15" fmla="*/ 53569 w 146608"/>
              <a:gd name="connsiteY15" fmla="*/ 34960 h 152247"/>
              <a:gd name="connsiteX16" fmla="*/ 45674 w 146608"/>
              <a:gd name="connsiteY16" fmla="*/ 44546 h 152247"/>
              <a:gd name="connsiteX17" fmla="*/ 38908 w 146608"/>
              <a:gd name="connsiteY17" fmla="*/ 44546 h 152247"/>
              <a:gd name="connsiteX18" fmla="*/ 31577 w 146608"/>
              <a:gd name="connsiteY18" fmla="*/ 45674 h 152247"/>
              <a:gd name="connsiteX19" fmla="*/ 30449 w 146608"/>
              <a:gd name="connsiteY19" fmla="*/ 63154 h 152247"/>
              <a:gd name="connsiteX20" fmla="*/ 25939 w 146608"/>
              <a:gd name="connsiteY20" fmla="*/ 63154 h 152247"/>
              <a:gd name="connsiteX21" fmla="*/ 21427 w 146608"/>
              <a:gd name="connsiteY21" fmla="*/ 71613 h 152247"/>
              <a:gd name="connsiteX22" fmla="*/ 11278 w 146608"/>
              <a:gd name="connsiteY22" fmla="*/ 73304 h 152247"/>
              <a:gd name="connsiteX23" fmla="*/ 9022 w 146608"/>
              <a:gd name="connsiteY23" fmla="*/ 75560 h 152247"/>
              <a:gd name="connsiteX24" fmla="*/ 3947 w 146608"/>
              <a:gd name="connsiteY24" fmla="*/ 69921 h 152247"/>
              <a:gd name="connsiteX25" fmla="*/ 0 w 146608"/>
              <a:gd name="connsiteY25" fmla="*/ 75560 h 152247"/>
              <a:gd name="connsiteX26" fmla="*/ 14661 w 146608"/>
              <a:gd name="connsiteY26" fmla="*/ 91912 h 152247"/>
              <a:gd name="connsiteX27" fmla="*/ 27066 w 146608"/>
              <a:gd name="connsiteY27" fmla="*/ 103190 h 152247"/>
              <a:gd name="connsiteX28" fmla="*/ 32705 w 146608"/>
              <a:gd name="connsiteY28" fmla="*/ 115031 h 152247"/>
              <a:gd name="connsiteX29" fmla="*/ 46802 w 146608"/>
              <a:gd name="connsiteY29" fmla="*/ 129692 h 152247"/>
              <a:gd name="connsiteX30" fmla="*/ 56952 w 146608"/>
              <a:gd name="connsiteY30" fmla="*/ 140970 h 152247"/>
              <a:gd name="connsiteX31" fmla="*/ 62027 w 146608"/>
              <a:gd name="connsiteY31" fmla="*/ 136459 h 152247"/>
              <a:gd name="connsiteX32" fmla="*/ 81763 w 146608"/>
              <a:gd name="connsiteY32" fmla="*/ 146045 h 152247"/>
              <a:gd name="connsiteX33" fmla="*/ 89657 w 146608"/>
              <a:gd name="connsiteY33" fmla="*/ 141534 h 152247"/>
              <a:gd name="connsiteX34" fmla="*/ 99243 w 146608"/>
              <a:gd name="connsiteY34" fmla="*/ 144353 h 152247"/>
              <a:gd name="connsiteX35" fmla="*/ 103754 w 146608"/>
              <a:gd name="connsiteY35" fmla="*/ 151684 h 152247"/>
              <a:gd name="connsiteX36" fmla="*/ 113340 w 146608"/>
              <a:gd name="connsiteY36" fmla="*/ 153939 h 152247"/>
              <a:gd name="connsiteX37" fmla="*/ 121234 w 146608"/>
              <a:gd name="connsiteY37" fmla="*/ 146609 h 152247"/>
              <a:gd name="connsiteX38" fmla="*/ 116723 w 146608"/>
              <a:gd name="connsiteY38" fmla="*/ 140406 h 152247"/>
              <a:gd name="connsiteX39" fmla="*/ 116159 w 146608"/>
              <a:gd name="connsiteY39" fmla="*/ 130820 h 152247"/>
              <a:gd name="connsiteX40" fmla="*/ 122926 w 146608"/>
              <a:gd name="connsiteY40" fmla="*/ 121798 h 152247"/>
              <a:gd name="connsiteX41" fmla="*/ 121798 w 146608"/>
              <a:gd name="connsiteY41" fmla="*/ 112212 h 152247"/>
              <a:gd name="connsiteX42" fmla="*/ 125745 w 146608"/>
              <a:gd name="connsiteY42" fmla="*/ 96987 h 152247"/>
              <a:gd name="connsiteX43" fmla="*/ 130820 w 146608"/>
              <a:gd name="connsiteY43" fmla="*/ 93040 h 152247"/>
              <a:gd name="connsiteX44" fmla="*/ 131384 w 146608"/>
              <a:gd name="connsiteY44" fmla="*/ 77251 h 152247"/>
              <a:gd name="connsiteX45" fmla="*/ 130256 w 146608"/>
              <a:gd name="connsiteY45" fmla="*/ 67666 h 152247"/>
              <a:gd name="connsiteX46" fmla="*/ 132512 w 146608"/>
              <a:gd name="connsiteY46" fmla="*/ 51877 h 152247"/>
              <a:gd name="connsiteX47" fmla="*/ 137587 w 146608"/>
              <a:gd name="connsiteY47" fmla="*/ 37780 h 152247"/>
              <a:gd name="connsiteX48" fmla="*/ 145481 w 146608"/>
              <a:gd name="connsiteY48" fmla="*/ 25375 h 152247"/>
              <a:gd name="connsiteX49" fmla="*/ 143789 w 146608"/>
              <a:gd name="connsiteY49" fmla="*/ 12405 h 152247"/>
              <a:gd name="connsiteX50" fmla="*/ 146045 w 146608"/>
              <a:gd name="connsiteY50" fmla="*/ 4511 h 152247"/>
              <a:gd name="connsiteX51" fmla="*/ 149428 w 146608"/>
              <a:gd name="connsiteY51" fmla="*/ 1128 h 1522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146608" h="152247">
                <a:moveTo>
                  <a:pt x="149428" y="1128"/>
                </a:moveTo>
                <a:lnTo>
                  <a:pt x="138715" y="0"/>
                </a:lnTo>
                <a:lnTo>
                  <a:pt x="133639" y="5075"/>
                </a:lnTo>
                <a:lnTo>
                  <a:pt x="122362" y="9586"/>
                </a:lnTo>
                <a:lnTo>
                  <a:pt x="114468" y="9586"/>
                </a:lnTo>
                <a:lnTo>
                  <a:pt x="107137" y="14097"/>
                </a:lnTo>
                <a:lnTo>
                  <a:pt x="100934" y="12405"/>
                </a:lnTo>
                <a:lnTo>
                  <a:pt x="95860" y="7330"/>
                </a:lnTo>
                <a:lnTo>
                  <a:pt x="92476" y="8458"/>
                </a:lnTo>
                <a:lnTo>
                  <a:pt x="87965" y="16916"/>
                </a:lnTo>
                <a:lnTo>
                  <a:pt x="85146" y="16352"/>
                </a:lnTo>
                <a:lnTo>
                  <a:pt x="83454" y="23683"/>
                </a:lnTo>
                <a:lnTo>
                  <a:pt x="71613" y="33833"/>
                </a:lnTo>
                <a:lnTo>
                  <a:pt x="65410" y="37780"/>
                </a:lnTo>
                <a:lnTo>
                  <a:pt x="62027" y="42291"/>
                </a:lnTo>
                <a:lnTo>
                  <a:pt x="53569" y="34960"/>
                </a:lnTo>
                <a:lnTo>
                  <a:pt x="45674" y="44546"/>
                </a:lnTo>
                <a:lnTo>
                  <a:pt x="38908" y="44546"/>
                </a:lnTo>
                <a:lnTo>
                  <a:pt x="31577" y="45674"/>
                </a:lnTo>
                <a:lnTo>
                  <a:pt x="30449" y="63154"/>
                </a:lnTo>
                <a:lnTo>
                  <a:pt x="25939" y="63154"/>
                </a:lnTo>
                <a:lnTo>
                  <a:pt x="21427" y="71613"/>
                </a:lnTo>
                <a:lnTo>
                  <a:pt x="11278" y="73304"/>
                </a:lnTo>
                <a:lnTo>
                  <a:pt x="9022" y="75560"/>
                </a:lnTo>
                <a:lnTo>
                  <a:pt x="3947" y="69921"/>
                </a:lnTo>
                <a:lnTo>
                  <a:pt x="0" y="75560"/>
                </a:lnTo>
                <a:lnTo>
                  <a:pt x="14661" y="91912"/>
                </a:lnTo>
                <a:lnTo>
                  <a:pt x="27066" y="103190"/>
                </a:lnTo>
                <a:lnTo>
                  <a:pt x="32705" y="115031"/>
                </a:lnTo>
                <a:lnTo>
                  <a:pt x="46802" y="129692"/>
                </a:lnTo>
                <a:lnTo>
                  <a:pt x="56952" y="140970"/>
                </a:lnTo>
                <a:lnTo>
                  <a:pt x="62027" y="136459"/>
                </a:lnTo>
                <a:lnTo>
                  <a:pt x="81763" y="146045"/>
                </a:lnTo>
                <a:lnTo>
                  <a:pt x="89657" y="141534"/>
                </a:lnTo>
                <a:lnTo>
                  <a:pt x="99243" y="144353"/>
                </a:lnTo>
                <a:lnTo>
                  <a:pt x="103754" y="151684"/>
                </a:lnTo>
                <a:lnTo>
                  <a:pt x="113340" y="153939"/>
                </a:lnTo>
                <a:lnTo>
                  <a:pt x="121234" y="146609"/>
                </a:lnTo>
                <a:lnTo>
                  <a:pt x="116723" y="140406"/>
                </a:lnTo>
                <a:lnTo>
                  <a:pt x="116159" y="130820"/>
                </a:lnTo>
                <a:lnTo>
                  <a:pt x="122926" y="121798"/>
                </a:lnTo>
                <a:lnTo>
                  <a:pt x="121798" y="112212"/>
                </a:lnTo>
                <a:lnTo>
                  <a:pt x="125745" y="96987"/>
                </a:lnTo>
                <a:lnTo>
                  <a:pt x="130820" y="93040"/>
                </a:lnTo>
                <a:lnTo>
                  <a:pt x="131384" y="77251"/>
                </a:lnTo>
                <a:lnTo>
                  <a:pt x="130256" y="67666"/>
                </a:lnTo>
                <a:lnTo>
                  <a:pt x="132512" y="51877"/>
                </a:lnTo>
                <a:lnTo>
                  <a:pt x="137587" y="37780"/>
                </a:lnTo>
                <a:lnTo>
                  <a:pt x="145481" y="25375"/>
                </a:lnTo>
                <a:lnTo>
                  <a:pt x="143789" y="12405"/>
                </a:lnTo>
                <a:lnTo>
                  <a:pt x="146045" y="4511"/>
                </a:lnTo>
                <a:lnTo>
                  <a:pt x="149428" y="1128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8" name="Freeform: Shape 351">
            <a:extLst>
              <a:ext uri="{FF2B5EF4-FFF2-40B4-BE49-F238E27FC236}">
                <a16:creationId xmlns:a16="http://schemas.microsoft.com/office/drawing/2014/main" id="{349C9EE9-DC5C-4130-A3D4-84F0DF13610A}"/>
              </a:ext>
            </a:extLst>
          </p:cNvPr>
          <p:cNvSpPr/>
          <p:nvPr/>
        </p:nvSpPr>
        <p:spPr>
          <a:xfrm>
            <a:off x="5910170" y="2696937"/>
            <a:ext cx="71634" cy="67421"/>
          </a:xfrm>
          <a:custGeom>
            <a:avLst/>
            <a:gdLst>
              <a:gd name="connsiteX0" fmla="*/ 72177 w 95859"/>
              <a:gd name="connsiteY0" fmla="*/ 56952 h 90220"/>
              <a:gd name="connsiteX1" fmla="*/ 88529 w 95859"/>
              <a:gd name="connsiteY1" fmla="*/ 56952 h 90220"/>
              <a:gd name="connsiteX2" fmla="*/ 94732 w 95859"/>
              <a:gd name="connsiteY2" fmla="*/ 43983 h 90220"/>
              <a:gd name="connsiteX3" fmla="*/ 100371 w 95859"/>
              <a:gd name="connsiteY3" fmla="*/ 12405 h 90220"/>
              <a:gd name="connsiteX4" fmla="*/ 94732 w 95859"/>
              <a:gd name="connsiteY4" fmla="*/ 1128 h 90220"/>
              <a:gd name="connsiteX5" fmla="*/ 72740 w 95859"/>
              <a:gd name="connsiteY5" fmla="*/ 0 h 90220"/>
              <a:gd name="connsiteX6" fmla="*/ 36088 w 95859"/>
              <a:gd name="connsiteY6" fmla="*/ 14661 h 90220"/>
              <a:gd name="connsiteX7" fmla="*/ 14097 w 95859"/>
              <a:gd name="connsiteY7" fmla="*/ 64846 h 90220"/>
              <a:gd name="connsiteX8" fmla="*/ 0 w 95859"/>
              <a:gd name="connsiteY8" fmla="*/ 74432 h 90220"/>
              <a:gd name="connsiteX9" fmla="*/ 0 w 95859"/>
              <a:gd name="connsiteY9" fmla="*/ 74432 h 90220"/>
              <a:gd name="connsiteX10" fmla="*/ 20300 w 95859"/>
              <a:gd name="connsiteY10" fmla="*/ 77252 h 90220"/>
              <a:gd name="connsiteX11" fmla="*/ 45110 w 95859"/>
              <a:gd name="connsiteY11" fmla="*/ 69921 h 90220"/>
              <a:gd name="connsiteX12" fmla="*/ 62591 w 95859"/>
              <a:gd name="connsiteY12" fmla="*/ 85146 h 90220"/>
              <a:gd name="connsiteX13" fmla="*/ 78379 w 95859"/>
              <a:gd name="connsiteY13" fmla="*/ 93040 h 90220"/>
              <a:gd name="connsiteX14" fmla="*/ 72177 w 95859"/>
              <a:gd name="connsiteY14" fmla="*/ 56952 h 90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95859" h="90220">
                <a:moveTo>
                  <a:pt x="72177" y="56952"/>
                </a:moveTo>
                <a:lnTo>
                  <a:pt x="88529" y="56952"/>
                </a:lnTo>
                <a:lnTo>
                  <a:pt x="94732" y="43983"/>
                </a:lnTo>
                <a:lnTo>
                  <a:pt x="100371" y="12405"/>
                </a:lnTo>
                <a:lnTo>
                  <a:pt x="94732" y="1128"/>
                </a:lnTo>
                <a:lnTo>
                  <a:pt x="72740" y="0"/>
                </a:lnTo>
                <a:lnTo>
                  <a:pt x="36088" y="14661"/>
                </a:lnTo>
                <a:lnTo>
                  <a:pt x="14097" y="64846"/>
                </a:lnTo>
                <a:lnTo>
                  <a:pt x="0" y="74432"/>
                </a:lnTo>
                <a:lnTo>
                  <a:pt x="0" y="74432"/>
                </a:lnTo>
                <a:lnTo>
                  <a:pt x="20300" y="77252"/>
                </a:lnTo>
                <a:lnTo>
                  <a:pt x="45110" y="69921"/>
                </a:lnTo>
                <a:lnTo>
                  <a:pt x="62591" y="85146"/>
                </a:lnTo>
                <a:lnTo>
                  <a:pt x="78379" y="93040"/>
                </a:lnTo>
                <a:lnTo>
                  <a:pt x="72177" y="56952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9" name="Freeform: Shape 352">
            <a:extLst>
              <a:ext uri="{FF2B5EF4-FFF2-40B4-BE49-F238E27FC236}">
                <a16:creationId xmlns:a16="http://schemas.microsoft.com/office/drawing/2014/main" id="{54F7CE34-F765-4F8B-8CDB-AB4044DCF0B7}"/>
              </a:ext>
            </a:extLst>
          </p:cNvPr>
          <p:cNvSpPr/>
          <p:nvPr/>
        </p:nvSpPr>
        <p:spPr>
          <a:xfrm>
            <a:off x="5935453" y="2080038"/>
            <a:ext cx="438234" cy="501440"/>
          </a:xfrm>
          <a:custGeom>
            <a:avLst/>
            <a:gdLst>
              <a:gd name="connsiteX0" fmla="*/ 508056 w 586435"/>
              <a:gd name="connsiteY0" fmla="*/ 257693 h 671017"/>
              <a:gd name="connsiteX1" fmla="*/ 469148 w 586435"/>
              <a:gd name="connsiteY1" fmla="*/ 263896 h 671017"/>
              <a:gd name="connsiteX2" fmla="*/ 427985 w 586435"/>
              <a:gd name="connsiteY2" fmla="*/ 262204 h 671017"/>
              <a:gd name="connsiteX3" fmla="*/ 399227 w 586435"/>
              <a:gd name="connsiteY3" fmla="*/ 287015 h 671017"/>
              <a:gd name="connsiteX4" fmla="*/ 361447 w 586435"/>
              <a:gd name="connsiteY4" fmla="*/ 285323 h 671017"/>
              <a:gd name="connsiteX5" fmla="*/ 313518 w 586435"/>
              <a:gd name="connsiteY5" fmla="*/ 298293 h 671017"/>
              <a:gd name="connsiteX6" fmla="*/ 256565 w 586435"/>
              <a:gd name="connsiteY6" fmla="*/ 336636 h 671017"/>
              <a:gd name="connsiteX7" fmla="*/ 220477 w 586435"/>
              <a:gd name="connsiteY7" fmla="*/ 359192 h 671017"/>
              <a:gd name="connsiteX8" fmla="*/ 170856 w 586435"/>
              <a:gd name="connsiteY8" fmla="*/ 419527 h 671017"/>
              <a:gd name="connsiteX9" fmla="*/ 130820 w 586435"/>
              <a:gd name="connsiteY9" fmla="*/ 463509 h 671017"/>
              <a:gd name="connsiteX10" fmla="*/ 85146 w 586435"/>
              <a:gd name="connsiteY10" fmla="*/ 496214 h 671017"/>
              <a:gd name="connsiteX11" fmla="*/ 21991 w 586435"/>
              <a:gd name="connsiteY11" fmla="*/ 523281 h 671017"/>
              <a:gd name="connsiteX12" fmla="*/ 0 w 586435"/>
              <a:gd name="connsiteY12" fmla="*/ 543580 h 671017"/>
              <a:gd name="connsiteX13" fmla="*/ 10714 w 586435"/>
              <a:gd name="connsiteY13" fmla="*/ 619140 h 671017"/>
              <a:gd name="connsiteX14" fmla="*/ 21427 w 586435"/>
              <a:gd name="connsiteY14" fmla="*/ 654665 h 671017"/>
              <a:gd name="connsiteX15" fmla="*/ 57516 w 586435"/>
              <a:gd name="connsiteY15" fmla="*/ 671581 h 671017"/>
              <a:gd name="connsiteX16" fmla="*/ 91349 w 586435"/>
              <a:gd name="connsiteY16" fmla="*/ 663687 h 671017"/>
              <a:gd name="connsiteX17" fmla="*/ 139278 w 586435"/>
              <a:gd name="connsiteY17" fmla="*/ 625343 h 671017"/>
              <a:gd name="connsiteX18" fmla="*/ 157886 w 586435"/>
              <a:gd name="connsiteY18" fmla="*/ 645643 h 671017"/>
              <a:gd name="connsiteX19" fmla="*/ 167472 w 586435"/>
              <a:gd name="connsiteY19" fmla="*/ 627035 h 671017"/>
              <a:gd name="connsiteX20" fmla="*/ 186644 w 586435"/>
              <a:gd name="connsiteY20" fmla="*/ 604479 h 671017"/>
              <a:gd name="connsiteX21" fmla="*/ 191719 w 586435"/>
              <a:gd name="connsiteY21" fmla="*/ 565572 h 671017"/>
              <a:gd name="connsiteX22" fmla="*/ 174239 w 586435"/>
              <a:gd name="connsiteY22" fmla="*/ 549219 h 671017"/>
              <a:gd name="connsiteX23" fmla="*/ 168600 w 586435"/>
              <a:gd name="connsiteY23" fmla="*/ 506364 h 671017"/>
              <a:gd name="connsiteX24" fmla="*/ 181569 w 586435"/>
              <a:gd name="connsiteY24" fmla="*/ 476479 h 671017"/>
              <a:gd name="connsiteX25" fmla="*/ 205816 w 586435"/>
              <a:gd name="connsiteY25" fmla="*/ 477043 h 671017"/>
              <a:gd name="connsiteX26" fmla="*/ 213147 w 586435"/>
              <a:gd name="connsiteY26" fmla="*/ 464637 h 671017"/>
              <a:gd name="connsiteX27" fmla="*/ 202996 w 586435"/>
              <a:gd name="connsiteY27" fmla="*/ 453923 h 671017"/>
              <a:gd name="connsiteX28" fmla="*/ 235138 w 586435"/>
              <a:gd name="connsiteY28" fmla="*/ 409377 h 671017"/>
              <a:gd name="connsiteX29" fmla="*/ 254310 w 586435"/>
              <a:gd name="connsiteY29" fmla="*/ 374980 h 671017"/>
              <a:gd name="connsiteX30" fmla="*/ 266715 w 586435"/>
              <a:gd name="connsiteY30" fmla="*/ 352989 h 671017"/>
              <a:gd name="connsiteX31" fmla="*/ 289270 w 586435"/>
              <a:gd name="connsiteY31" fmla="*/ 353553 h 671017"/>
              <a:gd name="connsiteX32" fmla="*/ 292654 w 586435"/>
              <a:gd name="connsiteY32" fmla="*/ 336072 h 671017"/>
              <a:gd name="connsiteX33" fmla="*/ 337200 w 586435"/>
              <a:gd name="connsiteY33" fmla="*/ 341147 h 671017"/>
              <a:gd name="connsiteX34" fmla="*/ 337200 w 586435"/>
              <a:gd name="connsiteY34" fmla="*/ 321412 h 671017"/>
              <a:gd name="connsiteX35" fmla="*/ 351297 w 586435"/>
              <a:gd name="connsiteY35" fmla="*/ 319720 h 671017"/>
              <a:gd name="connsiteX36" fmla="*/ 363139 w 586435"/>
              <a:gd name="connsiteY36" fmla="*/ 311826 h 671017"/>
              <a:gd name="connsiteX37" fmla="*/ 391896 w 586435"/>
              <a:gd name="connsiteY37" fmla="*/ 328178 h 671017"/>
              <a:gd name="connsiteX38" fmla="*/ 421782 w 586435"/>
              <a:gd name="connsiteY38" fmla="*/ 326487 h 671017"/>
              <a:gd name="connsiteX39" fmla="*/ 448284 w 586435"/>
              <a:gd name="connsiteY39" fmla="*/ 333817 h 671017"/>
              <a:gd name="connsiteX40" fmla="*/ 467456 w 586435"/>
              <a:gd name="connsiteY40" fmla="*/ 320284 h 671017"/>
              <a:gd name="connsiteX41" fmla="*/ 473659 w 586435"/>
              <a:gd name="connsiteY41" fmla="*/ 298293 h 671017"/>
              <a:gd name="connsiteX42" fmla="*/ 506364 w 586435"/>
              <a:gd name="connsiteY42" fmla="*/ 288143 h 671017"/>
              <a:gd name="connsiteX43" fmla="*/ 538505 w 586435"/>
              <a:gd name="connsiteY43" fmla="*/ 299984 h 671017"/>
              <a:gd name="connsiteX44" fmla="*/ 533994 w 586435"/>
              <a:gd name="connsiteY44" fmla="*/ 321412 h 671017"/>
              <a:gd name="connsiteX45" fmla="*/ 552038 w 586435"/>
              <a:gd name="connsiteY45" fmla="*/ 318592 h 671017"/>
              <a:gd name="connsiteX46" fmla="*/ 588127 w 586435"/>
              <a:gd name="connsiteY46" fmla="*/ 306187 h 671017"/>
              <a:gd name="connsiteX47" fmla="*/ 588127 w 586435"/>
              <a:gd name="connsiteY47" fmla="*/ 306187 h 671017"/>
              <a:gd name="connsiteX48" fmla="*/ 557677 w 586435"/>
              <a:gd name="connsiteY48" fmla="*/ 287579 h 671017"/>
              <a:gd name="connsiteX49" fmla="*/ 584744 w 586435"/>
              <a:gd name="connsiteY49" fmla="*/ 279684 h 671017"/>
              <a:gd name="connsiteX50" fmla="*/ 508056 w 586435"/>
              <a:gd name="connsiteY50" fmla="*/ 257693 h 671017"/>
              <a:gd name="connsiteX51" fmla="*/ 380619 w 586435"/>
              <a:gd name="connsiteY51" fmla="*/ 69921 h 671017"/>
              <a:gd name="connsiteX52" fmla="*/ 349042 w 586435"/>
              <a:gd name="connsiteY52" fmla="*/ 64282 h 671017"/>
              <a:gd name="connsiteX53" fmla="*/ 338328 w 586435"/>
              <a:gd name="connsiteY53" fmla="*/ 54696 h 671017"/>
              <a:gd name="connsiteX54" fmla="*/ 297729 w 586435"/>
              <a:gd name="connsiteY54" fmla="*/ 59771 h 671017"/>
              <a:gd name="connsiteX55" fmla="*/ 312389 w 586435"/>
              <a:gd name="connsiteY55" fmla="*/ 68229 h 671017"/>
              <a:gd name="connsiteX56" fmla="*/ 299984 w 586435"/>
              <a:gd name="connsiteY56" fmla="*/ 74996 h 671017"/>
              <a:gd name="connsiteX57" fmla="*/ 337764 w 586435"/>
              <a:gd name="connsiteY57" fmla="*/ 81199 h 671017"/>
              <a:gd name="connsiteX58" fmla="*/ 380619 w 586435"/>
              <a:gd name="connsiteY58" fmla="*/ 69921 h 671017"/>
              <a:gd name="connsiteX59" fmla="*/ 237394 w 586435"/>
              <a:gd name="connsiteY59" fmla="*/ 23119 h 671017"/>
              <a:gd name="connsiteX60" fmla="*/ 210327 w 586435"/>
              <a:gd name="connsiteY60" fmla="*/ 14097 h 671017"/>
              <a:gd name="connsiteX61" fmla="*/ 181569 w 586435"/>
              <a:gd name="connsiteY61" fmla="*/ 15225 h 671017"/>
              <a:gd name="connsiteX62" fmla="*/ 175931 w 586435"/>
              <a:gd name="connsiteY62" fmla="*/ 23683 h 671017"/>
              <a:gd name="connsiteX63" fmla="*/ 147737 w 586435"/>
              <a:gd name="connsiteY63" fmla="*/ 23683 h 671017"/>
              <a:gd name="connsiteX64" fmla="*/ 135331 w 586435"/>
              <a:gd name="connsiteY64" fmla="*/ 15225 h 671017"/>
              <a:gd name="connsiteX65" fmla="*/ 82890 w 586435"/>
              <a:gd name="connsiteY65" fmla="*/ 24247 h 671017"/>
              <a:gd name="connsiteX66" fmla="*/ 100934 w 586435"/>
              <a:gd name="connsiteY66" fmla="*/ 43983 h 671017"/>
              <a:gd name="connsiteX67" fmla="*/ 143789 w 586435"/>
              <a:gd name="connsiteY67" fmla="*/ 65410 h 671017"/>
              <a:gd name="connsiteX68" fmla="*/ 175931 w 586435"/>
              <a:gd name="connsiteY68" fmla="*/ 73304 h 671017"/>
              <a:gd name="connsiteX69" fmla="*/ 159014 w 586435"/>
              <a:gd name="connsiteY69" fmla="*/ 82890 h 671017"/>
              <a:gd name="connsiteX70" fmla="*/ 206380 w 586435"/>
              <a:gd name="connsiteY70" fmla="*/ 99243 h 671017"/>
              <a:gd name="connsiteX71" fmla="*/ 231190 w 586435"/>
              <a:gd name="connsiteY71" fmla="*/ 98115 h 671017"/>
              <a:gd name="connsiteX72" fmla="*/ 236266 w 586435"/>
              <a:gd name="connsiteY72" fmla="*/ 76124 h 671017"/>
              <a:gd name="connsiteX73" fmla="*/ 253182 w 586435"/>
              <a:gd name="connsiteY73" fmla="*/ 71049 h 671017"/>
              <a:gd name="connsiteX74" fmla="*/ 259949 w 586435"/>
              <a:gd name="connsiteY74" fmla="*/ 51877 h 671017"/>
              <a:gd name="connsiteX75" fmla="*/ 307879 w 586435"/>
              <a:gd name="connsiteY75" fmla="*/ 41727 h 671017"/>
              <a:gd name="connsiteX76" fmla="*/ 237394 w 586435"/>
              <a:gd name="connsiteY76" fmla="*/ 23119 h 671017"/>
              <a:gd name="connsiteX77" fmla="*/ 373852 w 586435"/>
              <a:gd name="connsiteY77" fmla="*/ 5639 h 671017"/>
              <a:gd name="connsiteX78" fmla="*/ 322539 w 586435"/>
              <a:gd name="connsiteY78" fmla="*/ 0 h 671017"/>
              <a:gd name="connsiteX79" fmla="*/ 304495 w 586435"/>
              <a:gd name="connsiteY79" fmla="*/ 6767 h 671017"/>
              <a:gd name="connsiteX80" fmla="*/ 274610 w 586435"/>
              <a:gd name="connsiteY80" fmla="*/ 1128 h 671017"/>
              <a:gd name="connsiteX81" fmla="*/ 215966 w 586435"/>
              <a:gd name="connsiteY81" fmla="*/ 7894 h 671017"/>
              <a:gd name="connsiteX82" fmla="*/ 240213 w 586435"/>
              <a:gd name="connsiteY82" fmla="*/ 19172 h 671017"/>
              <a:gd name="connsiteX83" fmla="*/ 268971 w 586435"/>
              <a:gd name="connsiteY83" fmla="*/ 19172 h 671017"/>
              <a:gd name="connsiteX84" fmla="*/ 274046 w 586435"/>
              <a:gd name="connsiteY84" fmla="*/ 26502 h 671017"/>
              <a:gd name="connsiteX85" fmla="*/ 333817 w 586435"/>
              <a:gd name="connsiteY85" fmla="*/ 30450 h 671017"/>
              <a:gd name="connsiteX86" fmla="*/ 390769 w 586435"/>
              <a:gd name="connsiteY86" fmla="*/ 27630 h 671017"/>
              <a:gd name="connsiteX87" fmla="*/ 415016 w 586435"/>
              <a:gd name="connsiteY87" fmla="*/ 14097 h 671017"/>
              <a:gd name="connsiteX88" fmla="*/ 373852 w 586435"/>
              <a:gd name="connsiteY88" fmla="*/ 5639 h 6710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</a:cxnLst>
            <a:rect l="l" t="t" r="r" b="b"/>
            <a:pathLst>
              <a:path w="586435" h="671017">
                <a:moveTo>
                  <a:pt x="508056" y="257693"/>
                </a:moveTo>
                <a:lnTo>
                  <a:pt x="469148" y="263896"/>
                </a:lnTo>
                <a:lnTo>
                  <a:pt x="427985" y="262204"/>
                </a:lnTo>
                <a:lnTo>
                  <a:pt x="399227" y="287015"/>
                </a:lnTo>
                <a:lnTo>
                  <a:pt x="361447" y="285323"/>
                </a:lnTo>
                <a:lnTo>
                  <a:pt x="313518" y="298293"/>
                </a:lnTo>
                <a:lnTo>
                  <a:pt x="256565" y="336636"/>
                </a:lnTo>
                <a:lnTo>
                  <a:pt x="220477" y="359192"/>
                </a:lnTo>
                <a:lnTo>
                  <a:pt x="170856" y="419527"/>
                </a:lnTo>
                <a:lnTo>
                  <a:pt x="130820" y="463509"/>
                </a:lnTo>
                <a:lnTo>
                  <a:pt x="85146" y="496214"/>
                </a:lnTo>
                <a:lnTo>
                  <a:pt x="21991" y="523281"/>
                </a:lnTo>
                <a:lnTo>
                  <a:pt x="0" y="543580"/>
                </a:lnTo>
                <a:lnTo>
                  <a:pt x="10714" y="619140"/>
                </a:lnTo>
                <a:lnTo>
                  <a:pt x="21427" y="654665"/>
                </a:lnTo>
                <a:lnTo>
                  <a:pt x="57516" y="671581"/>
                </a:lnTo>
                <a:lnTo>
                  <a:pt x="91349" y="663687"/>
                </a:lnTo>
                <a:lnTo>
                  <a:pt x="139278" y="625343"/>
                </a:lnTo>
                <a:lnTo>
                  <a:pt x="157886" y="645643"/>
                </a:lnTo>
                <a:lnTo>
                  <a:pt x="167472" y="627035"/>
                </a:lnTo>
                <a:lnTo>
                  <a:pt x="186644" y="604479"/>
                </a:lnTo>
                <a:lnTo>
                  <a:pt x="191719" y="565572"/>
                </a:lnTo>
                <a:lnTo>
                  <a:pt x="174239" y="549219"/>
                </a:lnTo>
                <a:lnTo>
                  <a:pt x="168600" y="506364"/>
                </a:lnTo>
                <a:lnTo>
                  <a:pt x="181569" y="476479"/>
                </a:lnTo>
                <a:lnTo>
                  <a:pt x="205816" y="477043"/>
                </a:lnTo>
                <a:lnTo>
                  <a:pt x="213147" y="464637"/>
                </a:lnTo>
                <a:lnTo>
                  <a:pt x="202996" y="453923"/>
                </a:lnTo>
                <a:lnTo>
                  <a:pt x="235138" y="409377"/>
                </a:lnTo>
                <a:lnTo>
                  <a:pt x="254310" y="374980"/>
                </a:lnTo>
                <a:lnTo>
                  <a:pt x="266715" y="352989"/>
                </a:lnTo>
                <a:lnTo>
                  <a:pt x="289270" y="353553"/>
                </a:lnTo>
                <a:lnTo>
                  <a:pt x="292654" y="336072"/>
                </a:lnTo>
                <a:lnTo>
                  <a:pt x="337200" y="341147"/>
                </a:lnTo>
                <a:lnTo>
                  <a:pt x="337200" y="321412"/>
                </a:lnTo>
                <a:lnTo>
                  <a:pt x="351297" y="319720"/>
                </a:lnTo>
                <a:lnTo>
                  <a:pt x="363139" y="311826"/>
                </a:lnTo>
                <a:lnTo>
                  <a:pt x="391896" y="328178"/>
                </a:lnTo>
                <a:lnTo>
                  <a:pt x="421782" y="326487"/>
                </a:lnTo>
                <a:lnTo>
                  <a:pt x="448284" y="333817"/>
                </a:lnTo>
                <a:lnTo>
                  <a:pt x="467456" y="320284"/>
                </a:lnTo>
                <a:lnTo>
                  <a:pt x="473659" y="298293"/>
                </a:lnTo>
                <a:lnTo>
                  <a:pt x="506364" y="288143"/>
                </a:lnTo>
                <a:lnTo>
                  <a:pt x="538505" y="299984"/>
                </a:lnTo>
                <a:lnTo>
                  <a:pt x="533994" y="321412"/>
                </a:lnTo>
                <a:lnTo>
                  <a:pt x="552038" y="318592"/>
                </a:lnTo>
                <a:lnTo>
                  <a:pt x="588127" y="306187"/>
                </a:lnTo>
                <a:lnTo>
                  <a:pt x="588127" y="306187"/>
                </a:lnTo>
                <a:lnTo>
                  <a:pt x="557677" y="287579"/>
                </a:lnTo>
                <a:lnTo>
                  <a:pt x="584744" y="279684"/>
                </a:lnTo>
                <a:lnTo>
                  <a:pt x="508056" y="257693"/>
                </a:lnTo>
                <a:close/>
                <a:moveTo>
                  <a:pt x="380619" y="69921"/>
                </a:moveTo>
                <a:lnTo>
                  <a:pt x="349042" y="64282"/>
                </a:lnTo>
                <a:lnTo>
                  <a:pt x="338328" y="54696"/>
                </a:lnTo>
                <a:lnTo>
                  <a:pt x="297729" y="59771"/>
                </a:lnTo>
                <a:lnTo>
                  <a:pt x="312389" y="68229"/>
                </a:lnTo>
                <a:lnTo>
                  <a:pt x="299984" y="74996"/>
                </a:lnTo>
                <a:lnTo>
                  <a:pt x="337764" y="81199"/>
                </a:lnTo>
                <a:lnTo>
                  <a:pt x="380619" y="69921"/>
                </a:lnTo>
                <a:close/>
                <a:moveTo>
                  <a:pt x="237394" y="23119"/>
                </a:moveTo>
                <a:lnTo>
                  <a:pt x="210327" y="14097"/>
                </a:lnTo>
                <a:lnTo>
                  <a:pt x="181569" y="15225"/>
                </a:lnTo>
                <a:lnTo>
                  <a:pt x="175931" y="23683"/>
                </a:lnTo>
                <a:lnTo>
                  <a:pt x="147737" y="23683"/>
                </a:lnTo>
                <a:lnTo>
                  <a:pt x="135331" y="15225"/>
                </a:lnTo>
                <a:lnTo>
                  <a:pt x="82890" y="24247"/>
                </a:lnTo>
                <a:lnTo>
                  <a:pt x="100934" y="43983"/>
                </a:lnTo>
                <a:lnTo>
                  <a:pt x="143789" y="65410"/>
                </a:lnTo>
                <a:lnTo>
                  <a:pt x="175931" y="73304"/>
                </a:lnTo>
                <a:lnTo>
                  <a:pt x="159014" y="82890"/>
                </a:lnTo>
                <a:lnTo>
                  <a:pt x="206380" y="99243"/>
                </a:lnTo>
                <a:lnTo>
                  <a:pt x="231190" y="98115"/>
                </a:lnTo>
                <a:lnTo>
                  <a:pt x="236266" y="76124"/>
                </a:lnTo>
                <a:lnTo>
                  <a:pt x="253182" y="71049"/>
                </a:lnTo>
                <a:lnTo>
                  <a:pt x="259949" y="51877"/>
                </a:lnTo>
                <a:lnTo>
                  <a:pt x="307879" y="41727"/>
                </a:lnTo>
                <a:lnTo>
                  <a:pt x="237394" y="23119"/>
                </a:lnTo>
                <a:close/>
                <a:moveTo>
                  <a:pt x="373852" y="5639"/>
                </a:moveTo>
                <a:lnTo>
                  <a:pt x="322539" y="0"/>
                </a:lnTo>
                <a:lnTo>
                  <a:pt x="304495" y="6767"/>
                </a:lnTo>
                <a:lnTo>
                  <a:pt x="274610" y="1128"/>
                </a:lnTo>
                <a:lnTo>
                  <a:pt x="215966" y="7894"/>
                </a:lnTo>
                <a:lnTo>
                  <a:pt x="240213" y="19172"/>
                </a:lnTo>
                <a:lnTo>
                  <a:pt x="268971" y="19172"/>
                </a:lnTo>
                <a:lnTo>
                  <a:pt x="274046" y="26502"/>
                </a:lnTo>
                <a:lnTo>
                  <a:pt x="333817" y="30450"/>
                </a:lnTo>
                <a:lnTo>
                  <a:pt x="390769" y="27630"/>
                </a:lnTo>
                <a:lnTo>
                  <a:pt x="415016" y="14097"/>
                </a:lnTo>
                <a:lnTo>
                  <a:pt x="373852" y="5639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0" name="Freeform: Shape 353">
            <a:extLst>
              <a:ext uri="{FF2B5EF4-FFF2-40B4-BE49-F238E27FC236}">
                <a16:creationId xmlns:a16="http://schemas.microsoft.com/office/drawing/2014/main" id="{03F2600E-2DAA-435D-9207-D1F6DE208EE3}"/>
              </a:ext>
            </a:extLst>
          </p:cNvPr>
          <p:cNvSpPr/>
          <p:nvPr/>
        </p:nvSpPr>
        <p:spPr>
          <a:xfrm>
            <a:off x="7670269" y="3307093"/>
            <a:ext cx="193834" cy="105345"/>
          </a:xfrm>
          <a:custGeom>
            <a:avLst/>
            <a:gdLst>
              <a:gd name="connsiteX0" fmla="*/ 252618 w 259384"/>
              <a:gd name="connsiteY0" fmla="*/ 91348 h 140970"/>
              <a:gd name="connsiteX1" fmla="*/ 215966 w 259384"/>
              <a:gd name="connsiteY1" fmla="*/ 87965 h 140970"/>
              <a:gd name="connsiteX2" fmla="*/ 179878 w 259384"/>
              <a:gd name="connsiteY2" fmla="*/ 79507 h 140970"/>
              <a:gd name="connsiteX3" fmla="*/ 151684 w 259384"/>
              <a:gd name="connsiteY3" fmla="*/ 63718 h 140970"/>
              <a:gd name="connsiteX4" fmla="*/ 126309 w 259384"/>
              <a:gd name="connsiteY4" fmla="*/ 56952 h 140970"/>
              <a:gd name="connsiteX5" fmla="*/ 112212 w 259384"/>
              <a:gd name="connsiteY5" fmla="*/ 39472 h 140970"/>
              <a:gd name="connsiteX6" fmla="*/ 94168 w 259384"/>
              <a:gd name="connsiteY6" fmla="*/ 34397 h 140970"/>
              <a:gd name="connsiteX7" fmla="*/ 58079 w 259384"/>
              <a:gd name="connsiteY7" fmla="*/ 11278 h 140970"/>
              <a:gd name="connsiteX8" fmla="*/ 31577 w 259384"/>
              <a:gd name="connsiteY8" fmla="*/ 0 h 140970"/>
              <a:gd name="connsiteX9" fmla="*/ 20863 w 259384"/>
              <a:gd name="connsiteY9" fmla="*/ 8458 h 140970"/>
              <a:gd name="connsiteX10" fmla="*/ 5075 w 259384"/>
              <a:gd name="connsiteY10" fmla="*/ 24811 h 140970"/>
              <a:gd name="connsiteX11" fmla="*/ 0 w 259384"/>
              <a:gd name="connsiteY11" fmla="*/ 58080 h 140970"/>
              <a:gd name="connsiteX12" fmla="*/ 32141 w 259384"/>
              <a:gd name="connsiteY12" fmla="*/ 72177 h 140970"/>
              <a:gd name="connsiteX13" fmla="*/ 64846 w 259384"/>
              <a:gd name="connsiteY13" fmla="*/ 89657 h 140970"/>
              <a:gd name="connsiteX14" fmla="*/ 108265 w 259384"/>
              <a:gd name="connsiteY14" fmla="*/ 109393 h 140970"/>
              <a:gd name="connsiteX15" fmla="*/ 151119 w 259384"/>
              <a:gd name="connsiteY15" fmla="*/ 114468 h 140970"/>
              <a:gd name="connsiteX16" fmla="*/ 172547 w 259384"/>
              <a:gd name="connsiteY16" fmla="*/ 132512 h 140970"/>
              <a:gd name="connsiteX17" fmla="*/ 196794 w 259384"/>
              <a:gd name="connsiteY17" fmla="*/ 135895 h 140970"/>
              <a:gd name="connsiteX18" fmla="*/ 235138 w 259384"/>
              <a:gd name="connsiteY18" fmla="*/ 144353 h 140970"/>
              <a:gd name="connsiteX19" fmla="*/ 261076 w 259384"/>
              <a:gd name="connsiteY19" fmla="*/ 143789 h 140970"/>
              <a:gd name="connsiteX20" fmla="*/ 261640 w 259384"/>
              <a:gd name="connsiteY20" fmla="*/ 129692 h 140970"/>
              <a:gd name="connsiteX21" fmla="*/ 253182 w 259384"/>
              <a:gd name="connsiteY21" fmla="*/ 106573 h 140970"/>
              <a:gd name="connsiteX22" fmla="*/ 252618 w 259384"/>
              <a:gd name="connsiteY22" fmla="*/ 91348 h 1409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259384" h="140970">
                <a:moveTo>
                  <a:pt x="252618" y="91348"/>
                </a:moveTo>
                <a:lnTo>
                  <a:pt x="215966" y="87965"/>
                </a:lnTo>
                <a:lnTo>
                  <a:pt x="179878" y="79507"/>
                </a:lnTo>
                <a:lnTo>
                  <a:pt x="151684" y="63718"/>
                </a:lnTo>
                <a:lnTo>
                  <a:pt x="126309" y="56952"/>
                </a:lnTo>
                <a:lnTo>
                  <a:pt x="112212" y="39472"/>
                </a:lnTo>
                <a:lnTo>
                  <a:pt x="94168" y="34397"/>
                </a:lnTo>
                <a:lnTo>
                  <a:pt x="58079" y="11278"/>
                </a:lnTo>
                <a:lnTo>
                  <a:pt x="31577" y="0"/>
                </a:lnTo>
                <a:lnTo>
                  <a:pt x="20863" y="8458"/>
                </a:lnTo>
                <a:lnTo>
                  <a:pt x="5075" y="24811"/>
                </a:lnTo>
                <a:lnTo>
                  <a:pt x="0" y="58080"/>
                </a:lnTo>
                <a:lnTo>
                  <a:pt x="32141" y="72177"/>
                </a:lnTo>
                <a:lnTo>
                  <a:pt x="64846" y="89657"/>
                </a:lnTo>
                <a:lnTo>
                  <a:pt x="108265" y="109393"/>
                </a:lnTo>
                <a:lnTo>
                  <a:pt x="151119" y="114468"/>
                </a:lnTo>
                <a:lnTo>
                  <a:pt x="172547" y="132512"/>
                </a:lnTo>
                <a:lnTo>
                  <a:pt x="196794" y="135895"/>
                </a:lnTo>
                <a:lnTo>
                  <a:pt x="235138" y="144353"/>
                </a:lnTo>
                <a:lnTo>
                  <a:pt x="261076" y="143789"/>
                </a:lnTo>
                <a:lnTo>
                  <a:pt x="261640" y="129692"/>
                </a:lnTo>
                <a:lnTo>
                  <a:pt x="253182" y="106573"/>
                </a:lnTo>
                <a:lnTo>
                  <a:pt x="252618" y="91348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1" name="Freeform: Shape 354">
            <a:extLst>
              <a:ext uri="{FF2B5EF4-FFF2-40B4-BE49-F238E27FC236}">
                <a16:creationId xmlns:a16="http://schemas.microsoft.com/office/drawing/2014/main" id="{A3440853-00EA-4310-BD5D-B0D72448E431}"/>
              </a:ext>
            </a:extLst>
          </p:cNvPr>
          <p:cNvSpPr/>
          <p:nvPr/>
        </p:nvSpPr>
        <p:spPr>
          <a:xfrm>
            <a:off x="9354098" y="5046124"/>
            <a:ext cx="425593" cy="320248"/>
          </a:xfrm>
          <a:custGeom>
            <a:avLst/>
            <a:gdLst>
              <a:gd name="connsiteX0" fmla="*/ 330434 w 569518"/>
              <a:gd name="connsiteY0" fmla="*/ 234010 h 428548"/>
              <a:gd name="connsiteX1" fmla="*/ 335509 w 569518"/>
              <a:gd name="connsiteY1" fmla="*/ 219349 h 428548"/>
              <a:gd name="connsiteX2" fmla="*/ 302803 w 569518"/>
              <a:gd name="connsiteY2" fmla="*/ 235702 h 428548"/>
              <a:gd name="connsiteX3" fmla="*/ 283632 w 569518"/>
              <a:gd name="connsiteY3" fmla="*/ 254874 h 428548"/>
              <a:gd name="connsiteX4" fmla="*/ 265587 w 569518"/>
              <a:gd name="connsiteY4" fmla="*/ 263896 h 428548"/>
              <a:gd name="connsiteX5" fmla="*/ 232318 w 569518"/>
              <a:gd name="connsiteY5" fmla="*/ 289834 h 428548"/>
              <a:gd name="connsiteX6" fmla="*/ 200741 w 569518"/>
              <a:gd name="connsiteY6" fmla="*/ 307879 h 428548"/>
              <a:gd name="connsiteX7" fmla="*/ 161270 w 569518"/>
              <a:gd name="connsiteY7" fmla="*/ 325923 h 428548"/>
              <a:gd name="connsiteX8" fmla="*/ 130256 w 569518"/>
              <a:gd name="connsiteY8" fmla="*/ 339456 h 428548"/>
              <a:gd name="connsiteX9" fmla="*/ 106010 w 569518"/>
              <a:gd name="connsiteY9" fmla="*/ 345658 h 428548"/>
              <a:gd name="connsiteX10" fmla="*/ 42291 w 569518"/>
              <a:gd name="connsiteY10" fmla="*/ 380055 h 428548"/>
              <a:gd name="connsiteX11" fmla="*/ 6203 w 569518"/>
              <a:gd name="connsiteY11" fmla="*/ 405994 h 428548"/>
              <a:gd name="connsiteX12" fmla="*/ 0 w 569518"/>
              <a:gd name="connsiteY12" fmla="*/ 418963 h 428548"/>
              <a:gd name="connsiteX13" fmla="*/ 28758 w 569518"/>
              <a:gd name="connsiteY13" fmla="*/ 421218 h 428548"/>
              <a:gd name="connsiteX14" fmla="*/ 37216 w 569518"/>
              <a:gd name="connsiteY14" fmla="*/ 433060 h 428548"/>
              <a:gd name="connsiteX15" fmla="*/ 62591 w 569518"/>
              <a:gd name="connsiteY15" fmla="*/ 433624 h 428548"/>
              <a:gd name="connsiteX16" fmla="*/ 85146 w 569518"/>
              <a:gd name="connsiteY16" fmla="*/ 423474 h 428548"/>
              <a:gd name="connsiteX17" fmla="*/ 120670 w 569518"/>
              <a:gd name="connsiteY17" fmla="*/ 407685 h 428548"/>
              <a:gd name="connsiteX18" fmla="*/ 166345 w 569518"/>
              <a:gd name="connsiteY18" fmla="*/ 372725 h 428548"/>
              <a:gd name="connsiteX19" fmla="*/ 192847 w 569518"/>
              <a:gd name="connsiteY19" fmla="*/ 349606 h 428548"/>
              <a:gd name="connsiteX20" fmla="*/ 227808 w 569518"/>
              <a:gd name="connsiteY20" fmla="*/ 336636 h 428548"/>
              <a:gd name="connsiteX21" fmla="*/ 250363 w 569518"/>
              <a:gd name="connsiteY21" fmla="*/ 336073 h 428548"/>
              <a:gd name="connsiteX22" fmla="*/ 253746 w 569518"/>
              <a:gd name="connsiteY22" fmla="*/ 319720 h 428548"/>
              <a:gd name="connsiteX23" fmla="*/ 279684 w 569518"/>
              <a:gd name="connsiteY23" fmla="*/ 305623 h 428548"/>
              <a:gd name="connsiteX24" fmla="*/ 319156 w 569518"/>
              <a:gd name="connsiteY24" fmla="*/ 280248 h 428548"/>
              <a:gd name="connsiteX25" fmla="*/ 342839 w 569518"/>
              <a:gd name="connsiteY25" fmla="*/ 263896 h 428548"/>
              <a:gd name="connsiteX26" fmla="*/ 354681 w 569518"/>
              <a:gd name="connsiteY26" fmla="*/ 249235 h 428548"/>
              <a:gd name="connsiteX27" fmla="*/ 357500 w 569518"/>
              <a:gd name="connsiteY27" fmla="*/ 234574 h 428548"/>
              <a:gd name="connsiteX28" fmla="*/ 325923 w 569518"/>
              <a:gd name="connsiteY28" fmla="*/ 248671 h 428548"/>
              <a:gd name="connsiteX29" fmla="*/ 330434 w 569518"/>
              <a:gd name="connsiteY29" fmla="*/ 234010 h 428548"/>
              <a:gd name="connsiteX30" fmla="*/ 492831 w 569518"/>
              <a:gd name="connsiteY30" fmla="*/ 62027 h 428548"/>
              <a:gd name="connsiteX31" fmla="*/ 503545 w 569518"/>
              <a:gd name="connsiteY31" fmla="*/ 29886 h 428548"/>
              <a:gd name="connsiteX32" fmla="*/ 486064 w 569518"/>
              <a:gd name="connsiteY32" fmla="*/ 20300 h 428548"/>
              <a:gd name="connsiteX33" fmla="*/ 481554 w 569518"/>
              <a:gd name="connsiteY33" fmla="*/ 0 h 428548"/>
              <a:gd name="connsiteX34" fmla="*/ 468584 w 569518"/>
              <a:gd name="connsiteY34" fmla="*/ 2819 h 428548"/>
              <a:gd name="connsiteX35" fmla="*/ 466329 w 569518"/>
              <a:gd name="connsiteY35" fmla="*/ 28758 h 428548"/>
              <a:gd name="connsiteX36" fmla="*/ 470840 w 569518"/>
              <a:gd name="connsiteY36" fmla="*/ 60899 h 428548"/>
              <a:gd name="connsiteX37" fmla="*/ 475915 w 569518"/>
              <a:gd name="connsiteY37" fmla="*/ 76124 h 428548"/>
              <a:gd name="connsiteX38" fmla="*/ 470840 w 569518"/>
              <a:gd name="connsiteY38" fmla="*/ 82327 h 428548"/>
              <a:gd name="connsiteX39" fmla="*/ 467457 w 569518"/>
              <a:gd name="connsiteY39" fmla="*/ 107137 h 428548"/>
              <a:gd name="connsiteX40" fmla="*/ 453923 w 569518"/>
              <a:gd name="connsiteY40" fmla="*/ 130256 h 428548"/>
              <a:gd name="connsiteX41" fmla="*/ 430241 w 569518"/>
              <a:gd name="connsiteY41" fmla="*/ 158450 h 428548"/>
              <a:gd name="connsiteX42" fmla="*/ 400355 w 569518"/>
              <a:gd name="connsiteY42" fmla="*/ 170856 h 428548"/>
              <a:gd name="connsiteX43" fmla="*/ 390769 w 569518"/>
              <a:gd name="connsiteY43" fmla="*/ 184389 h 428548"/>
              <a:gd name="connsiteX44" fmla="*/ 411632 w 569518"/>
              <a:gd name="connsiteY44" fmla="*/ 198486 h 428548"/>
              <a:gd name="connsiteX45" fmla="*/ 407121 w 569518"/>
              <a:gd name="connsiteY45" fmla="*/ 218222 h 428548"/>
              <a:gd name="connsiteX46" fmla="*/ 368214 w 569518"/>
              <a:gd name="connsiteY46" fmla="*/ 246979 h 428548"/>
              <a:gd name="connsiteX47" fmla="*/ 376108 w 569518"/>
              <a:gd name="connsiteY47" fmla="*/ 252054 h 428548"/>
              <a:gd name="connsiteX48" fmla="*/ 373853 w 569518"/>
              <a:gd name="connsiteY48" fmla="*/ 261076 h 428548"/>
              <a:gd name="connsiteX49" fmla="*/ 407121 w 569518"/>
              <a:gd name="connsiteY49" fmla="*/ 246979 h 428548"/>
              <a:gd name="connsiteX50" fmla="*/ 440390 w 569518"/>
              <a:gd name="connsiteY50" fmla="*/ 223297 h 428548"/>
              <a:gd name="connsiteX51" fmla="*/ 465765 w 569518"/>
              <a:gd name="connsiteY51" fmla="*/ 204125 h 428548"/>
              <a:gd name="connsiteX52" fmla="*/ 474787 w 569518"/>
              <a:gd name="connsiteY52" fmla="*/ 197358 h 428548"/>
              <a:gd name="connsiteX53" fmla="*/ 483245 w 569518"/>
              <a:gd name="connsiteY53" fmla="*/ 182133 h 428548"/>
              <a:gd name="connsiteX54" fmla="*/ 499034 w 569518"/>
              <a:gd name="connsiteY54" fmla="*/ 170856 h 428548"/>
              <a:gd name="connsiteX55" fmla="*/ 520462 w 569518"/>
              <a:gd name="connsiteY55" fmla="*/ 171983 h 428548"/>
              <a:gd name="connsiteX56" fmla="*/ 544144 w 569518"/>
              <a:gd name="connsiteY56" fmla="*/ 150556 h 428548"/>
              <a:gd name="connsiteX57" fmla="*/ 572902 w 569518"/>
              <a:gd name="connsiteY57" fmla="*/ 118415 h 428548"/>
              <a:gd name="connsiteX58" fmla="*/ 561061 w 569518"/>
              <a:gd name="connsiteY58" fmla="*/ 113904 h 428548"/>
              <a:gd name="connsiteX59" fmla="*/ 535122 w 569518"/>
              <a:gd name="connsiteY59" fmla="*/ 128001 h 428548"/>
              <a:gd name="connsiteX60" fmla="*/ 517078 w 569518"/>
              <a:gd name="connsiteY60" fmla="*/ 125181 h 428548"/>
              <a:gd name="connsiteX61" fmla="*/ 500726 w 569518"/>
              <a:gd name="connsiteY61" fmla="*/ 113340 h 428548"/>
              <a:gd name="connsiteX62" fmla="*/ 513695 w 569518"/>
              <a:gd name="connsiteY62" fmla="*/ 85710 h 428548"/>
              <a:gd name="connsiteX63" fmla="*/ 506928 w 569518"/>
              <a:gd name="connsiteY63" fmla="*/ 75560 h 428548"/>
              <a:gd name="connsiteX64" fmla="*/ 490576 w 569518"/>
              <a:gd name="connsiteY64" fmla="*/ 100371 h 428548"/>
              <a:gd name="connsiteX65" fmla="*/ 492831 w 569518"/>
              <a:gd name="connsiteY65" fmla="*/ 62027 h 4285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569518" h="428548">
                <a:moveTo>
                  <a:pt x="330434" y="234010"/>
                </a:moveTo>
                <a:lnTo>
                  <a:pt x="335509" y="219349"/>
                </a:lnTo>
                <a:lnTo>
                  <a:pt x="302803" y="235702"/>
                </a:lnTo>
                <a:lnTo>
                  <a:pt x="283632" y="254874"/>
                </a:lnTo>
                <a:lnTo>
                  <a:pt x="265587" y="263896"/>
                </a:lnTo>
                <a:lnTo>
                  <a:pt x="232318" y="289834"/>
                </a:lnTo>
                <a:lnTo>
                  <a:pt x="200741" y="307879"/>
                </a:lnTo>
                <a:lnTo>
                  <a:pt x="161270" y="325923"/>
                </a:lnTo>
                <a:lnTo>
                  <a:pt x="130256" y="339456"/>
                </a:lnTo>
                <a:lnTo>
                  <a:pt x="106010" y="345658"/>
                </a:lnTo>
                <a:lnTo>
                  <a:pt x="42291" y="380055"/>
                </a:lnTo>
                <a:lnTo>
                  <a:pt x="6203" y="405994"/>
                </a:lnTo>
                <a:lnTo>
                  <a:pt x="0" y="418963"/>
                </a:lnTo>
                <a:lnTo>
                  <a:pt x="28758" y="421218"/>
                </a:lnTo>
                <a:lnTo>
                  <a:pt x="37216" y="433060"/>
                </a:lnTo>
                <a:lnTo>
                  <a:pt x="62591" y="433624"/>
                </a:lnTo>
                <a:lnTo>
                  <a:pt x="85146" y="423474"/>
                </a:lnTo>
                <a:lnTo>
                  <a:pt x="120670" y="407685"/>
                </a:lnTo>
                <a:lnTo>
                  <a:pt x="166345" y="372725"/>
                </a:lnTo>
                <a:lnTo>
                  <a:pt x="192847" y="349606"/>
                </a:lnTo>
                <a:lnTo>
                  <a:pt x="227808" y="336636"/>
                </a:lnTo>
                <a:lnTo>
                  <a:pt x="250363" y="336073"/>
                </a:lnTo>
                <a:lnTo>
                  <a:pt x="253746" y="319720"/>
                </a:lnTo>
                <a:lnTo>
                  <a:pt x="279684" y="305623"/>
                </a:lnTo>
                <a:lnTo>
                  <a:pt x="319156" y="280248"/>
                </a:lnTo>
                <a:lnTo>
                  <a:pt x="342839" y="263896"/>
                </a:lnTo>
                <a:lnTo>
                  <a:pt x="354681" y="249235"/>
                </a:lnTo>
                <a:lnTo>
                  <a:pt x="357500" y="234574"/>
                </a:lnTo>
                <a:lnTo>
                  <a:pt x="325923" y="248671"/>
                </a:lnTo>
                <a:lnTo>
                  <a:pt x="330434" y="234010"/>
                </a:lnTo>
                <a:close/>
                <a:moveTo>
                  <a:pt x="492831" y="62027"/>
                </a:moveTo>
                <a:lnTo>
                  <a:pt x="503545" y="29886"/>
                </a:lnTo>
                <a:lnTo>
                  <a:pt x="486064" y="20300"/>
                </a:lnTo>
                <a:lnTo>
                  <a:pt x="481554" y="0"/>
                </a:lnTo>
                <a:lnTo>
                  <a:pt x="468584" y="2819"/>
                </a:lnTo>
                <a:lnTo>
                  <a:pt x="466329" y="28758"/>
                </a:lnTo>
                <a:lnTo>
                  <a:pt x="470840" y="60899"/>
                </a:lnTo>
                <a:lnTo>
                  <a:pt x="475915" y="76124"/>
                </a:lnTo>
                <a:lnTo>
                  <a:pt x="470840" y="82327"/>
                </a:lnTo>
                <a:lnTo>
                  <a:pt x="467457" y="107137"/>
                </a:lnTo>
                <a:lnTo>
                  <a:pt x="453923" y="130256"/>
                </a:lnTo>
                <a:lnTo>
                  <a:pt x="430241" y="158450"/>
                </a:lnTo>
                <a:lnTo>
                  <a:pt x="400355" y="170856"/>
                </a:lnTo>
                <a:lnTo>
                  <a:pt x="390769" y="184389"/>
                </a:lnTo>
                <a:lnTo>
                  <a:pt x="411632" y="198486"/>
                </a:lnTo>
                <a:lnTo>
                  <a:pt x="407121" y="218222"/>
                </a:lnTo>
                <a:lnTo>
                  <a:pt x="368214" y="246979"/>
                </a:lnTo>
                <a:lnTo>
                  <a:pt x="376108" y="252054"/>
                </a:lnTo>
                <a:lnTo>
                  <a:pt x="373853" y="261076"/>
                </a:lnTo>
                <a:lnTo>
                  <a:pt x="407121" y="246979"/>
                </a:lnTo>
                <a:lnTo>
                  <a:pt x="440390" y="223297"/>
                </a:lnTo>
                <a:lnTo>
                  <a:pt x="465765" y="204125"/>
                </a:lnTo>
                <a:lnTo>
                  <a:pt x="474787" y="197358"/>
                </a:lnTo>
                <a:lnTo>
                  <a:pt x="483245" y="182133"/>
                </a:lnTo>
                <a:lnTo>
                  <a:pt x="499034" y="170856"/>
                </a:lnTo>
                <a:lnTo>
                  <a:pt x="520462" y="171983"/>
                </a:lnTo>
                <a:lnTo>
                  <a:pt x="544144" y="150556"/>
                </a:lnTo>
                <a:lnTo>
                  <a:pt x="572902" y="118415"/>
                </a:lnTo>
                <a:lnTo>
                  <a:pt x="561061" y="113904"/>
                </a:lnTo>
                <a:lnTo>
                  <a:pt x="535122" y="128001"/>
                </a:lnTo>
                <a:lnTo>
                  <a:pt x="517078" y="125181"/>
                </a:lnTo>
                <a:lnTo>
                  <a:pt x="500726" y="113340"/>
                </a:lnTo>
                <a:lnTo>
                  <a:pt x="513695" y="85710"/>
                </a:lnTo>
                <a:lnTo>
                  <a:pt x="506928" y="75560"/>
                </a:lnTo>
                <a:lnTo>
                  <a:pt x="490576" y="100371"/>
                </a:lnTo>
                <a:lnTo>
                  <a:pt x="492831" y="62027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2" name="Freeform: Shape 355">
            <a:extLst>
              <a:ext uri="{FF2B5EF4-FFF2-40B4-BE49-F238E27FC236}">
                <a16:creationId xmlns:a16="http://schemas.microsoft.com/office/drawing/2014/main" id="{13E12486-915C-4EAA-8DFD-F7B71B823472}"/>
              </a:ext>
            </a:extLst>
          </p:cNvPr>
          <p:cNvSpPr/>
          <p:nvPr/>
        </p:nvSpPr>
        <p:spPr>
          <a:xfrm>
            <a:off x="7054213" y="3414966"/>
            <a:ext cx="172766" cy="261255"/>
          </a:xfrm>
          <a:custGeom>
            <a:avLst/>
            <a:gdLst>
              <a:gd name="connsiteX0" fmla="*/ 207508 w 231190"/>
              <a:gd name="connsiteY0" fmla="*/ 189464 h 349605"/>
              <a:gd name="connsiteX1" fmla="*/ 219349 w 231190"/>
              <a:gd name="connsiteY1" fmla="*/ 178186 h 349605"/>
              <a:gd name="connsiteX2" fmla="*/ 223861 w 231190"/>
              <a:gd name="connsiteY2" fmla="*/ 168036 h 349605"/>
              <a:gd name="connsiteX3" fmla="*/ 232883 w 231190"/>
              <a:gd name="connsiteY3" fmla="*/ 146609 h 349605"/>
              <a:gd name="connsiteX4" fmla="*/ 232319 w 231190"/>
              <a:gd name="connsiteY4" fmla="*/ 138714 h 349605"/>
              <a:gd name="connsiteX5" fmla="*/ 220478 w 231190"/>
              <a:gd name="connsiteY5" fmla="*/ 134203 h 349605"/>
              <a:gd name="connsiteX6" fmla="*/ 211455 w 231190"/>
              <a:gd name="connsiteY6" fmla="*/ 122362 h 349605"/>
              <a:gd name="connsiteX7" fmla="*/ 195103 w 231190"/>
              <a:gd name="connsiteY7" fmla="*/ 101498 h 349605"/>
              <a:gd name="connsiteX8" fmla="*/ 176495 w 231190"/>
              <a:gd name="connsiteY8" fmla="*/ 95296 h 349605"/>
              <a:gd name="connsiteX9" fmla="*/ 153376 w 231190"/>
              <a:gd name="connsiteY9" fmla="*/ 90221 h 349605"/>
              <a:gd name="connsiteX10" fmla="*/ 134767 w 231190"/>
              <a:gd name="connsiteY10" fmla="*/ 77251 h 349605"/>
              <a:gd name="connsiteX11" fmla="*/ 118415 w 231190"/>
              <a:gd name="connsiteY11" fmla="*/ 53005 h 349605"/>
              <a:gd name="connsiteX12" fmla="*/ 102627 w 231190"/>
              <a:gd name="connsiteY12" fmla="*/ 53005 h 349605"/>
              <a:gd name="connsiteX13" fmla="*/ 102063 w 231190"/>
              <a:gd name="connsiteY13" fmla="*/ 76688 h 349605"/>
              <a:gd name="connsiteX14" fmla="*/ 108265 w 231190"/>
              <a:gd name="connsiteY14" fmla="*/ 81199 h 349605"/>
              <a:gd name="connsiteX15" fmla="*/ 94732 w 231190"/>
              <a:gd name="connsiteY15" fmla="*/ 88529 h 349605"/>
              <a:gd name="connsiteX16" fmla="*/ 96424 w 231190"/>
              <a:gd name="connsiteY16" fmla="*/ 103190 h 349605"/>
              <a:gd name="connsiteX17" fmla="*/ 88530 w 231190"/>
              <a:gd name="connsiteY17" fmla="*/ 117851 h 349605"/>
              <a:gd name="connsiteX18" fmla="*/ 89093 w 231190"/>
              <a:gd name="connsiteY18" fmla="*/ 132512 h 349605"/>
              <a:gd name="connsiteX19" fmla="*/ 105446 w 231190"/>
              <a:gd name="connsiteY19" fmla="*/ 157886 h 349605"/>
              <a:gd name="connsiteX20" fmla="*/ 90785 w 231190"/>
              <a:gd name="connsiteY20" fmla="*/ 229499 h 349605"/>
              <a:gd name="connsiteX21" fmla="*/ 0 w 231190"/>
              <a:gd name="connsiteY21" fmla="*/ 265587 h 349605"/>
              <a:gd name="connsiteX22" fmla="*/ 29322 w 231190"/>
              <a:gd name="connsiteY22" fmla="*/ 324795 h 349605"/>
              <a:gd name="connsiteX23" fmla="*/ 41164 w 231190"/>
              <a:gd name="connsiteY23" fmla="*/ 349606 h 349605"/>
              <a:gd name="connsiteX24" fmla="*/ 55261 w 231190"/>
              <a:gd name="connsiteY24" fmla="*/ 347914 h 349605"/>
              <a:gd name="connsiteX25" fmla="*/ 75560 w 231190"/>
              <a:gd name="connsiteY25" fmla="*/ 335509 h 349605"/>
              <a:gd name="connsiteX26" fmla="*/ 93040 w 231190"/>
              <a:gd name="connsiteY26" fmla="*/ 338892 h 349605"/>
              <a:gd name="connsiteX27" fmla="*/ 107137 w 231190"/>
              <a:gd name="connsiteY27" fmla="*/ 328742 h 349605"/>
              <a:gd name="connsiteX28" fmla="*/ 106010 w 231190"/>
              <a:gd name="connsiteY28" fmla="*/ 314645 h 349605"/>
              <a:gd name="connsiteX29" fmla="*/ 117851 w 231190"/>
              <a:gd name="connsiteY29" fmla="*/ 305623 h 349605"/>
              <a:gd name="connsiteX30" fmla="*/ 137023 w 231190"/>
              <a:gd name="connsiteY30" fmla="*/ 305623 h 349605"/>
              <a:gd name="connsiteX31" fmla="*/ 143789 w 231190"/>
              <a:gd name="connsiteY31" fmla="*/ 298293 h 349605"/>
              <a:gd name="connsiteX32" fmla="*/ 144918 w 231190"/>
              <a:gd name="connsiteY32" fmla="*/ 280812 h 349605"/>
              <a:gd name="connsiteX33" fmla="*/ 163525 w 231190"/>
              <a:gd name="connsiteY33" fmla="*/ 267279 h 349605"/>
              <a:gd name="connsiteX34" fmla="*/ 178187 w 231190"/>
              <a:gd name="connsiteY34" fmla="*/ 267279 h 349605"/>
              <a:gd name="connsiteX35" fmla="*/ 180442 w 231190"/>
              <a:gd name="connsiteY35" fmla="*/ 262768 h 349605"/>
              <a:gd name="connsiteX36" fmla="*/ 174803 w 231190"/>
              <a:gd name="connsiteY36" fmla="*/ 239085 h 349605"/>
              <a:gd name="connsiteX37" fmla="*/ 178187 w 231190"/>
              <a:gd name="connsiteY37" fmla="*/ 221041 h 349605"/>
              <a:gd name="connsiteX38" fmla="*/ 183825 w 231190"/>
              <a:gd name="connsiteY38" fmla="*/ 212583 h 349605"/>
              <a:gd name="connsiteX39" fmla="*/ 197922 w 231190"/>
              <a:gd name="connsiteY39" fmla="*/ 214274 h 349605"/>
              <a:gd name="connsiteX40" fmla="*/ 207508 w 231190"/>
              <a:gd name="connsiteY40" fmla="*/ 189464 h 349605"/>
              <a:gd name="connsiteX41" fmla="*/ 113904 w 231190"/>
              <a:gd name="connsiteY41" fmla="*/ 18044 h 349605"/>
              <a:gd name="connsiteX42" fmla="*/ 115032 w 231190"/>
              <a:gd name="connsiteY42" fmla="*/ 3383 h 349605"/>
              <a:gd name="connsiteX43" fmla="*/ 111085 w 231190"/>
              <a:gd name="connsiteY43" fmla="*/ 0 h 349605"/>
              <a:gd name="connsiteX44" fmla="*/ 103754 w 231190"/>
              <a:gd name="connsiteY44" fmla="*/ 12405 h 349605"/>
              <a:gd name="connsiteX45" fmla="*/ 111085 w 231190"/>
              <a:gd name="connsiteY45" fmla="*/ 24811 h 349605"/>
              <a:gd name="connsiteX46" fmla="*/ 113904 w 231190"/>
              <a:gd name="connsiteY46" fmla="*/ 18044 h 3496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</a:cxnLst>
            <a:rect l="l" t="t" r="r" b="b"/>
            <a:pathLst>
              <a:path w="231190" h="349605">
                <a:moveTo>
                  <a:pt x="207508" y="189464"/>
                </a:moveTo>
                <a:lnTo>
                  <a:pt x="219349" y="178186"/>
                </a:lnTo>
                <a:lnTo>
                  <a:pt x="223861" y="168036"/>
                </a:lnTo>
                <a:lnTo>
                  <a:pt x="232883" y="146609"/>
                </a:lnTo>
                <a:lnTo>
                  <a:pt x="232319" y="138714"/>
                </a:lnTo>
                <a:lnTo>
                  <a:pt x="220478" y="134203"/>
                </a:lnTo>
                <a:lnTo>
                  <a:pt x="211455" y="122362"/>
                </a:lnTo>
                <a:lnTo>
                  <a:pt x="195103" y="101498"/>
                </a:lnTo>
                <a:lnTo>
                  <a:pt x="176495" y="95296"/>
                </a:lnTo>
                <a:lnTo>
                  <a:pt x="153376" y="90221"/>
                </a:lnTo>
                <a:lnTo>
                  <a:pt x="134767" y="77251"/>
                </a:lnTo>
                <a:lnTo>
                  <a:pt x="118415" y="53005"/>
                </a:lnTo>
                <a:lnTo>
                  <a:pt x="102627" y="53005"/>
                </a:lnTo>
                <a:lnTo>
                  <a:pt x="102063" y="76688"/>
                </a:lnTo>
                <a:lnTo>
                  <a:pt x="108265" y="81199"/>
                </a:lnTo>
                <a:lnTo>
                  <a:pt x="94732" y="88529"/>
                </a:lnTo>
                <a:lnTo>
                  <a:pt x="96424" y="103190"/>
                </a:lnTo>
                <a:lnTo>
                  <a:pt x="88530" y="117851"/>
                </a:lnTo>
                <a:lnTo>
                  <a:pt x="89093" y="132512"/>
                </a:lnTo>
                <a:lnTo>
                  <a:pt x="105446" y="157886"/>
                </a:lnTo>
                <a:lnTo>
                  <a:pt x="90785" y="229499"/>
                </a:lnTo>
                <a:lnTo>
                  <a:pt x="0" y="265587"/>
                </a:lnTo>
                <a:lnTo>
                  <a:pt x="29322" y="324795"/>
                </a:lnTo>
                <a:lnTo>
                  <a:pt x="41164" y="349606"/>
                </a:lnTo>
                <a:lnTo>
                  <a:pt x="55261" y="347914"/>
                </a:lnTo>
                <a:lnTo>
                  <a:pt x="75560" y="335509"/>
                </a:lnTo>
                <a:lnTo>
                  <a:pt x="93040" y="338892"/>
                </a:lnTo>
                <a:lnTo>
                  <a:pt x="107137" y="328742"/>
                </a:lnTo>
                <a:lnTo>
                  <a:pt x="106010" y="314645"/>
                </a:lnTo>
                <a:lnTo>
                  <a:pt x="117851" y="305623"/>
                </a:lnTo>
                <a:lnTo>
                  <a:pt x="137023" y="305623"/>
                </a:lnTo>
                <a:lnTo>
                  <a:pt x="143789" y="298293"/>
                </a:lnTo>
                <a:lnTo>
                  <a:pt x="144918" y="280812"/>
                </a:lnTo>
                <a:lnTo>
                  <a:pt x="163525" y="267279"/>
                </a:lnTo>
                <a:lnTo>
                  <a:pt x="178187" y="267279"/>
                </a:lnTo>
                <a:lnTo>
                  <a:pt x="180442" y="262768"/>
                </a:lnTo>
                <a:lnTo>
                  <a:pt x="174803" y="239085"/>
                </a:lnTo>
                <a:lnTo>
                  <a:pt x="178187" y="221041"/>
                </a:lnTo>
                <a:lnTo>
                  <a:pt x="183825" y="212583"/>
                </a:lnTo>
                <a:lnTo>
                  <a:pt x="197922" y="214274"/>
                </a:lnTo>
                <a:lnTo>
                  <a:pt x="207508" y="189464"/>
                </a:lnTo>
                <a:close/>
                <a:moveTo>
                  <a:pt x="113904" y="18044"/>
                </a:moveTo>
                <a:lnTo>
                  <a:pt x="115032" y="3383"/>
                </a:lnTo>
                <a:lnTo>
                  <a:pt x="111085" y="0"/>
                </a:lnTo>
                <a:lnTo>
                  <a:pt x="103754" y="12405"/>
                </a:lnTo>
                <a:lnTo>
                  <a:pt x="111085" y="24811"/>
                </a:lnTo>
                <a:lnTo>
                  <a:pt x="113904" y="18044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3" name="Freeform: Shape 356">
            <a:extLst>
              <a:ext uri="{FF2B5EF4-FFF2-40B4-BE49-F238E27FC236}">
                <a16:creationId xmlns:a16="http://schemas.microsoft.com/office/drawing/2014/main" id="{6F6C7E52-1631-4494-9FEB-665B7F983A2A}"/>
              </a:ext>
            </a:extLst>
          </p:cNvPr>
          <p:cNvSpPr/>
          <p:nvPr/>
        </p:nvSpPr>
        <p:spPr>
          <a:xfrm>
            <a:off x="7227400" y="3126322"/>
            <a:ext cx="349744" cy="358172"/>
          </a:xfrm>
          <a:custGeom>
            <a:avLst/>
            <a:gdLst>
              <a:gd name="connsiteX0" fmla="*/ 468020 w 468020"/>
              <a:gd name="connsiteY0" fmla="*/ 59771 h 479298"/>
              <a:gd name="connsiteX1" fmla="*/ 415016 w 468020"/>
              <a:gd name="connsiteY1" fmla="*/ 45110 h 479298"/>
              <a:gd name="connsiteX2" fmla="*/ 398663 w 468020"/>
              <a:gd name="connsiteY2" fmla="*/ 16916 h 479298"/>
              <a:gd name="connsiteX3" fmla="*/ 372161 w 468020"/>
              <a:gd name="connsiteY3" fmla="*/ 0 h 479298"/>
              <a:gd name="connsiteX4" fmla="*/ 356372 w 468020"/>
              <a:gd name="connsiteY4" fmla="*/ 3947 h 479298"/>
              <a:gd name="connsiteX5" fmla="*/ 342839 w 468020"/>
              <a:gd name="connsiteY5" fmla="*/ 10714 h 479298"/>
              <a:gd name="connsiteX6" fmla="*/ 310134 w 468020"/>
              <a:gd name="connsiteY6" fmla="*/ 15225 h 479298"/>
              <a:gd name="connsiteX7" fmla="*/ 280248 w 468020"/>
              <a:gd name="connsiteY7" fmla="*/ 22555 h 479298"/>
              <a:gd name="connsiteX8" fmla="*/ 266715 w 468020"/>
              <a:gd name="connsiteY8" fmla="*/ 38344 h 479298"/>
              <a:gd name="connsiteX9" fmla="*/ 277429 w 468020"/>
              <a:gd name="connsiteY9" fmla="*/ 54132 h 479298"/>
              <a:gd name="connsiteX10" fmla="*/ 285323 w 468020"/>
              <a:gd name="connsiteY10" fmla="*/ 72177 h 479298"/>
              <a:gd name="connsiteX11" fmla="*/ 274046 w 468020"/>
              <a:gd name="connsiteY11" fmla="*/ 87401 h 479298"/>
              <a:gd name="connsiteX12" fmla="*/ 278556 w 468020"/>
              <a:gd name="connsiteY12" fmla="*/ 101498 h 479298"/>
              <a:gd name="connsiteX13" fmla="*/ 273482 w 468020"/>
              <a:gd name="connsiteY13" fmla="*/ 114468 h 479298"/>
              <a:gd name="connsiteX14" fmla="*/ 244723 w 468020"/>
              <a:gd name="connsiteY14" fmla="*/ 113340 h 479298"/>
              <a:gd name="connsiteX15" fmla="*/ 261640 w 468020"/>
              <a:gd name="connsiteY15" fmla="*/ 137023 h 479298"/>
              <a:gd name="connsiteX16" fmla="*/ 244723 w 468020"/>
              <a:gd name="connsiteY16" fmla="*/ 146045 h 479298"/>
              <a:gd name="connsiteX17" fmla="*/ 236265 w 468020"/>
              <a:gd name="connsiteY17" fmla="*/ 167472 h 479298"/>
              <a:gd name="connsiteX18" fmla="*/ 242468 w 468020"/>
              <a:gd name="connsiteY18" fmla="*/ 188900 h 479298"/>
              <a:gd name="connsiteX19" fmla="*/ 232882 w 468020"/>
              <a:gd name="connsiteY19" fmla="*/ 199050 h 479298"/>
              <a:gd name="connsiteX20" fmla="*/ 221041 w 468020"/>
              <a:gd name="connsiteY20" fmla="*/ 195666 h 479298"/>
              <a:gd name="connsiteX21" fmla="*/ 198485 w 468020"/>
              <a:gd name="connsiteY21" fmla="*/ 200741 h 479298"/>
              <a:gd name="connsiteX22" fmla="*/ 197358 w 468020"/>
              <a:gd name="connsiteY22" fmla="*/ 210327 h 479298"/>
              <a:gd name="connsiteX23" fmla="*/ 174803 w 468020"/>
              <a:gd name="connsiteY23" fmla="*/ 210327 h 479298"/>
              <a:gd name="connsiteX24" fmla="*/ 161833 w 468020"/>
              <a:gd name="connsiteY24" fmla="*/ 230627 h 479298"/>
              <a:gd name="connsiteX25" fmla="*/ 166345 w 468020"/>
              <a:gd name="connsiteY25" fmla="*/ 261076 h 479298"/>
              <a:gd name="connsiteX26" fmla="*/ 129128 w 468020"/>
              <a:gd name="connsiteY26" fmla="*/ 275737 h 479298"/>
              <a:gd name="connsiteX27" fmla="*/ 107701 w 468020"/>
              <a:gd name="connsiteY27" fmla="*/ 272918 h 479298"/>
              <a:gd name="connsiteX28" fmla="*/ 102626 w 468020"/>
              <a:gd name="connsiteY28" fmla="*/ 280812 h 479298"/>
              <a:gd name="connsiteX29" fmla="*/ 84018 w 468020"/>
              <a:gd name="connsiteY29" fmla="*/ 276301 h 479298"/>
              <a:gd name="connsiteX30" fmla="*/ 54132 w 468020"/>
              <a:gd name="connsiteY30" fmla="*/ 281376 h 479298"/>
              <a:gd name="connsiteX31" fmla="*/ 0 w 468020"/>
              <a:gd name="connsiteY31" fmla="*/ 263332 h 479298"/>
              <a:gd name="connsiteX32" fmla="*/ 18044 w 468020"/>
              <a:gd name="connsiteY32" fmla="*/ 281940 h 479298"/>
              <a:gd name="connsiteX33" fmla="*/ 33833 w 468020"/>
              <a:gd name="connsiteY33" fmla="*/ 303931 h 479298"/>
              <a:gd name="connsiteX34" fmla="*/ 65410 w 468020"/>
              <a:gd name="connsiteY34" fmla="*/ 319156 h 479298"/>
              <a:gd name="connsiteX35" fmla="*/ 71049 w 468020"/>
              <a:gd name="connsiteY35" fmla="*/ 351297 h 479298"/>
              <a:gd name="connsiteX36" fmla="*/ 86273 w 468020"/>
              <a:gd name="connsiteY36" fmla="*/ 356936 h 479298"/>
              <a:gd name="connsiteX37" fmla="*/ 91348 w 468020"/>
              <a:gd name="connsiteY37" fmla="*/ 373288 h 479298"/>
              <a:gd name="connsiteX38" fmla="*/ 49621 w 468020"/>
              <a:gd name="connsiteY38" fmla="*/ 391897 h 479298"/>
              <a:gd name="connsiteX39" fmla="*/ 42855 w 468020"/>
              <a:gd name="connsiteY39" fmla="*/ 433624 h 479298"/>
              <a:gd name="connsiteX40" fmla="*/ 85709 w 468020"/>
              <a:gd name="connsiteY40" fmla="*/ 428549 h 479298"/>
              <a:gd name="connsiteX41" fmla="*/ 135895 w 468020"/>
              <a:gd name="connsiteY41" fmla="*/ 427985 h 479298"/>
              <a:gd name="connsiteX42" fmla="*/ 191719 w 468020"/>
              <a:gd name="connsiteY42" fmla="*/ 421218 h 479298"/>
              <a:gd name="connsiteX43" fmla="*/ 219349 w 468020"/>
              <a:gd name="connsiteY43" fmla="*/ 448285 h 479298"/>
              <a:gd name="connsiteX44" fmla="*/ 231191 w 468020"/>
              <a:gd name="connsiteY44" fmla="*/ 474223 h 479298"/>
              <a:gd name="connsiteX45" fmla="*/ 254873 w 468020"/>
              <a:gd name="connsiteY45" fmla="*/ 483245 h 479298"/>
              <a:gd name="connsiteX46" fmla="*/ 272917 w 468020"/>
              <a:gd name="connsiteY46" fmla="*/ 459562 h 479298"/>
              <a:gd name="connsiteX47" fmla="*/ 340583 w 468020"/>
              <a:gd name="connsiteY47" fmla="*/ 459562 h 479298"/>
              <a:gd name="connsiteX48" fmla="*/ 330434 w 468020"/>
              <a:gd name="connsiteY48" fmla="*/ 428549 h 479298"/>
              <a:gd name="connsiteX49" fmla="*/ 310698 w 468020"/>
              <a:gd name="connsiteY49" fmla="*/ 410505 h 479298"/>
              <a:gd name="connsiteX50" fmla="*/ 303367 w 468020"/>
              <a:gd name="connsiteY50" fmla="*/ 382875 h 479298"/>
              <a:gd name="connsiteX51" fmla="*/ 280812 w 468020"/>
              <a:gd name="connsiteY51" fmla="*/ 366522 h 479298"/>
              <a:gd name="connsiteX52" fmla="*/ 308442 w 468020"/>
              <a:gd name="connsiteY52" fmla="*/ 329306 h 479298"/>
              <a:gd name="connsiteX53" fmla="*/ 344531 w 468020"/>
              <a:gd name="connsiteY53" fmla="*/ 332125 h 479298"/>
              <a:gd name="connsiteX54" fmla="*/ 369905 w 468020"/>
              <a:gd name="connsiteY54" fmla="*/ 294345 h 479298"/>
              <a:gd name="connsiteX55" fmla="*/ 381747 w 468020"/>
              <a:gd name="connsiteY55" fmla="*/ 257693 h 479298"/>
              <a:gd name="connsiteX56" fmla="*/ 403738 w 468020"/>
              <a:gd name="connsiteY56" fmla="*/ 222169 h 479298"/>
              <a:gd name="connsiteX57" fmla="*/ 398099 w 468020"/>
              <a:gd name="connsiteY57" fmla="*/ 196794 h 479298"/>
              <a:gd name="connsiteX58" fmla="*/ 418962 w 468020"/>
              <a:gd name="connsiteY58" fmla="*/ 175930 h 479298"/>
              <a:gd name="connsiteX59" fmla="*/ 390768 w 468020"/>
              <a:gd name="connsiteY59" fmla="*/ 158450 h 479298"/>
              <a:gd name="connsiteX60" fmla="*/ 374416 w 468020"/>
              <a:gd name="connsiteY60" fmla="*/ 134203 h 479298"/>
              <a:gd name="connsiteX61" fmla="*/ 356372 w 468020"/>
              <a:gd name="connsiteY61" fmla="*/ 102626 h 479298"/>
              <a:gd name="connsiteX62" fmla="*/ 367086 w 468020"/>
              <a:gd name="connsiteY62" fmla="*/ 86837 h 479298"/>
              <a:gd name="connsiteX63" fmla="*/ 415016 w 468020"/>
              <a:gd name="connsiteY63" fmla="*/ 95860 h 479298"/>
              <a:gd name="connsiteX64" fmla="*/ 447156 w 468020"/>
              <a:gd name="connsiteY64" fmla="*/ 90221 h 479298"/>
              <a:gd name="connsiteX65" fmla="*/ 468020 w 468020"/>
              <a:gd name="connsiteY65" fmla="*/ 59771 h 4792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468020" h="479298">
                <a:moveTo>
                  <a:pt x="468020" y="59771"/>
                </a:moveTo>
                <a:lnTo>
                  <a:pt x="415016" y="45110"/>
                </a:lnTo>
                <a:lnTo>
                  <a:pt x="398663" y="16916"/>
                </a:lnTo>
                <a:lnTo>
                  <a:pt x="372161" y="0"/>
                </a:lnTo>
                <a:lnTo>
                  <a:pt x="356372" y="3947"/>
                </a:lnTo>
                <a:lnTo>
                  <a:pt x="342839" y="10714"/>
                </a:lnTo>
                <a:lnTo>
                  <a:pt x="310134" y="15225"/>
                </a:lnTo>
                <a:lnTo>
                  <a:pt x="280248" y="22555"/>
                </a:lnTo>
                <a:lnTo>
                  <a:pt x="266715" y="38344"/>
                </a:lnTo>
                <a:lnTo>
                  <a:pt x="277429" y="54132"/>
                </a:lnTo>
                <a:lnTo>
                  <a:pt x="285323" y="72177"/>
                </a:lnTo>
                <a:lnTo>
                  <a:pt x="274046" y="87401"/>
                </a:lnTo>
                <a:lnTo>
                  <a:pt x="278556" y="101498"/>
                </a:lnTo>
                <a:lnTo>
                  <a:pt x="273482" y="114468"/>
                </a:lnTo>
                <a:lnTo>
                  <a:pt x="244723" y="113340"/>
                </a:lnTo>
                <a:lnTo>
                  <a:pt x="261640" y="137023"/>
                </a:lnTo>
                <a:lnTo>
                  <a:pt x="244723" y="146045"/>
                </a:lnTo>
                <a:lnTo>
                  <a:pt x="236265" y="167472"/>
                </a:lnTo>
                <a:lnTo>
                  <a:pt x="242468" y="188900"/>
                </a:lnTo>
                <a:lnTo>
                  <a:pt x="232882" y="199050"/>
                </a:lnTo>
                <a:lnTo>
                  <a:pt x="221041" y="195666"/>
                </a:lnTo>
                <a:lnTo>
                  <a:pt x="198485" y="200741"/>
                </a:lnTo>
                <a:lnTo>
                  <a:pt x="197358" y="210327"/>
                </a:lnTo>
                <a:lnTo>
                  <a:pt x="174803" y="210327"/>
                </a:lnTo>
                <a:lnTo>
                  <a:pt x="161833" y="230627"/>
                </a:lnTo>
                <a:lnTo>
                  <a:pt x="166345" y="261076"/>
                </a:lnTo>
                <a:lnTo>
                  <a:pt x="129128" y="275737"/>
                </a:lnTo>
                <a:lnTo>
                  <a:pt x="107701" y="272918"/>
                </a:lnTo>
                <a:lnTo>
                  <a:pt x="102626" y="280812"/>
                </a:lnTo>
                <a:lnTo>
                  <a:pt x="84018" y="276301"/>
                </a:lnTo>
                <a:lnTo>
                  <a:pt x="54132" y="281376"/>
                </a:lnTo>
                <a:lnTo>
                  <a:pt x="0" y="263332"/>
                </a:lnTo>
                <a:lnTo>
                  <a:pt x="18044" y="281940"/>
                </a:lnTo>
                <a:lnTo>
                  <a:pt x="33833" y="303931"/>
                </a:lnTo>
                <a:lnTo>
                  <a:pt x="65410" y="319156"/>
                </a:lnTo>
                <a:lnTo>
                  <a:pt x="71049" y="351297"/>
                </a:lnTo>
                <a:lnTo>
                  <a:pt x="86273" y="356936"/>
                </a:lnTo>
                <a:lnTo>
                  <a:pt x="91348" y="373288"/>
                </a:lnTo>
                <a:lnTo>
                  <a:pt x="49621" y="391897"/>
                </a:lnTo>
                <a:lnTo>
                  <a:pt x="42855" y="433624"/>
                </a:lnTo>
                <a:lnTo>
                  <a:pt x="85709" y="428549"/>
                </a:lnTo>
                <a:lnTo>
                  <a:pt x="135895" y="427985"/>
                </a:lnTo>
                <a:lnTo>
                  <a:pt x="191719" y="421218"/>
                </a:lnTo>
                <a:lnTo>
                  <a:pt x="219349" y="448285"/>
                </a:lnTo>
                <a:lnTo>
                  <a:pt x="231191" y="474223"/>
                </a:lnTo>
                <a:lnTo>
                  <a:pt x="254873" y="483245"/>
                </a:lnTo>
                <a:lnTo>
                  <a:pt x="272917" y="459562"/>
                </a:lnTo>
                <a:lnTo>
                  <a:pt x="340583" y="459562"/>
                </a:lnTo>
                <a:lnTo>
                  <a:pt x="330434" y="428549"/>
                </a:lnTo>
                <a:lnTo>
                  <a:pt x="310698" y="410505"/>
                </a:lnTo>
                <a:lnTo>
                  <a:pt x="303367" y="382875"/>
                </a:lnTo>
                <a:lnTo>
                  <a:pt x="280812" y="366522"/>
                </a:lnTo>
                <a:lnTo>
                  <a:pt x="308442" y="329306"/>
                </a:lnTo>
                <a:lnTo>
                  <a:pt x="344531" y="332125"/>
                </a:lnTo>
                <a:lnTo>
                  <a:pt x="369905" y="294345"/>
                </a:lnTo>
                <a:lnTo>
                  <a:pt x="381747" y="257693"/>
                </a:lnTo>
                <a:lnTo>
                  <a:pt x="403738" y="222169"/>
                </a:lnTo>
                <a:lnTo>
                  <a:pt x="398099" y="196794"/>
                </a:lnTo>
                <a:lnTo>
                  <a:pt x="418962" y="175930"/>
                </a:lnTo>
                <a:lnTo>
                  <a:pt x="390768" y="158450"/>
                </a:lnTo>
                <a:lnTo>
                  <a:pt x="374416" y="134203"/>
                </a:lnTo>
                <a:lnTo>
                  <a:pt x="356372" y="102626"/>
                </a:lnTo>
                <a:lnTo>
                  <a:pt x="367086" y="86837"/>
                </a:lnTo>
                <a:lnTo>
                  <a:pt x="415016" y="95860"/>
                </a:lnTo>
                <a:lnTo>
                  <a:pt x="447156" y="90221"/>
                </a:lnTo>
                <a:lnTo>
                  <a:pt x="468020" y="59771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4" name="Freeform: Shape 357">
            <a:extLst>
              <a:ext uri="{FF2B5EF4-FFF2-40B4-BE49-F238E27FC236}">
                <a16:creationId xmlns:a16="http://schemas.microsoft.com/office/drawing/2014/main" id="{FF053576-D3CA-433C-890A-795C7D325DDC}"/>
              </a:ext>
            </a:extLst>
          </p:cNvPr>
          <p:cNvSpPr/>
          <p:nvPr/>
        </p:nvSpPr>
        <p:spPr>
          <a:xfrm>
            <a:off x="3884181" y="3864999"/>
            <a:ext cx="134842" cy="63207"/>
          </a:xfrm>
          <a:custGeom>
            <a:avLst/>
            <a:gdLst>
              <a:gd name="connsiteX0" fmla="*/ 178186 w 180441"/>
              <a:gd name="connsiteY0" fmla="*/ 33833 h 84582"/>
              <a:gd name="connsiteX1" fmla="*/ 166909 w 180441"/>
              <a:gd name="connsiteY1" fmla="*/ 23683 h 84582"/>
              <a:gd name="connsiteX2" fmla="*/ 157322 w 180441"/>
              <a:gd name="connsiteY2" fmla="*/ 12969 h 84582"/>
              <a:gd name="connsiteX3" fmla="*/ 143225 w 180441"/>
              <a:gd name="connsiteY3" fmla="*/ 6767 h 84582"/>
              <a:gd name="connsiteX4" fmla="*/ 125745 w 180441"/>
              <a:gd name="connsiteY4" fmla="*/ 5639 h 84582"/>
              <a:gd name="connsiteX5" fmla="*/ 127437 w 180441"/>
              <a:gd name="connsiteY5" fmla="*/ 2255 h 84582"/>
              <a:gd name="connsiteX6" fmla="*/ 109957 w 180441"/>
              <a:gd name="connsiteY6" fmla="*/ 0 h 84582"/>
              <a:gd name="connsiteX7" fmla="*/ 98679 w 180441"/>
              <a:gd name="connsiteY7" fmla="*/ 10714 h 84582"/>
              <a:gd name="connsiteX8" fmla="*/ 78943 w 180441"/>
              <a:gd name="connsiteY8" fmla="*/ 18044 h 84582"/>
              <a:gd name="connsiteX9" fmla="*/ 64846 w 180441"/>
              <a:gd name="connsiteY9" fmla="*/ 27066 h 84582"/>
              <a:gd name="connsiteX10" fmla="*/ 49622 w 180441"/>
              <a:gd name="connsiteY10" fmla="*/ 29886 h 84582"/>
              <a:gd name="connsiteX11" fmla="*/ 41163 w 180441"/>
              <a:gd name="connsiteY11" fmla="*/ 20864 h 84582"/>
              <a:gd name="connsiteX12" fmla="*/ 38344 w 180441"/>
              <a:gd name="connsiteY12" fmla="*/ 23683 h 84582"/>
              <a:gd name="connsiteX13" fmla="*/ 25375 w 180441"/>
              <a:gd name="connsiteY13" fmla="*/ 21991 h 84582"/>
              <a:gd name="connsiteX14" fmla="*/ 26502 w 180441"/>
              <a:gd name="connsiteY14" fmla="*/ 14661 h 84582"/>
              <a:gd name="connsiteX15" fmla="*/ 15789 w 180441"/>
              <a:gd name="connsiteY15" fmla="*/ 1692 h 84582"/>
              <a:gd name="connsiteX16" fmla="*/ 3383 w 180441"/>
              <a:gd name="connsiteY16" fmla="*/ 5075 h 84582"/>
              <a:gd name="connsiteX17" fmla="*/ 2820 w 180441"/>
              <a:gd name="connsiteY17" fmla="*/ 19172 h 84582"/>
              <a:gd name="connsiteX18" fmla="*/ 9022 w 180441"/>
              <a:gd name="connsiteY18" fmla="*/ 24811 h 84582"/>
              <a:gd name="connsiteX19" fmla="*/ 4511 w 180441"/>
              <a:gd name="connsiteY19" fmla="*/ 28758 h 84582"/>
              <a:gd name="connsiteX20" fmla="*/ 5075 w 180441"/>
              <a:gd name="connsiteY20" fmla="*/ 35524 h 84582"/>
              <a:gd name="connsiteX21" fmla="*/ 2255 w 180441"/>
              <a:gd name="connsiteY21" fmla="*/ 42855 h 84582"/>
              <a:gd name="connsiteX22" fmla="*/ 0 w 180441"/>
              <a:gd name="connsiteY22" fmla="*/ 49621 h 84582"/>
              <a:gd name="connsiteX23" fmla="*/ 3383 w 180441"/>
              <a:gd name="connsiteY23" fmla="*/ 55260 h 84582"/>
              <a:gd name="connsiteX24" fmla="*/ 5075 w 180441"/>
              <a:gd name="connsiteY24" fmla="*/ 47366 h 84582"/>
              <a:gd name="connsiteX25" fmla="*/ 18608 w 180441"/>
              <a:gd name="connsiteY25" fmla="*/ 47366 h 84582"/>
              <a:gd name="connsiteX26" fmla="*/ 26502 w 180441"/>
              <a:gd name="connsiteY26" fmla="*/ 51313 h 84582"/>
              <a:gd name="connsiteX27" fmla="*/ 39472 w 180441"/>
              <a:gd name="connsiteY27" fmla="*/ 54132 h 84582"/>
              <a:gd name="connsiteX28" fmla="*/ 45111 w 180441"/>
              <a:gd name="connsiteY28" fmla="*/ 68229 h 84582"/>
              <a:gd name="connsiteX29" fmla="*/ 55260 w 180441"/>
              <a:gd name="connsiteY29" fmla="*/ 70485 h 84582"/>
              <a:gd name="connsiteX30" fmla="*/ 59771 w 180441"/>
              <a:gd name="connsiteY30" fmla="*/ 64282 h 84582"/>
              <a:gd name="connsiteX31" fmla="*/ 64282 w 180441"/>
              <a:gd name="connsiteY31" fmla="*/ 85710 h 84582"/>
              <a:gd name="connsiteX32" fmla="*/ 78943 w 180441"/>
              <a:gd name="connsiteY32" fmla="*/ 84018 h 84582"/>
              <a:gd name="connsiteX33" fmla="*/ 84018 w 180441"/>
              <a:gd name="connsiteY33" fmla="*/ 78943 h 84582"/>
              <a:gd name="connsiteX34" fmla="*/ 92476 w 180441"/>
              <a:gd name="connsiteY34" fmla="*/ 73868 h 84582"/>
              <a:gd name="connsiteX35" fmla="*/ 78379 w 180441"/>
              <a:gd name="connsiteY35" fmla="*/ 54696 h 84582"/>
              <a:gd name="connsiteX36" fmla="*/ 81763 w 180441"/>
              <a:gd name="connsiteY36" fmla="*/ 47366 h 84582"/>
              <a:gd name="connsiteX37" fmla="*/ 89093 w 180441"/>
              <a:gd name="connsiteY37" fmla="*/ 45674 h 84582"/>
              <a:gd name="connsiteX38" fmla="*/ 102062 w 180441"/>
              <a:gd name="connsiteY38" fmla="*/ 36652 h 84582"/>
              <a:gd name="connsiteX39" fmla="*/ 108829 w 180441"/>
              <a:gd name="connsiteY39" fmla="*/ 24247 h 84582"/>
              <a:gd name="connsiteX40" fmla="*/ 122926 w 180441"/>
              <a:gd name="connsiteY40" fmla="*/ 21991 h 84582"/>
              <a:gd name="connsiteX41" fmla="*/ 138151 w 180441"/>
              <a:gd name="connsiteY41" fmla="*/ 32141 h 84582"/>
              <a:gd name="connsiteX42" fmla="*/ 143790 w 180441"/>
              <a:gd name="connsiteY42" fmla="*/ 43983 h 84582"/>
              <a:gd name="connsiteX43" fmla="*/ 151684 w 180441"/>
              <a:gd name="connsiteY43" fmla="*/ 46238 h 84582"/>
              <a:gd name="connsiteX44" fmla="*/ 143225 w 180441"/>
              <a:gd name="connsiteY44" fmla="*/ 55824 h 84582"/>
              <a:gd name="connsiteX45" fmla="*/ 148864 w 180441"/>
              <a:gd name="connsiteY45" fmla="*/ 75560 h 84582"/>
              <a:gd name="connsiteX46" fmla="*/ 159014 w 180441"/>
              <a:gd name="connsiteY46" fmla="*/ 85710 h 84582"/>
              <a:gd name="connsiteX47" fmla="*/ 164089 w 180441"/>
              <a:gd name="connsiteY47" fmla="*/ 68229 h 84582"/>
              <a:gd name="connsiteX48" fmla="*/ 174239 w 180441"/>
              <a:gd name="connsiteY48" fmla="*/ 71049 h 84582"/>
              <a:gd name="connsiteX49" fmla="*/ 180442 w 180441"/>
              <a:gd name="connsiteY49" fmla="*/ 60335 h 84582"/>
              <a:gd name="connsiteX50" fmla="*/ 174239 w 180441"/>
              <a:gd name="connsiteY50" fmla="*/ 38908 h 84582"/>
              <a:gd name="connsiteX51" fmla="*/ 178186 w 180441"/>
              <a:gd name="connsiteY51" fmla="*/ 33833 h 84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180441" h="84582">
                <a:moveTo>
                  <a:pt x="178186" y="33833"/>
                </a:moveTo>
                <a:lnTo>
                  <a:pt x="166909" y="23683"/>
                </a:lnTo>
                <a:lnTo>
                  <a:pt x="157322" y="12969"/>
                </a:lnTo>
                <a:lnTo>
                  <a:pt x="143225" y="6767"/>
                </a:lnTo>
                <a:lnTo>
                  <a:pt x="125745" y="5639"/>
                </a:lnTo>
                <a:lnTo>
                  <a:pt x="127437" y="2255"/>
                </a:lnTo>
                <a:lnTo>
                  <a:pt x="109957" y="0"/>
                </a:lnTo>
                <a:lnTo>
                  <a:pt x="98679" y="10714"/>
                </a:lnTo>
                <a:lnTo>
                  <a:pt x="78943" y="18044"/>
                </a:lnTo>
                <a:lnTo>
                  <a:pt x="64846" y="27066"/>
                </a:lnTo>
                <a:lnTo>
                  <a:pt x="49622" y="29886"/>
                </a:lnTo>
                <a:lnTo>
                  <a:pt x="41163" y="20864"/>
                </a:lnTo>
                <a:lnTo>
                  <a:pt x="38344" y="23683"/>
                </a:lnTo>
                <a:lnTo>
                  <a:pt x="25375" y="21991"/>
                </a:lnTo>
                <a:lnTo>
                  <a:pt x="26502" y="14661"/>
                </a:lnTo>
                <a:lnTo>
                  <a:pt x="15789" y="1692"/>
                </a:lnTo>
                <a:lnTo>
                  <a:pt x="3383" y="5075"/>
                </a:lnTo>
                <a:lnTo>
                  <a:pt x="2820" y="19172"/>
                </a:lnTo>
                <a:lnTo>
                  <a:pt x="9022" y="24811"/>
                </a:lnTo>
                <a:lnTo>
                  <a:pt x="4511" y="28758"/>
                </a:lnTo>
                <a:lnTo>
                  <a:pt x="5075" y="35524"/>
                </a:lnTo>
                <a:lnTo>
                  <a:pt x="2255" y="42855"/>
                </a:lnTo>
                <a:lnTo>
                  <a:pt x="0" y="49621"/>
                </a:lnTo>
                <a:lnTo>
                  <a:pt x="3383" y="55260"/>
                </a:lnTo>
                <a:lnTo>
                  <a:pt x="5075" y="47366"/>
                </a:lnTo>
                <a:lnTo>
                  <a:pt x="18608" y="47366"/>
                </a:lnTo>
                <a:lnTo>
                  <a:pt x="26502" y="51313"/>
                </a:lnTo>
                <a:lnTo>
                  <a:pt x="39472" y="54132"/>
                </a:lnTo>
                <a:lnTo>
                  <a:pt x="45111" y="68229"/>
                </a:lnTo>
                <a:lnTo>
                  <a:pt x="55260" y="70485"/>
                </a:lnTo>
                <a:lnTo>
                  <a:pt x="59771" y="64282"/>
                </a:lnTo>
                <a:lnTo>
                  <a:pt x="64282" y="85710"/>
                </a:lnTo>
                <a:lnTo>
                  <a:pt x="78943" y="84018"/>
                </a:lnTo>
                <a:lnTo>
                  <a:pt x="84018" y="78943"/>
                </a:lnTo>
                <a:lnTo>
                  <a:pt x="92476" y="73868"/>
                </a:lnTo>
                <a:lnTo>
                  <a:pt x="78379" y="54696"/>
                </a:lnTo>
                <a:lnTo>
                  <a:pt x="81763" y="47366"/>
                </a:lnTo>
                <a:lnTo>
                  <a:pt x="89093" y="45674"/>
                </a:lnTo>
                <a:lnTo>
                  <a:pt x="102062" y="36652"/>
                </a:lnTo>
                <a:lnTo>
                  <a:pt x="108829" y="24247"/>
                </a:lnTo>
                <a:lnTo>
                  <a:pt x="122926" y="21991"/>
                </a:lnTo>
                <a:lnTo>
                  <a:pt x="138151" y="32141"/>
                </a:lnTo>
                <a:lnTo>
                  <a:pt x="143790" y="43983"/>
                </a:lnTo>
                <a:lnTo>
                  <a:pt x="151684" y="46238"/>
                </a:lnTo>
                <a:lnTo>
                  <a:pt x="143225" y="55824"/>
                </a:lnTo>
                <a:lnTo>
                  <a:pt x="148864" y="75560"/>
                </a:lnTo>
                <a:lnTo>
                  <a:pt x="159014" y="85710"/>
                </a:lnTo>
                <a:lnTo>
                  <a:pt x="164089" y="68229"/>
                </a:lnTo>
                <a:lnTo>
                  <a:pt x="174239" y="71049"/>
                </a:lnTo>
                <a:lnTo>
                  <a:pt x="180442" y="60335"/>
                </a:lnTo>
                <a:lnTo>
                  <a:pt x="174239" y="38908"/>
                </a:lnTo>
                <a:lnTo>
                  <a:pt x="178186" y="33833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5" name="Freeform: Shape 358">
            <a:extLst>
              <a:ext uri="{FF2B5EF4-FFF2-40B4-BE49-F238E27FC236}">
                <a16:creationId xmlns:a16="http://schemas.microsoft.com/office/drawing/2014/main" id="{87BECEDA-9B00-4F96-B4F5-FA4299F1C8D7}"/>
              </a:ext>
            </a:extLst>
          </p:cNvPr>
          <p:cNvSpPr/>
          <p:nvPr/>
        </p:nvSpPr>
        <p:spPr>
          <a:xfrm>
            <a:off x="3917048" y="4124146"/>
            <a:ext cx="311820" cy="488799"/>
          </a:xfrm>
          <a:custGeom>
            <a:avLst/>
            <a:gdLst>
              <a:gd name="connsiteX0" fmla="*/ 364266 w 417271"/>
              <a:gd name="connsiteY0" fmla="*/ 152248 h 654100"/>
              <a:gd name="connsiteX1" fmla="*/ 347914 w 417271"/>
              <a:gd name="connsiteY1" fmla="*/ 133076 h 654100"/>
              <a:gd name="connsiteX2" fmla="*/ 338328 w 417271"/>
              <a:gd name="connsiteY2" fmla="*/ 132512 h 654100"/>
              <a:gd name="connsiteX3" fmla="*/ 358064 w 417271"/>
              <a:gd name="connsiteY3" fmla="*/ 95860 h 654100"/>
              <a:gd name="connsiteX4" fmla="*/ 333253 w 417271"/>
              <a:gd name="connsiteY4" fmla="*/ 78943 h 654100"/>
              <a:gd name="connsiteX5" fmla="*/ 314645 w 417271"/>
              <a:gd name="connsiteY5" fmla="*/ 82326 h 654100"/>
              <a:gd name="connsiteX6" fmla="*/ 302804 w 417271"/>
              <a:gd name="connsiteY6" fmla="*/ 76124 h 654100"/>
              <a:gd name="connsiteX7" fmla="*/ 285887 w 417271"/>
              <a:gd name="connsiteY7" fmla="*/ 85710 h 654100"/>
              <a:gd name="connsiteX8" fmla="*/ 262204 w 417271"/>
              <a:gd name="connsiteY8" fmla="*/ 81199 h 654100"/>
              <a:gd name="connsiteX9" fmla="*/ 243032 w 417271"/>
              <a:gd name="connsiteY9" fmla="*/ 43419 h 654100"/>
              <a:gd name="connsiteX10" fmla="*/ 227807 w 417271"/>
              <a:gd name="connsiteY10" fmla="*/ 33833 h 654100"/>
              <a:gd name="connsiteX11" fmla="*/ 217658 w 417271"/>
              <a:gd name="connsiteY11" fmla="*/ 16916 h 654100"/>
              <a:gd name="connsiteX12" fmla="*/ 196794 w 417271"/>
              <a:gd name="connsiteY12" fmla="*/ 0 h 654100"/>
              <a:gd name="connsiteX13" fmla="*/ 188336 w 417271"/>
              <a:gd name="connsiteY13" fmla="*/ 3383 h 654100"/>
              <a:gd name="connsiteX14" fmla="*/ 192847 w 417271"/>
              <a:gd name="connsiteY14" fmla="*/ 31013 h 654100"/>
              <a:gd name="connsiteX15" fmla="*/ 183261 w 417271"/>
              <a:gd name="connsiteY15" fmla="*/ 54132 h 654100"/>
              <a:gd name="connsiteX16" fmla="*/ 149428 w 417271"/>
              <a:gd name="connsiteY16" fmla="*/ 91912 h 654100"/>
              <a:gd name="connsiteX17" fmla="*/ 111648 w 417271"/>
              <a:gd name="connsiteY17" fmla="*/ 106009 h 654100"/>
              <a:gd name="connsiteX18" fmla="*/ 93040 w 417271"/>
              <a:gd name="connsiteY18" fmla="*/ 137023 h 654100"/>
              <a:gd name="connsiteX19" fmla="*/ 87965 w 417271"/>
              <a:gd name="connsiteY19" fmla="*/ 161270 h 654100"/>
              <a:gd name="connsiteX20" fmla="*/ 70485 w 417271"/>
              <a:gd name="connsiteY20" fmla="*/ 175931 h 654100"/>
              <a:gd name="connsiteX21" fmla="*/ 56388 w 417271"/>
              <a:gd name="connsiteY21" fmla="*/ 157886 h 654100"/>
              <a:gd name="connsiteX22" fmla="*/ 43419 w 417271"/>
              <a:gd name="connsiteY22" fmla="*/ 153939 h 654100"/>
              <a:gd name="connsiteX23" fmla="*/ 30449 w 417271"/>
              <a:gd name="connsiteY23" fmla="*/ 156759 h 654100"/>
              <a:gd name="connsiteX24" fmla="*/ 29322 w 417271"/>
              <a:gd name="connsiteY24" fmla="*/ 143789 h 654100"/>
              <a:gd name="connsiteX25" fmla="*/ 37780 w 417271"/>
              <a:gd name="connsiteY25" fmla="*/ 135331 h 654100"/>
              <a:gd name="connsiteX26" fmla="*/ 33833 w 417271"/>
              <a:gd name="connsiteY26" fmla="*/ 120106 h 654100"/>
              <a:gd name="connsiteX27" fmla="*/ 9022 w 417271"/>
              <a:gd name="connsiteY27" fmla="*/ 142662 h 654100"/>
              <a:gd name="connsiteX28" fmla="*/ 0 w 417271"/>
              <a:gd name="connsiteY28" fmla="*/ 168036 h 654100"/>
              <a:gd name="connsiteX29" fmla="*/ 16916 w 417271"/>
              <a:gd name="connsiteY29" fmla="*/ 202433 h 654100"/>
              <a:gd name="connsiteX30" fmla="*/ 7330 w 417271"/>
              <a:gd name="connsiteY30" fmla="*/ 218222 h 654100"/>
              <a:gd name="connsiteX31" fmla="*/ 30449 w 417271"/>
              <a:gd name="connsiteY31" fmla="*/ 232882 h 654100"/>
              <a:gd name="connsiteX32" fmla="*/ 55824 w 417271"/>
              <a:gd name="connsiteY32" fmla="*/ 256002 h 654100"/>
              <a:gd name="connsiteX33" fmla="*/ 67102 w 417271"/>
              <a:gd name="connsiteY33" fmla="*/ 282504 h 654100"/>
              <a:gd name="connsiteX34" fmla="*/ 80635 w 417271"/>
              <a:gd name="connsiteY34" fmla="*/ 298856 h 654100"/>
              <a:gd name="connsiteX35" fmla="*/ 114468 w 417271"/>
              <a:gd name="connsiteY35" fmla="*/ 370469 h 654100"/>
              <a:gd name="connsiteX36" fmla="*/ 149428 w 417271"/>
              <a:gd name="connsiteY36" fmla="*/ 436443 h 654100"/>
              <a:gd name="connsiteX37" fmla="*/ 179878 w 417271"/>
              <a:gd name="connsiteY37" fmla="*/ 483809 h 654100"/>
              <a:gd name="connsiteX38" fmla="*/ 175367 w 417271"/>
              <a:gd name="connsiteY38" fmla="*/ 493959 h 654100"/>
              <a:gd name="connsiteX39" fmla="*/ 191155 w 417271"/>
              <a:gd name="connsiteY39" fmla="*/ 523845 h 654100"/>
              <a:gd name="connsiteX40" fmla="*/ 217094 w 417271"/>
              <a:gd name="connsiteY40" fmla="*/ 545836 h 654100"/>
              <a:gd name="connsiteX41" fmla="*/ 277429 w 417271"/>
              <a:gd name="connsiteY41" fmla="*/ 584744 h 654100"/>
              <a:gd name="connsiteX42" fmla="*/ 342839 w 417271"/>
              <a:gd name="connsiteY42" fmla="*/ 620832 h 654100"/>
              <a:gd name="connsiteX43" fmla="*/ 346786 w 417271"/>
              <a:gd name="connsiteY43" fmla="*/ 635493 h 654100"/>
              <a:gd name="connsiteX44" fmla="*/ 380055 w 417271"/>
              <a:gd name="connsiteY44" fmla="*/ 656357 h 654100"/>
              <a:gd name="connsiteX45" fmla="*/ 395280 w 417271"/>
              <a:gd name="connsiteY45" fmla="*/ 647334 h 654100"/>
              <a:gd name="connsiteX46" fmla="*/ 402046 w 417271"/>
              <a:gd name="connsiteY46" fmla="*/ 628726 h 654100"/>
              <a:gd name="connsiteX47" fmla="*/ 417835 w 417271"/>
              <a:gd name="connsiteY47" fmla="*/ 589818 h 654100"/>
              <a:gd name="connsiteX48" fmla="*/ 402046 w 417271"/>
              <a:gd name="connsiteY48" fmla="*/ 559933 h 654100"/>
              <a:gd name="connsiteX49" fmla="*/ 408249 w 417271"/>
              <a:gd name="connsiteY49" fmla="*/ 548091 h 654100"/>
              <a:gd name="connsiteX50" fmla="*/ 401483 w 417271"/>
              <a:gd name="connsiteY50" fmla="*/ 534558 h 654100"/>
              <a:gd name="connsiteX51" fmla="*/ 412196 w 417271"/>
              <a:gd name="connsiteY51" fmla="*/ 516514 h 654100"/>
              <a:gd name="connsiteX52" fmla="*/ 410505 w 417271"/>
              <a:gd name="connsiteY52" fmla="*/ 486065 h 654100"/>
              <a:gd name="connsiteX53" fmla="*/ 409941 w 417271"/>
              <a:gd name="connsiteY53" fmla="*/ 460690 h 654100"/>
              <a:gd name="connsiteX54" fmla="*/ 416143 w 417271"/>
              <a:gd name="connsiteY54" fmla="*/ 448848 h 654100"/>
              <a:gd name="connsiteX55" fmla="*/ 385130 w 417271"/>
              <a:gd name="connsiteY55" fmla="*/ 390769 h 654100"/>
              <a:gd name="connsiteX56" fmla="*/ 368214 w 417271"/>
              <a:gd name="connsiteY56" fmla="*/ 396972 h 654100"/>
              <a:gd name="connsiteX57" fmla="*/ 353553 w 417271"/>
              <a:gd name="connsiteY57" fmla="*/ 393024 h 654100"/>
              <a:gd name="connsiteX58" fmla="*/ 352425 w 417271"/>
              <a:gd name="connsiteY58" fmla="*/ 338328 h 654100"/>
              <a:gd name="connsiteX59" fmla="*/ 327614 w 417271"/>
              <a:gd name="connsiteY59" fmla="*/ 359755 h 654100"/>
              <a:gd name="connsiteX60" fmla="*/ 299984 w 417271"/>
              <a:gd name="connsiteY60" fmla="*/ 358628 h 654100"/>
              <a:gd name="connsiteX61" fmla="*/ 287015 w 417271"/>
              <a:gd name="connsiteY61" fmla="*/ 339456 h 654100"/>
              <a:gd name="connsiteX62" fmla="*/ 266151 w 417271"/>
              <a:gd name="connsiteY62" fmla="*/ 337764 h 654100"/>
              <a:gd name="connsiteX63" fmla="*/ 271790 w 417271"/>
              <a:gd name="connsiteY63" fmla="*/ 321975 h 654100"/>
              <a:gd name="connsiteX64" fmla="*/ 253182 w 417271"/>
              <a:gd name="connsiteY64" fmla="*/ 300548 h 654100"/>
              <a:gd name="connsiteX65" fmla="*/ 238521 w 417271"/>
              <a:gd name="connsiteY65" fmla="*/ 267843 h 654100"/>
              <a:gd name="connsiteX66" fmla="*/ 246979 w 417271"/>
              <a:gd name="connsiteY66" fmla="*/ 261640 h 654100"/>
              <a:gd name="connsiteX67" fmla="*/ 246416 w 417271"/>
              <a:gd name="connsiteY67" fmla="*/ 246416 h 654100"/>
              <a:gd name="connsiteX68" fmla="*/ 265024 w 417271"/>
              <a:gd name="connsiteY68" fmla="*/ 235702 h 654100"/>
              <a:gd name="connsiteX69" fmla="*/ 261076 w 417271"/>
              <a:gd name="connsiteY69" fmla="*/ 216530 h 654100"/>
              <a:gd name="connsiteX70" fmla="*/ 268407 w 417271"/>
              <a:gd name="connsiteY70" fmla="*/ 204125 h 654100"/>
              <a:gd name="connsiteX71" fmla="*/ 270662 w 417271"/>
              <a:gd name="connsiteY71" fmla="*/ 187208 h 654100"/>
              <a:gd name="connsiteX72" fmla="*/ 305623 w 417271"/>
              <a:gd name="connsiteY72" fmla="*/ 162961 h 654100"/>
              <a:gd name="connsiteX73" fmla="*/ 331561 w 417271"/>
              <a:gd name="connsiteY73" fmla="*/ 156195 h 654100"/>
              <a:gd name="connsiteX74" fmla="*/ 335509 w 417271"/>
              <a:gd name="connsiteY74" fmla="*/ 150556 h 654100"/>
              <a:gd name="connsiteX75" fmla="*/ 364266 w 417271"/>
              <a:gd name="connsiteY75" fmla="*/ 152248 h 654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</a:cxnLst>
            <a:rect l="l" t="t" r="r" b="b"/>
            <a:pathLst>
              <a:path w="417271" h="654100">
                <a:moveTo>
                  <a:pt x="364266" y="152248"/>
                </a:moveTo>
                <a:lnTo>
                  <a:pt x="347914" y="133076"/>
                </a:lnTo>
                <a:lnTo>
                  <a:pt x="338328" y="132512"/>
                </a:lnTo>
                <a:lnTo>
                  <a:pt x="358064" y="95860"/>
                </a:lnTo>
                <a:lnTo>
                  <a:pt x="333253" y="78943"/>
                </a:lnTo>
                <a:lnTo>
                  <a:pt x="314645" y="82326"/>
                </a:lnTo>
                <a:lnTo>
                  <a:pt x="302804" y="76124"/>
                </a:lnTo>
                <a:lnTo>
                  <a:pt x="285887" y="85710"/>
                </a:lnTo>
                <a:lnTo>
                  <a:pt x="262204" y="81199"/>
                </a:lnTo>
                <a:lnTo>
                  <a:pt x="243032" y="43419"/>
                </a:lnTo>
                <a:lnTo>
                  <a:pt x="227807" y="33833"/>
                </a:lnTo>
                <a:lnTo>
                  <a:pt x="217658" y="16916"/>
                </a:lnTo>
                <a:lnTo>
                  <a:pt x="196794" y="0"/>
                </a:lnTo>
                <a:lnTo>
                  <a:pt x="188336" y="3383"/>
                </a:lnTo>
                <a:lnTo>
                  <a:pt x="192847" y="31013"/>
                </a:lnTo>
                <a:lnTo>
                  <a:pt x="183261" y="54132"/>
                </a:lnTo>
                <a:lnTo>
                  <a:pt x="149428" y="91912"/>
                </a:lnTo>
                <a:lnTo>
                  <a:pt x="111648" y="106009"/>
                </a:lnTo>
                <a:lnTo>
                  <a:pt x="93040" y="137023"/>
                </a:lnTo>
                <a:lnTo>
                  <a:pt x="87965" y="161270"/>
                </a:lnTo>
                <a:lnTo>
                  <a:pt x="70485" y="175931"/>
                </a:lnTo>
                <a:lnTo>
                  <a:pt x="56388" y="157886"/>
                </a:lnTo>
                <a:lnTo>
                  <a:pt x="43419" y="153939"/>
                </a:lnTo>
                <a:lnTo>
                  <a:pt x="30449" y="156759"/>
                </a:lnTo>
                <a:lnTo>
                  <a:pt x="29322" y="143789"/>
                </a:lnTo>
                <a:lnTo>
                  <a:pt x="37780" y="135331"/>
                </a:lnTo>
                <a:lnTo>
                  <a:pt x="33833" y="120106"/>
                </a:lnTo>
                <a:lnTo>
                  <a:pt x="9022" y="142662"/>
                </a:lnTo>
                <a:lnTo>
                  <a:pt x="0" y="168036"/>
                </a:lnTo>
                <a:lnTo>
                  <a:pt x="16916" y="202433"/>
                </a:lnTo>
                <a:lnTo>
                  <a:pt x="7330" y="218222"/>
                </a:lnTo>
                <a:lnTo>
                  <a:pt x="30449" y="232882"/>
                </a:lnTo>
                <a:lnTo>
                  <a:pt x="55824" y="256002"/>
                </a:lnTo>
                <a:lnTo>
                  <a:pt x="67102" y="282504"/>
                </a:lnTo>
                <a:lnTo>
                  <a:pt x="80635" y="298856"/>
                </a:lnTo>
                <a:lnTo>
                  <a:pt x="114468" y="370469"/>
                </a:lnTo>
                <a:lnTo>
                  <a:pt x="149428" y="436443"/>
                </a:lnTo>
                <a:lnTo>
                  <a:pt x="179878" y="483809"/>
                </a:lnTo>
                <a:lnTo>
                  <a:pt x="175367" y="493959"/>
                </a:lnTo>
                <a:lnTo>
                  <a:pt x="191155" y="523845"/>
                </a:lnTo>
                <a:lnTo>
                  <a:pt x="217094" y="545836"/>
                </a:lnTo>
                <a:lnTo>
                  <a:pt x="277429" y="584744"/>
                </a:lnTo>
                <a:lnTo>
                  <a:pt x="342839" y="620832"/>
                </a:lnTo>
                <a:lnTo>
                  <a:pt x="346786" y="635493"/>
                </a:lnTo>
                <a:lnTo>
                  <a:pt x="380055" y="656357"/>
                </a:lnTo>
                <a:lnTo>
                  <a:pt x="395280" y="647334"/>
                </a:lnTo>
                <a:lnTo>
                  <a:pt x="402046" y="628726"/>
                </a:lnTo>
                <a:lnTo>
                  <a:pt x="417835" y="589818"/>
                </a:lnTo>
                <a:lnTo>
                  <a:pt x="402046" y="559933"/>
                </a:lnTo>
                <a:lnTo>
                  <a:pt x="408249" y="548091"/>
                </a:lnTo>
                <a:lnTo>
                  <a:pt x="401483" y="534558"/>
                </a:lnTo>
                <a:lnTo>
                  <a:pt x="412196" y="516514"/>
                </a:lnTo>
                <a:lnTo>
                  <a:pt x="410505" y="486065"/>
                </a:lnTo>
                <a:lnTo>
                  <a:pt x="409941" y="460690"/>
                </a:lnTo>
                <a:lnTo>
                  <a:pt x="416143" y="448848"/>
                </a:lnTo>
                <a:lnTo>
                  <a:pt x="385130" y="390769"/>
                </a:lnTo>
                <a:lnTo>
                  <a:pt x="368214" y="396972"/>
                </a:lnTo>
                <a:lnTo>
                  <a:pt x="353553" y="393024"/>
                </a:lnTo>
                <a:lnTo>
                  <a:pt x="352425" y="338328"/>
                </a:lnTo>
                <a:lnTo>
                  <a:pt x="327614" y="359755"/>
                </a:lnTo>
                <a:lnTo>
                  <a:pt x="299984" y="358628"/>
                </a:lnTo>
                <a:lnTo>
                  <a:pt x="287015" y="339456"/>
                </a:lnTo>
                <a:lnTo>
                  <a:pt x="266151" y="337764"/>
                </a:lnTo>
                <a:lnTo>
                  <a:pt x="271790" y="321975"/>
                </a:lnTo>
                <a:lnTo>
                  <a:pt x="253182" y="300548"/>
                </a:lnTo>
                <a:lnTo>
                  <a:pt x="238521" y="267843"/>
                </a:lnTo>
                <a:lnTo>
                  <a:pt x="246979" y="261640"/>
                </a:lnTo>
                <a:lnTo>
                  <a:pt x="246416" y="246416"/>
                </a:lnTo>
                <a:lnTo>
                  <a:pt x="265024" y="235702"/>
                </a:lnTo>
                <a:lnTo>
                  <a:pt x="261076" y="216530"/>
                </a:lnTo>
                <a:lnTo>
                  <a:pt x="268407" y="204125"/>
                </a:lnTo>
                <a:lnTo>
                  <a:pt x="270662" y="187208"/>
                </a:lnTo>
                <a:lnTo>
                  <a:pt x="305623" y="162961"/>
                </a:lnTo>
                <a:lnTo>
                  <a:pt x="331561" y="156195"/>
                </a:lnTo>
                <a:lnTo>
                  <a:pt x="335509" y="150556"/>
                </a:lnTo>
                <a:lnTo>
                  <a:pt x="364266" y="152248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6" name="Freeform: Shape 359">
            <a:extLst>
              <a:ext uri="{FF2B5EF4-FFF2-40B4-BE49-F238E27FC236}">
                <a16:creationId xmlns:a16="http://schemas.microsoft.com/office/drawing/2014/main" id="{8E1E8E19-6C19-407B-BC64-8E1E3558243A}"/>
              </a:ext>
            </a:extLst>
          </p:cNvPr>
          <p:cNvSpPr/>
          <p:nvPr/>
        </p:nvSpPr>
        <p:spPr>
          <a:xfrm>
            <a:off x="8608258" y="3626498"/>
            <a:ext cx="223331" cy="345531"/>
          </a:xfrm>
          <a:custGeom>
            <a:avLst/>
            <a:gdLst>
              <a:gd name="connsiteX0" fmla="*/ 290962 w 298856"/>
              <a:gd name="connsiteY0" fmla="*/ 362011 h 462381"/>
              <a:gd name="connsiteX1" fmla="*/ 287579 w 298856"/>
              <a:gd name="connsiteY1" fmla="*/ 349042 h 462381"/>
              <a:gd name="connsiteX2" fmla="*/ 283068 w 298856"/>
              <a:gd name="connsiteY2" fmla="*/ 330997 h 462381"/>
              <a:gd name="connsiteX3" fmla="*/ 256002 w 298856"/>
              <a:gd name="connsiteY3" fmla="*/ 314081 h 462381"/>
              <a:gd name="connsiteX4" fmla="*/ 260512 w 298856"/>
              <a:gd name="connsiteY4" fmla="*/ 341711 h 462381"/>
              <a:gd name="connsiteX5" fmla="*/ 238522 w 298856"/>
              <a:gd name="connsiteY5" fmla="*/ 342839 h 462381"/>
              <a:gd name="connsiteX6" fmla="*/ 234574 w 298856"/>
              <a:gd name="connsiteY6" fmla="*/ 358628 h 462381"/>
              <a:gd name="connsiteX7" fmla="*/ 210891 w 298856"/>
              <a:gd name="connsiteY7" fmla="*/ 368214 h 462381"/>
              <a:gd name="connsiteX8" fmla="*/ 198485 w 298856"/>
              <a:gd name="connsiteY8" fmla="*/ 352425 h 462381"/>
              <a:gd name="connsiteX9" fmla="*/ 182697 w 298856"/>
              <a:gd name="connsiteY9" fmla="*/ 365958 h 462381"/>
              <a:gd name="connsiteX10" fmla="*/ 163525 w 298856"/>
              <a:gd name="connsiteY10" fmla="*/ 375544 h 462381"/>
              <a:gd name="connsiteX11" fmla="*/ 152811 w 298856"/>
              <a:gd name="connsiteY11" fmla="*/ 405994 h 462381"/>
              <a:gd name="connsiteX12" fmla="*/ 159014 w 298856"/>
              <a:gd name="connsiteY12" fmla="*/ 416707 h 462381"/>
              <a:gd name="connsiteX13" fmla="*/ 181005 w 298856"/>
              <a:gd name="connsiteY13" fmla="*/ 396408 h 462381"/>
              <a:gd name="connsiteX14" fmla="*/ 196231 w 298856"/>
              <a:gd name="connsiteY14" fmla="*/ 398099 h 462381"/>
              <a:gd name="connsiteX15" fmla="*/ 204689 w 298856"/>
              <a:gd name="connsiteY15" fmla="*/ 382875 h 462381"/>
              <a:gd name="connsiteX16" fmla="*/ 226116 w 298856"/>
              <a:gd name="connsiteY16" fmla="*/ 399791 h 462381"/>
              <a:gd name="connsiteX17" fmla="*/ 217658 w 298856"/>
              <a:gd name="connsiteY17" fmla="*/ 417271 h 462381"/>
              <a:gd name="connsiteX18" fmla="*/ 228371 w 298856"/>
              <a:gd name="connsiteY18" fmla="*/ 443210 h 462381"/>
              <a:gd name="connsiteX19" fmla="*/ 266716 w 298856"/>
              <a:gd name="connsiteY19" fmla="*/ 464073 h 462381"/>
              <a:gd name="connsiteX20" fmla="*/ 274609 w 298856"/>
              <a:gd name="connsiteY20" fmla="*/ 447157 h 462381"/>
              <a:gd name="connsiteX21" fmla="*/ 262768 w 298856"/>
              <a:gd name="connsiteY21" fmla="*/ 420655 h 462381"/>
              <a:gd name="connsiteX22" fmla="*/ 276301 w 298856"/>
              <a:gd name="connsiteY22" fmla="*/ 402610 h 462381"/>
              <a:gd name="connsiteX23" fmla="*/ 290398 w 298856"/>
              <a:gd name="connsiteY23" fmla="*/ 438699 h 462381"/>
              <a:gd name="connsiteX24" fmla="*/ 298856 w 298856"/>
              <a:gd name="connsiteY24" fmla="*/ 405994 h 462381"/>
              <a:gd name="connsiteX25" fmla="*/ 295473 w 298856"/>
              <a:gd name="connsiteY25" fmla="*/ 386258 h 462381"/>
              <a:gd name="connsiteX26" fmla="*/ 290962 w 298856"/>
              <a:gd name="connsiteY26" fmla="*/ 362011 h 462381"/>
              <a:gd name="connsiteX27" fmla="*/ 209199 w 298856"/>
              <a:gd name="connsiteY27" fmla="*/ 295473 h 462381"/>
              <a:gd name="connsiteX28" fmla="*/ 209199 w 298856"/>
              <a:gd name="connsiteY28" fmla="*/ 261077 h 462381"/>
              <a:gd name="connsiteX29" fmla="*/ 188900 w 298856"/>
              <a:gd name="connsiteY29" fmla="*/ 295473 h 462381"/>
              <a:gd name="connsiteX30" fmla="*/ 191719 w 298856"/>
              <a:gd name="connsiteY30" fmla="*/ 271790 h 462381"/>
              <a:gd name="connsiteX31" fmla="*/ 174803 w 298856"/>
              <a:gd name="connsiteY31" fmla="*/ 273482 h 462381"/>
              <a:gd name="connsiteX32" fmla="*/ 173111 w 298856"/>
              <a:gd name="connsiteY32" fmla="*/ 296037 h 462381"/>
              <a:gd name="connsiteX33" fmla="*/ 166345 w 298856"/>
              <a:gd name="connsiteY33" fmla="*/ 306187 h 462381"/>
              <a:gd name="connsiteX34" fmla="*/ 160706 w 298856"/>
              <a:gd name="connsiteY34" fmla="*/ 315773 h 462381"/>
              <a:gd name="connsiteX35" fmla="*/ 182134 w 298856"/>
              <a:gd name="connsiteY35" fmla="*/ 340584 h 462381"/>
              <a:gd name="connsiteX36" fmla="*/ 191155 w 298856"/>
              <a:gd name="connsiteY36" fmla="*/ 329870 h 462381"/>
              <a:gd name="connsiteX37" fmla="*/ 199050 w 298856"/>
              <a:gd name="connsiteY37" fmla="*/ 307315 h 462381"/>
              <a:gd name="connsiteX38" fmla="*/ 209199 w 298856"/>
              <a:gd name="connsiteY38" fmla="*/ 295473 h 462381"/>
              <a:gd name="connsiteX39" fmla="*/ 39472 w 298856"/>
              <a:gd name="connsiteY39" fmla="*/ 329870 h 462381"/>
              <a:gd name="connsiteX40" fmla="*/ 54132 w 298856"/>
              <a:gd name="connsiteY40" fmla="*/ 305059 h 462381"/>
              <a:gd name="connsiteX41" fmla="*/ 73304 w 298856"/>
              <a:gd name="connsiteY41" fmla="*/ 285323 h 462381"/>
              <a:gd name="connsiteX42" fmla="*/ 64846 w 298856"/>
              <a:gd name="connsiteY42" fmla="*/ 256002 h 462381"/>
              <a:gd name="connsiteX43" fmla="*/ 51313 w 298856"/>
              <a:gd name="connsiteY43" fmla="*/ 291526 h 462381"/>
              <a:gd name="connsiteX44" fmla="*/ 34960 w 298856"/>
              <a:gd name="connsiteY44" fmla="*/ 316337 h 462381"/>
              <a:gd name="connsiteX45" fmla="*/ 13533 w 298856"/>
              <a:gd name="connsiteY45" fmla="*/ 338892 h 462381"/>
              <a:gd name="connsiteX46" fmla="*/ 0 w 298856"/>
              <a:gd name="connsiteY46" fmla="*/ 363703 h 462381"/>
              <a:gd name="connsiteX47" fmla="*/ 39472 w 298856"/>
              <a:gd name="connsiteY47" fmla="*/ 329870 h 462381"/>
              <a:gd name="connsiteX48" fmla="*/ 137587 w 298856"/>
              <a:gd name="connsiteY48" fmla="*/ 237394 h 462381"/>
              <a:gd name="connsiteX49" fmla="*/ 144353 w 298856"/>
              <a:gd name="connsiteY49" fmla="*/ 254310 h 462381"/>
              <a:gd name="connsiteX50" fmla="*/ 143789 w 298856"/>
              <a:gd name="connsiteY50" fmla="*/ 272918 h 462381"/>
              <a:gd name="connsiteX51" fmla="*/ 146609 w 298856"/>
              <a:gd name="connsiteY51" fmla="*/ 289271 h 462381"/>
              <a:gd name="connsiteX52" fmla="*/ 165217 w 298856"/>
              <a:gd name="connsiteY52" fmla="*/ 278557 h 462381"/>
              <a:gd name="connsiteX53" fmla="*/ 178750 w 298856"/>
              <a:gd name="connsiteY53" fmla="*/ 263332 h 462381"/>
              <a:gd name="connsiteX54" fmla="*/ 177622 w 298856"/>
              <a:gd name="connsiteY54" fmla="*/ 248671 h 462381"/>
              <a:gd name="connsiteX55" fmla="*/ 157323 w 298856"/>
              <a:gd name="connsiteY55" fmla="*/ 248671 h 462381"/>
              <a:gd name="connsiteX56" fmla="*/ 137587 w 298856"/>
              <a:gd name="connsiteY56" fmla="*/ 237394 h 462381"/>
              <a:gd name="connsiteX57" fmla="*/ 250363 w 298856"/>
              <a:gd name="connsiteY57" fmla="*/ 227808 h 462381"/>
              <a:gd name="connsiteX58" fmla="*/ 240213 w 298856"/>
              <a:gd name="connsiteY58" fmla="*/ 214274 h 462381"/>
              <a:gd name="connsiteX59" fmla="*/ 209763 w 298856"/>
              <a:gd name="connsiteY59" fmla="*/ 213711 h 462381"/>
              <a:gd name="connsiteX60" fmla="*/ 232318 w 298856"/>
              <a:gd name="connsiteY60" fmla="*/ 240777 h 462381"/>
              <a:gd name="connsiteX61" fmla="*/ 234010 w 298856"/>
              <a:gd name="connsiteY61" fmla="*/ 254310 h 462381"/>
              <a:gd name="connsiteX62" fmla="*/ 215402 w 298856"/>
              <a:gd name="connsiteY62" fmla="*/ 251491 h 462381"/>
              <a:gd name="connsiteX63" fmla="*/ 222169 w 298856"/>
              <a:gd name="connsiteY63" fmla="*/ 273482 h 462381"/>
              <a:gd name="connsiteX64" fmla="*/ 231755 w 298856"/>
              <a:gd name="connsiteY64" fmla="*/ 275174 h 462381"/>
              <a:gd name="connsiteX65" fmla="*/ 235702 w 298856"/>
              <a:gd name="connsiteY65" fmla="*/ 300548 h 462381"/>
              <a:gd name="connsiteX66" fmla="*/ 249799 w 298856"/>
              <a:gd name="connsiteY66" fmla="*/ 292654 h 462381"/>
              <a:gd name="connsiteX67" fmla="*/ 240213 w 298856"/>
              <a:gd name="connsiteY67" fmla="*/ 270099 h 462381"/>
              <a:gd name="connsiteX68" fmla="*/ 237957 w 298856"/>
              <a:gd name="connsiteY68" fmla="*/ 258257 h 462381"/>
              <a:gd name="connsiteX69" fmla="*/ 263332 w 298856"/>
              <a:gd name="connsiteY69" fmla="*/ 267843 h 462381"/>
              <a:gd name="connsiteX70" fmla="*/ 250363 w 298856"/>
              <a:gd name="connsiteY70" fmla="*/ 227808 h 462381"/>
              <a:gd name="connsiteX71" fmla="*/ 121234 w 298856"/>
              <a:gd name="connsiteY71" fmla="*/ 195103 h 462381"/>
              <a:gd name="connsiteX72" fmla="*/ 108829 w 298856"/>
              <a:gd name="connsiteY72" fmla="*/ 182133 h 462381"/>
              <a:gd name="connsiteX73" fmla="*/ 81763 w 298856"/>
              <a:gd name="connsiteY73" fmla="*/ 181006 h 462381"/>
              <a:gd name="connsiteX74" fmla="*/ 100935 w 298856"/>
              <a:gd name="connsiteY74" fmla="*/ 208072 h 462381"/>
              <a:gd name="connsiteX75" fmla="*/ 116723 w 298856"/>
              <a:gd name="connsiteY75" fmla="*/ 226116 h 462381"/>
              <a:gd name="connsiteX76" fmla="*/ 121234 w 298856"/>
              <a:gd name="connsiteY76" fmla="*/ 195103 h 462381"/>
              <a:gd name="connsiteX77" fmla="*/ 85146 w 298856"/>
              <a:gd name="connsiteY77" fmla="*/ 0 h 462381"/>
              <a:gd name="connsiteX78" fmla="*/ 66538 w 298856"/>
              <a:gd name="connsiteY78" fmla="*/ 0 h 462381"/>
              <a:gd name="connsiteX79" fmla="*/ 61463 w 298856"/>
              <a:gd name="connsiteY79" fmla="*/ 32705 h 462381"/>
              <a:gd name="connsiteX80" fmla="*/ 67666 w 298856"/>
              <a:gd name="connsiteY80" fmla="*/ 88529 h 462381"/>
              <a:gd name="connsiteX81" fmla="*/ 53005 w 298856"/>
              <a:gd name="connsiteY81" fmla="*/ 77252 h 462381"/>
              <a:gd name="connsiteX82" fmla="*/ 59771 w 298856"/>
              <a:gd name="connsiteY82" fmla="*/ 111084 h 462381"/>
              <a:gd name="connsiteX83" fmla="*/ 66538 w 298856"/>
              <a:gd name="connsiteY83" fmla="*/ 126873 h 462381"/>
              <a:gd name="connsiteX84" fmla="*/ 85146 w 298856"/>
              <a:gd name="connsiteY84" fmla="*/ 147737 h 462381"/>
              <a:gd name="connsiteX85" fmla="*/ 87401 w 298856"/>
              <a:gd name="connsiteY85" fmla="*/ 134767 h 462381"/>
              <a:gd name="connsiteX86" fmla="*/ 97552 w 298856"/>
              <a:gd name="connsiteY86" fmla="*/ 142662 h 462381"/>
              <a:gd name="connsiteX87" fmla="*/ 89093 w 298856"/>
              <a:gd name="connsiteY87" fmla="*/ 152248 h 462381"/>
              <a:gd name="connsiteX88" fmla="*/ 89657 w 298856"/>
              <a:gd name="connsiteY88" fmla="*/ 166909 h 462381"/>
              <a:gd name="connsiteX89" fmla="*/ 106010 w 298856"/>
              <a:gd name="connsiteY89" fmla="*/ 174803 h 462381"/>
              <a:gd name="connsiteX90" fmla="*/ 134204 w 298856"/>
              <a:gd name="connsiteY90" fmla="*/ 169728 h 462381"/>
              <a:gd name="connsiteX91" fmla="*/ 156759 w 298856"/>
              <a:gd name="connsiteY91" fmla="*/ 191155 h 462381"/>
              <a:gd name="connsiteX92" fmla="*/ 162961 w 298856"/>
              <a:gd name="connsiteY92" fmla="*/ 177622 h 462381"/>
              <a:gd name="connsiteX93" fmla="*/ 177058 w 298856"/>
              <a:gd name="connsiteY93" fmla="*/ 196794 h 462381"/>
              <a:gd name="connsiteX94" fmla="*/ 204124 w 298856"/>
              <a:gd name="connsiteY94" fmla="*/ 214274 h 462381"/>
              <a:gd name="connsiteX95" fmla="*/ 205252 w 298856"/>
              <a:gd name="connsiteY95" fmla="*/ 197922 h 462381"/>
              <a:gd name="connsiteX96" fmla="*/ 193975 w 298856"/>
              <a:gd name="connsiteY96" fmla="*/ 188900 h 462381"/>
              <a:gd name="connsiteX97" fmla="*/ 194539 w 298856"/>
              <a:gd name="connsiteY97" fmla="*/ 169728 h 462381"/>
              <a:gd name="connsiteX98" fmla="*/ 152248 w 298856"/>
              <a:gd name="connsiteY98" fmla="*/ 149428 h 462381"/>
              <a:gd name="connsiteX99" fmla="*/ 139278 w 298856"/>
              <a:gd name="connsiteY99" fmla="*/ 153939 h 462381"/>
              <a:gd name="connsiteX100" fmla="*/ 121798 w 298856"/>
              <a:gd name="connsiteY100" fmla="*/ 149992 h 462381"/>
              <a:gd name="connsiteX101" fmla="*/ 110520 w 298856"/>
              <a:gd name="connsiteY101" fmla="*/ 121234 h 462381"/>
              <a:gd name="connsiteX102" fmla="*/ 111084 w 298856"/>
              <a:gd name="connsiteY102" fmla="*/ 92476 h 462381"/>
              <a:gd name="connsiteX103" fmla="*/ 128000 w 298856"/>
              <a:gd name="connsiteY103" fmla="*/ 80635 h 462381"/>
              <a:gd name="connsiteX104" fmla="*/ 131384 w 298856"/>
              <a:gd name="connsiteY104" fmla="*/ 50749 h 462381"/>
              <a:gd name="connsiteX105" fmla="*/ 116159 w 298856"/>
              <a:gd name="connsiteY105" fmla="*/ 24811 h 462381"/>
              <a:gd name="connsiteX106" fmla="*/ 118415 w 298856"/>
              <a:gd name="connsiteY106" fmla="*/ 10150 h 462381"/>
              <a:gd name="connsiteX107" fmla="*/ 114468 w 298856"/>
              <a:gd name="connsiteY107" fmla="*/ 1128 h 462381"/>
              <a:gd name="connsiteX108" fmla="*/ 106010 w 298856"/>
              <a:gd name="connsiteY108" fmla="*/ 10150 h 462381"/>
              <a:gd name="connsiteX109" fmla="*/ 85146 w 298856"/>
              <a:gd name="connsiteY109" fmla="*/ 0 h 462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</a:cxnLst>
            <a:rect l="l" t="t" r="r" b="b"/>
            <a:pathLst>
              <a:path w="298856" h="462381">
                <a:moveTo>
                  <a:pt x="290962" y="362011"/>
                </a:moveTo>
                <a:lnTo>
                  <a:pt x="287579" y="349042"/>
                </a:lnTo>
                <a:lnTo>
                  <a:pt x="283068" y="330997"/>
                </a:lnTo>
                <a:lnTo>
                  <a:pt x="256002" y="314081"/>
                </a:lnTo>
                <a:lnTo>
                  <a:pt x="260512" y="341711"/>
                </a:lnTo>
                <a:lnTo>
                  <a:pt x="238522" y="342839"/>
                </a:lnTo>
                <a:lnTo>
                  <a:pt x="234574" y="358628"/>
                </a:lnTo>
                <a:lnTo>
                  <a:pt x="210891" y="368214"/>
                </a:lnTo>
                <a:lnTo>
                  <a:pt x="198485" y="352425"/>
                </a:lnTo>
                <a:lnTo>
                  <a:pt x="182697" y="365958"/>
                </a:lnTo>
                <a:lnTo>
                  <a:pt x="163525" y="375544"/>
                </a:lnTo>
                <a:lnTo>
                  <a:pt x="152811" y="405994"/>
                </a:lnTo>
                <a:lnTo>
                  <a:pt x="159014" y="416707"/>
                </a:lnTo>
                <a:lnTo>
                  <a:pt x="181005" y="396408"/>
                </a:lnTo>
                <a:lnTo>
                  <a:pt x="196231" y="398099"/>
                </a:lnTo>
                <a:lnTo>
                  <a:pt x="204689" y="382875"/>
                </a:lnTo>
                <a:lnTo>
                  <a:pt x="226116" y="399791"/>
                </a:lnTo>
                <a:lnTo>
                  <a:pt x="217658" y="417271"/>
                </a:lnTo>
                <a:lnTo>
                  <a:pt x="228371" y="443210"/>
                </a:lnTo>
                <a:lnTo>
                  <a:pt x="266716" y="464073"/>
                </a:lnTo>
                <a:lnTo>
                  <a:pt x="274609" y="447157"/>
                </a:lnTo>
                <a:lnTo>
                  <a:pt x="262768" y="420655"/>
                </a:lnTo>
                <a:lnTo>
                  <a:pt x="276301" y="402610"/>
                </a:lnTo>
                <a:lnTo>
                  <a:pt x="290398" y="438699"/>
                </a:lnTo>
                <a:lnTo>
                  <a:pt x="298856" y="405994"/>
                </a:lnTo>
                <a:lnTo>
                  <a:pt x="295473" y="386258"/>
                </a:lnTo>
                <a:lnTo>
                  <a:pt x="290962" y="362011"/>
                </a:lnTo>
                <a:close/>
                <a:moveTo>
                  <a:pt x="209199" y="295473"/>
                </a:moveTo>
                <a:lnTo>
                  <a:pt x="209199" y="261077"/>
                </a:lnTo>
                <a:lnTo>
                  <a:pt x="188900" y="295473"/>
                </a:lnTo>
                <a:lnTo>
                  <a:pt x="191719" y="271790"/>
                </a:lnTo>
                <a:lnTo>
                  <a:pt x="174803" y="273482"/>
                </a:lnTo>
                <a:lnTo>
                  <a:pt x="173111" y="296037"/>
                </a:lnTo>
                <a:lnTo>
                  <a:pt x="166345" y="306187"/>
                </a:lnTo>
                <a:lnTo>
                  <a:pt x="160706" y="315773"/>
                </a:lnTo>
                <a:lnTo>
                  <a:pt x="182134" y="340584"/>
                </a:lnTo>
                <a:lnTo>
                  <a:pt x="191155" y="329870"/>
                </a:lnTo>
                <a:lnTo>
                  <a:pt x="199050" y="307315"/>
                </a:lnTo>
                <a:lnTo>
                  <a:pt x="209199" y="295473"/>
                </a:lnTo>
                <a:close/>
                <a:moveTo>
                  <a:pt x="39472" y="329870"/>
                </a:moveTo>
                <a:lnTo>
                  <a:pt x="54132" y="305059"/>
                </a:lnTo>
                <a:lnTo>
                  <a:pt x="73304" y="285323"/>
                </a:lnTo>
                <a:lnTo>
                  <a:pt x="64846" y="256002"/>
                </a:lnTo>
                <a:lnTo>
                  <a:pt x="51313" y="291526"/>
                </a:lnTo>
                <a:lnTo>
                  <a:pt x="34960" y="316337"/>
                </a:lnTo>
                <a:lnTo>
                  <a:pt x="13533" y="338892"/>
                </a:lnTo>
                <a:lnTo>
                  <a:pt x="0" y="363703"/>
                </a:lnTo>
                <a:lnTo>
                  <a:pt x="39472" y="329870"/>
                </a:lnTo>
                <a:close/>
                <a:moveTo>
                  <a:pt x="137587" y="237394"/>
                </a:moveTo>
                <a:lnTo>
                  <a:pt x="144353" y="254310"/>
                </a:lnTo>
                <a:lnTo>
                  <a:pt x="143789" y="272918"/>
                </a:lnTo>
                <a:lnTo>
                  <a:pt x="146609" y="289271"/>
                </a:lnTo>
                <a:lnTo>
                  <a:pt x="165217" y="278557"/>
                </a:lnTo>
                <a:lnTo>
                  <a:pt x="178750" y="263332"/>
                </a:lnTo>
                <a:lnTo>
                  <a:pt x="177622" y="248671"/>
                </a:lnTo>
                <a:lnTo>
                  <a:pt x="157323" y="248671"/>
                </a:lnTo>
                <a:lnTo>
                  <a:pt x="137587" y="237394"/>
                </a:lnTo>
                <a:close/>
                <a:moveTo>
                  <a:pt x="250363" y="227808"/>
                </a:moveTo>
                <a:lnTo>
                  <a:pt x="240213" y="214274"/>
                </a:lnTo>
                <a:lnTo>
                  <a:pt x="209763" y="213711"/>
                </a:lnTo>
                <a:lnTo>
                  <a:pt x="232318" y="240777"/>
                </a:lnTo>
                <a:lnTo>
                  <a:pt x="234010" y="254310"/>
                </a:lnTo>
                <a:lnTo>
                  <a:pt x="215402" y="251491"/>
                </a:lnTo>
                <a:lnTo>
                  <a:pt x="222169" y="273482"/>
                </a:lnTo>
                <a:lnTo>
                  <a:pt x="231755" y="275174"/>
                </a:lnTo>
                <a:lnTo>
                  <a:pt x="235702" y="300548"/>
                </a:lnTo>
                <a:lnTo>
                  <a:pt x="249799" y="292654"/>
                </a:lnTo>
                <a:lnTo>
                  <a:pt x="240213" y="270099"/>
                </a:lnTo>
                <a:lnTo>
                  <a:pt x="237957" y="258257"/>
                </a:lnTo>
                <a:lnTo>
                  <a:pt x="263332" y="267843"/>
                </a:lnTo>
                <a:lnTo>
                  <a:pt x="250363" y="227808"/>
                </a:lnTo>
                <a:close/>
                <a:moveTo>
                  <a:pt x="121234" y="195103"/>
                </a:moveTo>
                <a:lnTo>
                  <a:pt x="108829" y="182133"/>
                </a:lnTo>
                <a:lnTo>
                  <a:pt x="81763" y="181006"/>
                </a:lnTo>
                <a:lnTo>
                  <a:pt x="100935" y="208072"/>
                </a:lnTo>
                <a:lnTo>
                  <a:pt x="116723" y="226116"/>
                </a:lnTo>
                <a:lnTo>
                  <a:pt x="121234" y="195103"/>
                </a:lnTo>
                <a:close/>
                <a:moveTo>
                  <a:pt x="85146" y="0"/>
                </a:moveTo>
                <a:lnTo>
                  <a:pt x="66538" y="0"/>
                </a:lnTo>
                <a:lnTo>
                  <a:pt x="61463" y="32705"/>
                </a:lnTo>
                <a:lnTo>
                  <a:pt x="67666" y="88529"/>
                </a:lnTo>
                <a:lnTo>
                  <a:pt x="53005" y="77252"/>
                </a:lnTo>
                <a:lnTo>
                  <a:pt x="59771" y="111084"/>
                </a:lnTo>
                <a:lnTo>
                  <a:pt x="66538" y="126873"/>
                </a:lnTo>
                <a:lnTo>
                  <a:pt x="85146" y="147737"/>
                </a:lnTo>
                <a:lnTo>
                  <a:pt x="87401" y="134767"/>
                </a:lnTo>
                <a:lnTo>
                  <a:pt x="97552" y="142662"/>
                </a:lnTo>
                <a:lnTo>
                  <a:pt x="89093" y="152248"/>
                </a:lnTo>
                <a:lnTo>
                  <a:pt x="89657" y="166909"/>
                </a:lnTo>
                <a:lnTo>
                  <a:pt x="106010" y="174803"/>
                </a:lnTo>
                <a:lnTo>
                  <a:pt x="134204" y="169728"/>
                </a:lnTo>
                <a:lnTo>
                  <a:pt x="156759" y="191155"/>
                </a:lnTo>
                <a:lnTo>
                  <a:pt x="162961" y="177622"/>
                </a:lnTo>
                <a:lnTo>
                  <a:pt x="177058" y="196794"/>
                </a:lnTo>
                <a:lnTo>
                  <a:pt x="204124" y="214274"/>
                </a:lnTo>
                <a:lnTo>
                  <a:pt x="205252" y="197922"/>
                </a:lnTo>
                <a:lnTo>
                  <a:pt x="193975" y="188900"/>
                </a:lnTo>
                <a:lnTo>
                  <a:pt x="194539" y="169728"/>
                </a:lnTo>
                <a:lnTo>
                  <a:pt x="152248" y="149428"/>
                </a:lnTo>
                <a:lnTo>
                  <a:pt x="139278" y="153939"/>
                </a:lnTo>
                <a:lnTo>
                  <a:pt x="121798" y="149992"/>
                </a:lnTo>
                <a:lnTo>
                  <a:pt x="110520" y="121234"/>
                </a:lnTo>
                <a:lnTo>
                  <a:pt x="111084" y="92476"/>
                </a:lnTo>
                <a:lnTo>
                  <a:pt x="128000" y="80635"/>
                </a:lnTo>
                <a:lnTo>
                  <a:pt x="131384" y="50749"/>
                </a:lnTo>
                <a:lnTo>
                  <a:pt x="116159" y="24811"/>
                </a:lnTo>
                <a:lnTo>
                  <a:pt x="118415" y="10150"/>
                </a:lnTo>
                <a:lnTo>
                  <a:pt x="114468" y="1128"/>
                </a:lnTo>
                <a:lnTo>
                  <a:pt x="106010" y="10150"/>
                </a:lnTo>
                <a:lnTo>
                  <a:pt x="85146" y="0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7" name="Freeform: Shape 360">
            <a:extLst>
              <a:ext uri="{FF2B5EF4-FFF2-40B4-BE49-F238E27FC236}">
                <a16:creationId xmlns:a16="http://schemas.microsoft.com/office/drawing/2014/main" id="{7529A840-1713-4CE1-8345-55FFE28B88C1}"/>
              </a:ext>
            </a:extLst>
          </p:cNvPr>
          <p:cNvSpPr/>
          <p:nvPr/>
        </p:nvSpPr>
        <p:spPr>
          <a:xfrm>
            <a:off x="9169958" y="4189881"/>
            <a:ext cx="358172" cy="214903"/>
          </a:xfrm>
          <a:custGeom>
            <a:avLst/>
            <a:gdLst>
              <a:gd name="connsiteX0" fmla="*/ 475914 w 479298"/>
              <a:gd name="connsiteY0" fmla="*/ 155067 h 287578"/>
              <a:gd name="connsiteX1" fmla="*/ 480989 w 479298"/>
              <a:gd name="connsiteY1" fmla="*/ 144917 h 287578"/>
              <a:gd name="connsiteX2" fmla="*/ 467456 w 479298"/>
              <a:gd name="connsiteY2" fmla="*/ 132512 h 287578"/>
              <a:gd name="connsiteX3" fmla="*/ 453359 w 479298"/>
              <a:gd name="connsiteY3" fmla="*/ 109957 h 287578"/>
              <a:gd name="connsiteX4" fmla="*/ 444337 w 479298"/>
              <a:gd name="connsiteY4" fmla="*/ 101498 h 287578"/>
              <a:gd name="connsiteX5" fmla="*/ 441518 w 479298"/>
              <a:gd name="connsiteY5" fmla="*/ 90785 h 287578"/>
              <a:gd name="connsiteX6" fmla="*/ 437007 w 479298"/>
              <a:gd name="connsiteY6" fmla="*/ 94732 h 287578"/>
              <a:gd name="connsiteX7" fmla="*/ 442081 w 479298"/>
              <a:gd name="connsiteY7" fmla="*/ 121798 h 287578"/>
              <a:gd name="connsiteX8" fmla="*/ 454487 w 479298"/>
              <a:gd name="connsiteY8" fmla="*/ 144353 h 287578"/>
              <a:gd name="connsiteX9" fmla="*/ 466892 w 479298"/>
              <a:gd name="connsiteY9" fmla="*/ 158450 h 287578"/>
              <a:gd name="connsiteX10" fmla="*/ 475914 w 479298"/>
              <a:gd name="connsiteY10" fmla="*/ 155067 h 287578"/>
              <a:gd name="connsiteX11" fmla="*/ 356372 w 479298"/>
              <a:gd name="connsiteY11" fmla="*/ 106573 h 287578"/>
              <a:gd name="connsiteX12" fmla="*/ 368213 w 479298"/>
              <a:gd name="connsiteY12" fmla="*/ 84582 h 287578"/>
              <a:gd name="connsiteX13" fmla="*/ 370469 w 479298"/>
              <a:gd name="connsiteY13" fmla="*/ 64846 h 287578"/>
              <a:gd name="connsiteX14" fmla="*/ 364266 w 479298"/>
              <a:gd name="connsiteY14" fmla="*/ 59207 h 287578"/>
              <a:gd name="connsiteX15" fmla="*/ 345094 w 479298"/>
              <a:gd name="connsiteY15" fmla="*/ 59771 h 287578"/>
              <a:gd name="connsiteX16" fmla="*/ 347350 w 479298"/>
              <a:gd name="connsiteY16" fmla="*/ 80635 h 287578"/>
              <a:gd name="connsiteX17" fmla="*/ 328742 w 479298"/>
              <a:gd name="connsiteY17" fmla="*/ 93604 h 287578"/>
              <a:gd name="connsiteX18" fmla="*/ 319156 w 479298"/>
              <a:gd name="connsiteY18" fmla="*/ 106010 h 287578"/>
              <a:gd name="connsiteX19" fmla="*/ 301111 w 479298"/>
              <a:gd name="connsiteY19" fmla="*/ 108829 h 287578"/>
              <a:gd name="connsiteX20" fmla="*/ 298856 w 479298"/>
              <a:gd name="connsiteY20" fmla="*/ 89657 h 287578"/>
              <a:gd name="connsiteX21" fmla="*/ 294345 w 479298"/>
              <a:gd name="connsiteY21" fmla="*/ 90221 h 287578"/>
              <a:gd name="connsiteX22" fmla="*/ 288706 w 479298"/>
              <a:gd name="connsiteY22" fmla="*/ 107701 h 287578"/>
              <a:gd name="connsiteX23" fmla="*/ 271226 w 479298"/>
              <a:gd name="connsiteY23" fmla="*/ 110521 h 287578"/>
              <a:gd name="connsiteX24" fmla="*/ 243032 w 479298"/>
              <a:gd name="connsiteY24" fmla="*/ 105446 h 287578"/>
              <a:gd name="connsiteX25" fmla="*/ 239649 w 479298"/>
              <a:gd name="connsiteY25" fmla="*/ 116159 h 287578"/>
              <a:gd name="connsiteX26" fmla="*/ 257129 w 479298"/>
              <a:gd name="connsiteY26" fmla="*/ 126309 h 287578"/>
              <a:gd name="connsiteX27" fmla="*/ 282504 w 479298"/>
              <a:gd name="connsiteY27" fmla="*/ 137023 h 287578"/>
              <a:gd name="connsiteX28" fmla="*/ 298856 w 479298"/>
              <a:gd name="connsiteY28" fmla="*/ 137023 h 287578"/>
              <a:gd name="connsiteX29" fmla="*/ 315773 w 479298"/>
              <a:gd name="connsiteY29" fmla="*/ 128565 h 287578"/>
              <a:gd name="connsiteX30" fmla="*/ 333817 w 479298"/>
              <a:gd name="connsiteY30" fmla="*/ 119543 h 287578"/>
              <a:gd name="connsiteX31" fmla="*/ 339456 w 479298"/>
              <a:gd name="connsiteY31" fmla="*/ 109393 h 287578"/>
              <a:gd name="connsiteX32" fmla="*/ 356372 w 479298"/>
              <a:gd name="connsiteY32" fmla="*/ 106573 h 287578"/>
              <a:gd name="connsiteX33" fmla="*/ 199613 w 479298"/>
              <a:gd name="connsiteY33" fmla="*/ 175367 h 287578"/>
              <a:gd name="connsiteX34" fmla="*/ 194539 w 479298"/>
              <a:gd name="connsiteY34" fmla="*/ 151120 h 287578"/>
              <a:gd name="connsiteX35" fmla="*/ 223860 w 479298"/>
              <a:gd name="connsiteY35" fmla="*/ 147173 h 287578"/>
              <a:gd name="connsiteX36" fmla="*/ 217658 w 479298"/>
              <a:gd name="connsiteY36" fmla="*/ 128565 h 287578"/>
              <a:gd name="connsiteX37" fmla="*/ 166345 w 479298"/>
              <a:gd name="connsiteY37" fmla="*/ 106010 h 287578"/>
              <a:gd name="connsiteX38" fmla="*/ 162961 w 479298"/>
              <a:gd name="connsiteY38" fmla="*/ 85146 h 287578"/>
              <a:gd name="connsiteX39" fmla="*/ 146609 w 479298"/>
              <a:gd name="connsiteY39" fmla="*/ 67102 h 287578"/>
              <a:gd name="connsiteX40" fmla="*/ 125745 w 479298"/>
              <a:gd name="connsiteY40" fmla="*/ 48494 h 287578"/>
              <a:gd name="connsiteX41" fmla="*/ 68229 w 479298"/>
              <a:gd name="connsiteY41" fmla="*/ 28194 h 287578"/>
              <a:gd name="connsiteX42" fmla="*/ 14097 w 479298"/>
              <a:gd name="connsiteY42" fmla="*/ 3383 h 287578"/>
              <a:gd name="connsiteX43" fmla="*/ 8458 w 479298"/>
              <a:gd name="connsiteY43" fmla="*/ 120107 h 287578"/>
              <a:gd name="connsiteX44" fmla="*/ 0 w 479298"/>
              <a:gd name="connsiteY44" fmla="*/ 237394 h 287578"/>
              <a:gd name="connsiteX45" fmla="*/ 32141 w 479298"/>
              <a:gd name="connsiteY45" fmla="*/ 238522 h 287578"/>
              <a:gd name="connsiteX46" fmla="*/ 49621 w 479298"/>
              <a:gd name="connsiteY46" fmla="*/ 244724 h 287578"/>
              <a:gd name="connsiteX47" fmla="*/ 75559 w 479298"/>
              <a:gd name="connsiteY47" fmla="*/ 232319 h 287578"/>
              <a:gd name="connsiteX48" fmla="*/ 73868 w 479298"/>
              <a:gd name="connsiteY48" fmla="*/ 205816 h 287578"/>
              <a:gd name="connsiteX49" fmla="*/ 94168 w 479298"/>
              <a:gd name="connsiteY49" fmla="*/ 193975 h 287578"/>
              <a:gd name="connsiteX50" fmla="*/ 121798 w 479298"/>
              <a:gd name="connsiteY50" fmla="*/ 183825 h 287578"/>
              <a:gd name="connsiteX51" fmla="*/ 161270 w 479298"/>
              <a:gd name="connsiteY51" fmla="*/ 199614 h 287578"/>
              <a:gd name="connsiteX52" fmla="*/ 174803 w 479298"/>
              <a:gd name="connsiteY52" fmla="*/ 231191 h 287578"/>
              <a:gd name="connsiteX53" fmla="*/ 191155 w 479298"/>
              <a:gd name="connsiteY53" fmla="*/ 250927 h 287578"/>
              <a:gd name="connsiteX54" fmla="*/ 213146 w 479298"/>
              <a:gd name="connsiteY54" fmla="*/ 273482 h 287578"/>
              <a:gd name="connsiteX55" fmla="*/ 244160 w 479298"/>
              <a:gd name="connsiteY55" fmla="*/ 279121 h 287578"/>
              <a:gd name="connsiteX56" fmla="*/ 271226 w 479298"/>
              <a:gd name="connsiteY56" fmla="*/ 283068 h 287578"/>
              <a:gd name="connsiteX57" fmla="*/ 277429 w 479298"/>
              <a:gd name="connsiteY57" fmla="*/ 292090 h 287578"/>
              <a:gd name="connsiteX58" fmla="*/ 298856 w 479298"/>
              <a:gd name="connsiteY58" fmla="*/ 289834 h 287578"/>
              <a:gd name="connsiteX59" fmla="*/ 303367 w 479298"/>
              <a:gd name="connsiteY59" fmla="*/ 279685 h 287578"/>
              <a:gd name="connsiteX60" fmla="*/ 271790 w 479298"/>
              <a:gd name="connsiteY60" fmla="*/ 264460 h 287578"/>
              <a:gd name="connsiteX61" fmla="*/ 281940 w 479298"/>
              <a:gd name="connsiteY61" fmla="*/ 257693 h 287578"/>
              <a:gd name="connsiteX62" fmla="*/ 258257 w 479298"/>
              <a:gd name="connsiteY62" fmla="*/ 251491 h 287578"/>
              <a:gd name="connsiteX63" fmla="*/ 261076 w 479298"/>
              <a:gd name="connsiteY63" fmla="*/ 235702 h 287578"/>
              <a:gd name="connsiteX64" fmla="*/ 243032 w 479298"/>
              <a:gd name="connsiteY64" fmla="*/ 236830 h 287578"/>
              <a:gd name="connsiteX65" fmla="*/ 226116 w 479298"/>
              <a:gd name="connsiteY65" fmla="*/ 198486 h 287578"/>
              <a:gd name="connsiteX66" fmla="*/ 199613 w 479298"/>
              <a:gd name="connsiteY66" fmla="*/ 175367 h 287578"/>
              <a:gd name="connsiteX67" fmla="*/ 395280 w 479298"/>
              <a:gd name="connsiteY67" fmla="*/ 71613 h 287578"/>
              <a:gd name="connsiteX68" fmla="*/ 392460 w 479298"/>
              <a:gd name="connsiteY68" fmla="*/ 53005 h 287578"/>
              <a:gd name="connsiteX69" fmla="*/ 381183 w 479298"/>
              <a:gd name="connsiteY69" fmla="*/ 41164 h 287578"/>
              <a:gd name="connsiteX70" fmla="*/ 369341 w 479298"/>
              <a:gd name="connsiteY70" fmla="*/ 26502 h 287578"/>
              <a:gd name="connsiteX71" fmla="*/ 356372 w 479298"/>
              <a:gd name="connsiteY71" fmla="*/ 18044 h 287578"/>
              <a:gd name="connsiteX72" fmla="*/ 345658 w 479298"/>
              <a:gd name="connsiteY72" fmla="*/ 10150 h 287578"/>
              <a:gd name="connsiteX73" fmla="*/ 329305 w 479298"/>
              <a:gd name="connsiteY73" fmla="*/ 0 h 287578"/>
              <a:gd name="connsiteX74" fmla="*/ 320283 w 479298"/>
              <a:gd name="connsiteY74" fmla="*/ 8458 h 287578"/>
              <a:gd name="connsiteX75" fmla="*/ 342275 w 479298"/>
              <a:gd name="connsiteY75" fmla="*/ 19172 h 287578"/>
              <a:gd name="connsiteX76" fmla="*/ 359755 w 479298"/>
              <a:gd name="connsiteY76" fmla="*/ 34397 h 287578"/>
              <a:gd name="connsiteX77" fmla="*/ 373288 w 479298"/>
              <a:gd name="connsiteY77" fmla="*/ 46238 h 287578"/>
              <a:gd name="connsiteX78" fmla="*/ 380055 w 479298"/>
              <a:gd name="connsiteY78" fmla="*/ 59771 h 287578"/>
              <a:gd name="connsiteX79" fmla="*/ 384566 w 479298"/>
              <a:gd name="connsiteY79" fmla="*/ 81199 h 287578"/>
              <a:gd name="connsiteX80" fmla="*/ 395280 w 479298"/>
              <a:gd name="connsiteY80" fmla="*/ 71613 h 2875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</a:cxnLst>
            <a:rect l="l" t="t" r="r" b="b"/>
            <a:pathLst>
              <a:path w="479298" h="287578">
                <a:moveTo>
                  <a:pt x="475914" y="155067"/>
                </a:moveTo>
                <a:lnTo>
                  <a:pt x="480989" y="144917"/>
                </a:lnTo>
                <a:lnTo>
                  <a:pt x="467456" y="132512"/>
                </a:lnTo>
                <a:lnTo>
                  <a:pt x="453359" y="109957"/>
                </a:lnTo>
                <a:lnTo>
                  <a:pt x="444337" y="101498"/>
                </a:lnTo>
                <a:lnTo>
                  <a:pt x="441518" y="90785"/>
                </a:lnTo>
                <a:lnTo>
                  <a:pt x="437007" y="94732"/>
                </a:lnTo>
                <a:lnTo>
                  <a:pt x="442081" y="121798"/>
                </a:lnTo>
                <a:lnTo>
                  <a:pt x="454487" y="144353"/>
                </a:lnTo>
                <a:lnTo>
                  <a:pt x="466892" y="158450"/>
                </a:lnTo>
                <a:lnTo>
                  <a:pt x="475914" y="155067"/>
                </a:lnTo>
                <a:close/>
                <a:moveTo>
                  <a:pt x="356372" y="106573"/>
                </a:moveTo>
                <a:lnTo>
                  <a:pt x="368213" y="84582"/>
                </a:lnTo>
                <a:lnTo>
                  <a:pt x="370469" y="64846"/>
                </a:lnTo>
                <a:lnTo>
                  <a:pt x="364266" y="59207"/>
                </a:lnTo>
                <a:lnTo>
                  <a:pt x="345094" y="59771"/>
                </a:lnTo>
                <a:lnTo>
                  <a:pt x="347350" y="80635"/>
                </a:lnTo>
                <a:lnTo>
                  <a:pt x="328742" y="93604"/>
                </a:lnTo>
                <a:lnTo>
                  <a:pt x="319156" y="106010"/>
                </a:lnTo>
                <a:lnTo>
                  <a:pt x="301111" y="108829"/>
                </a:lnTo>
                <a:lnTo>
                  <a:pt x="298856" y="89657"/>
                </a:lnTo>
                <a:lnTo>
                  <a:pt x="294345" y="90221"/>
                </a:lnTo>
                <a:lnTo>
                  <a:pt x="288706" y="107701"/>
                </a:lnTo>
                <a:lnTo>
                  <a:pt x="271226" y="110521"/>
                </a:lnTo>
                <a:lnTo>
                  <a:pt x="243032" y="105446"/>
                </a:lnTo>
                <a:lnTo>
                  <a:pt x="239649" y="116159"/>
                </a:lnTo>
                <a:lnTo>
                  <a:pt x="257129" y="126309"/>
                </a:lnTo>
                <a:lnTo>
                  <a:pt x="282504" y="137023"/>
                </a:lnTo>
                <a:lnTo>
                  <a:pt x="298856" y="137023"/>
                </a:lnTo>
                <a:lnTo>
                  <a:pt x="315773" y="128565"/>
                </a:lnTo>
                <a:lnTo>
                  <a:pt x="333817" y="119543"/>
                </a:lnTo>
                <a:lnTo>
                  <a:pt x="339456" y="109393"/>
                </a:lnTo>
                <a:lnTo>
                  <a:pt x="356372" y="106573"/>
                </a:lnTo>
                <a:close/>
                <a:moveTo>
                  <a:pt x="199613" y="175367"/>
                </a:moveTo>
                <a:lnTo>
                  <a:pt x="194539" y="151120"/>
                </a:lnTo>
                <a:lnTo>
                  <a:pt x="223860" y="147173"/>
                </a:lnTo>
                <a:lnTo>
                  <a:pt x="217658" y="128565"/>
                </a:lnTo>
                <a:lnTo>
                  <a:pt x="166345" y="106010"/>
                </a:lnTo>
                <a:lnTo>
                  <a:pt x="162961" y="85146"/>
                </a:lnTo>
                <a:lnTo>
                  <a:pt x="146609" y="67102"/>
                </a:lnTo>
                <a:lnTo>
                  <a:pt x="125745" y="48494"/>
                </a:lnTo>
                <a:lnTo>
                  <a:pt x="68229" y="28194"/>
                </a:lnTo>
                <a:lnTo>
                  <a:pt x="14097" y="3383"/>
                </a:lnTo>
                <a:lnTo>
                  <a:pt x="8458" y="120107"/>
                </a:lnTo>
                <a:lnTo>
                  <a:pt x="0" y="237394"/>
                </a:lnTo>
                <a:lnTo>
                  <a:pt x="32141" y="238522"/>
                </a:lnTo>
                <a:lnTo>
                  <a:pt x="49621" y="244724"/>
                </a:lnTo>
                <a:lnTo>
                  <a:pt x="75559" y="232319"/>
                </a:lnTo>
                <a:lnTo>
                  <a:pt x="73868" y="205816"/>
                </a:lnTo>
                <a:lnTo>
                  <a:pt x="94168" y="193975"/>
                </a:lnTo>
                <a:lnTo>
                  <a:pt x="121798" y="183825"/>
                </a:lnTo>
                <a:lnTo>
                  <a:pt x="161270" y="199614"/>
                </a:lnTo>
                <a:lnTo>
                  <a:pt x="174803" y="231191"/>
                </a:lnTo>
                <a:lnTo>
                  <a:pt x="191155" y="250927"/>
                </a:lnTo>
                <a:lnTo>
                  <a:pt x="213146" y="273482"/>
                </a:lnTo>
                <a:lnTo>
                  <a:pt x="244160" y="279121"/>
                </a:lnTo>
                <a:lnTo>
                  <a:pt x="271226" y="283068"/>
                </a:lnTo>
                <a:lnTo>
                  <a:pt x="277429" y="292090"/>
                </a:lnTo>
                <a:lnTo>
                  <a:pt x="298856" y="289834"/>
                </a:lnTo>
                <a:lnTo>
                  <a:pt x="303367" y="279685"/>
                </a:lnTo>
                <a:lnTo>
                  <a:pt x="271790" y="264460"/>
                </a:lnTo>
                <a:lnTo>
                  <a:pt x="281940" y="257693"/>
                </a:lnTo>
                <a:lnTo>
                  <a:pt x="258257" y="251491"/>
                </a:lnTo>
                <a:lnTo>
                  <a:pt x="261076" y="235702"/>
                </a:lnTo>
                <a:lnTo>
                  <a:pt x="243032" y="236830"/>
                </a:lnTo>
                <a:lnTo>
                  <a:pt x="226116" y="198486"/>
                </a:lnTo>
                <a:lnTo>
                  <a:pt x="199613" y="175367"/>
                </a:lnTo>
                <a:close/>
                <a:moveTo>
                  <a:pt x="395280" y="71613"/>
                </a:moveTo>
                <a:lnTo>
                  <a:pt x="392460" y="53005"/>
                </a:lnTo>
                <a:lnTo>
                  <a:pt x="381183" y="41164"/>
                </a:lnTo>
                <a:lnTo>
                  <a:pt x="369341" y="26502"/>
                </a:lnTo>
                <a:lnTo>
                  <a:pt x="356372" y="18044"/>
                </a:lnTo>
                <a:lnTo>
                  <a:pt x="345658" y="10150"/>
                </a:lnTo>
                <a:lnTo>
                  <a:pt x="329305" y="0"/>
                </a:lnTo>
                <a:lnTo>
                  <a:pt x="320283" y="8458"/>
                </a:lnTo>
                <a:lnTo>
                  <a:pt x="342275" y="19172"/>
                </a:lnTo>
                <a:lnTo>
                  <a:pt x="359755" y="34397"/>
                </a:lnTo>
                <a:lnTo>
                  <a:pt x="373288" y="46238"/>
                </a:lnTo>
                <a:lnTo>
                  <a:pt x="380055" y="59771"/>
                </a:lnTo>
                <a:lnTo>
                  <a:pt x="384566" y="81199"/>
                </a:lnTo>
                <a:lnTo>
                  <a:pt x="395280" y="71613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8" name="Freeform: Shape 361">
            <a:extLst>
              <a:ext uri="{FF2B5EF4-FFF2-40B4-BE49-F238E27FC236}">
                <a16:creationId xmlns:a16="http://schemas.microsoft.com/office/drawing/2014/main" id="{18930122-3109-45D6-B8DC-D9E901C306D9}"/>
              </a:ext>
            </a:extLst>
          </p:cNvPr>
          <p:cNvSpPr/>
          <p:nvPr/>
        </p:nvSpPr>
        <p:spPr>
          <a:xfrm>
            <a:off x="6124652" y="2662804"/>
            <a:ext cx="206475" cy="147483"/>
          </a:xfrm>
          <a:custGeom>
            <a:avLst/>
            <a:gdLst>
              <a:gd name="connsiteX0" fmla="*/ 145481 w 276301"/>
              <a:gd name="connsiteY0" fmla="*/ 14661 h 197358"/>
              <a:gd name="connsiteX1" fmla="*/ 119543 w 276301"/>
              <a:gd name="connsiteY1" fmla="*/ 14097 h 197358"/>
              <a:gd name="connsiteX2" fmla="*/ 116724 w 276301"/>
              <a:gd name="connsiteY2" fmla="*/ 6203 h 197358"/>
              <a:gd name="connsiteX3" fmla="*/ 89657 w 276301"/>
              <a:gd name="connsiteY3" fmla="*/ 0 h 197358"/>
              <a:gd name="connsiteX4" fmla="*/ 57516 w 276301"/>
              <a:gd name="connsiteY4" fmla="*/ 11842 h 197358"/>
              <a:gd name="connsiteX5" fmla="*/ 17480 w 276301"/>
              <a:gd name="connsiteY5" fmla="*/ 27630 h 197358"/>
              <a:gd name="connsiteX6" fmla="*/ 0 w 276301"/>
              <a:gd name="connsiteY6" fmla="*/ 37216 h 197358"/>
              <a:gd name="connsiteX7" fmla="*/ 7894 w 276301"/>
              <a:gd name="connsiteY7" fmla="*/ 54696 h 197358"/>
              <a:gd name="connsiteX8" fmla="*/ 1128 w 276301"/>
              <a:gd name="connsiteY8" fmla="*/ 63718 h 197358"/>
              <a:gd name="connsiteX9" fmla="*/ 12406 w 276301"/>
              <a:gd name="connsiteY9" fmla="*/ 76124 h 197358"/>
              <a:gd name="connsiteX10" fmla="*/ 20300 w 276301"/>
              <a:gd name="connsiteY10" fmla="*/ 94732 h 197358"/>
              <a:gd name="connsiteX11" fmla="*/ 19736 w 276301"/>
              <a:gd name="connsiteY11" fmla="*/ 106573 h 197358"/>
              <a:gd name="connsiteX12" fmla="*/ 32705 w 276301"/>
              <a:gd name="connsiteY12" fmla="*/ 128565 h 197358"/>
              <a:gd name="connsiteX13" fmla="*/ 46239 w 276301"/>
              <a:gd name="connsiteY13" fmla="*/ 139278 h 197358"/>
              <a:gd name="connsiteX14" fmla="*/ 67102 w 276301"/>
              <a:gd name="connsiteY14" fmla="*/ 142662 h 197358"/>
              <a:gd name="connsiteX15" fmla="*/ 66538 w 276301"/>
              <a:gd name="connsiteY15" fmla="*/ 152248 h 197358"/>
              <a:gd name="connsiteX16" fmla="*/ 81763 w 276301"/>
              <a:gd name="connsiteY16" fmla="*/ 159014 h 197358"/>
              <a:gd name="connsiteX17" fmla="*/ 85146 w 276301"/>
              <a:gd name="connsiteY17" fmla="*/ 150556 h 197358"/>
              <a:gd name="connsiteX18" fmla="*/ 104318 w 276301"/>
              <a:gd name="connsiteY18" fmla="*/ 153939 h 197358"/>
              <a:gd name="connsiteX19" fmla="*/ 108265 w 276301"/>
              <a:gd name="connsiteY19" fmla="*/ 165217 h 197358"/>
              <a:gd name="connsiteX20" fmla="*/ 128565 w 276301"/>
              <a:gd name="connsiteY20" fmla="*/ 166909 h 197358"/>
              <a:gd name="connsiteX21" fmla="*/ 143226 w 276301"/>
              <a:gd name="connsiteY21" fmla="*/ 184389 h 197358"/>
              <a:gd name="connsiteX22" fmla="*/ 144918 w 276301"/>
              <a:gd name="connsiteY22" fmla="*/ 186644 h 197358"/>
              <a:gd name="connsiteX23" fmla="*/ 155631 w 276301"/>
              <a:gd name="connsiteY23" fmla="*/ 181569 h 197358"/>
              <a:gd name="connsiteX24" fmla="*/ 170856 w 276301"/>
              <a:gd name="connsiteY24" fmla="*/ 193975 h 197358"/>
              <a:gd name="connsiteX25" fmla="*/ 186644 w 276301"/>
              <a:gd name="connsiteY25" fmla="*/ 186644 h 197358"/>
              <a:gd name="connsiteX26" fmla="*/ 200177 w 276301"/>
              <a:gd name="connsiteY26" fmla="*/ 190028 h 197358"/>
              <a:gd name="connsiteX27" fmla="*/ 219349 w 276301"/>
              <a:gd name="connsiteY27" fmla="*/ 185517 h 197358"/>
              <a:gd name="connsiteX28" fmla="*/ 246980 w 276301"/>
              <a:gd name="connsiteY28" fmla="*/ 198486 h 197358"/>
              <a:gd name="connsiteX29" fmla="*/ 253182 w 276301"/>
              <a:gd name="connsiteY29" fmla="*/ 200741 h 197358"/>
              <a:gd name="connsiteX30" fmla="*/ 244160 w 276301"/>
              <a:gd name="connsiteY30" fmla="*/ 184953 h 197358"/>
              <a:gd name="connsiteX31" fmla="*/ 265587 w 276301"/>
              <a:gd name="connsiteY31" fmla="*/ 156195 h 197358"/>
              <a:gd name="connsiteX32" fmla="*/ 278557 w 276301"/>
              <a:gd name="connsiteY32" fmla="*/ 152248 h 197358"/>
              <a:gd name="connsiteX33" fmla="*/ 280249 w 276301"/>
              <a:gd name="connsiteY33" fmla="*/ 142098 h 197358"/>
              <a:gd name="connsiteX34" fmla="*/ 262768 w 276301"/>
              <a:gd name="connsiteY34" fmla="*/ 112212 h 197358"/>
              <a:gd name="connsiteX35" fmla="*/ 259949 w 276301"/>
              <a:gd name="connsiteY35" fmla="*/ 96987 h 197358"/>
              <a:gd name="connsiteX36" fmla="*/ 249235 w 276301"/>
              <a:gd name="connsiteY36" fmla="*/ 80635 h 197358"/>
              <a:gd name="connsiteX37" fmla="*/ 264460 w 276301"/>
              <a:gd name="connsiteY37" fmla="*/ 73868 h 197358"/>
              <a:gd name="connsiteX38" fmla="*/ 262768 w 276301"/>
              <a:gd name="connsiteY38" fmla="*/ 60335 h 197358"/>
              <a:gd name="connsiteX39" fmla="*/ 253182 w 276301"/>
              <a:gd name="connsiteY39" fmla="*/ 47366 h 197358"/>
              <a:gd name="connsiteX40" fmla="*/ 249799 w 276301"/>
              <a:gd name="connsiteY40" fmla="*/ 32141 h 197358"/>
              <a:gd name="connsiteX41" fmla="*/ 241905 w 276301"/>
              <a:gd name="connsiteY41" fmla="*/ 21427 h 197358"/>
              <a:gd name="connsiteX42" fmla="*/ 227808 w 276301"/>
              <a:gd name="connsiteY42" fmla="*/ 18044 h 197358"/>
              <a:gd name="connsiteX43" fmla="*/ 178750 w 276301"/>
              <a:gd name="connsiteY43" fmla="*/ 18608 h 197358"/>
              <a:gd name="connsiteX44" fmla="*/ 145481 w 276301"/>
              <a:gd name="connsiteY44" fmla="*/ 14661 h 1973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</a:cxnLst>
            <a:rect l="l" t="t" r="r" b="b"/>
            <a:pathLst>
              <a:path w="276301" h="197358">
                <a:moveTo>
                  <a:pt x="145481" y="14661"/>
                </a:moveTo>
                <a:lnTo>
                  <a:pt x="119543" y="14097"/>
                </a:lnTo>
                <a:lnTo>
                  <a:pt x="116724" y="6203"/>
                </a:lnTo>
                <a:lnTo>
                  <a:pt x="89657" y="0"/>
                </a:lnTo>
                <a:lnTo>
                  <a:pt x="57516" y="11842"/>
                </a:lnTo>
                <a:lnTo>
                  <a:pt x="17480" y="27630"/>
                </a:lnTo>
                <a:lnTo>
                  <a:pt x="0" y="37216"/>
                </a:lnTo>
                <a:lnTo>
                  <a:pt x="7894" y="54696"/>
                </a:lnTo>
                <a:lnTo>
                  <a:pt x="1128" y="63718"/>
                </a:lnTo>
                <a:lnTo>
                  <a:pt x="12406" y="76124"/>
                </a:lnTo>
                <a:lnTo>
                  <a:pt x="20300" y="94732"/>
                </a:lnTo>
                <a:lnTo>
                  <a:pt x="19736" y="106573"/>
                </a:lnTo>
                <a:lnTo>
                  <a:pt x="32705" y="128565"/>
                </a:lnTo>
                <a:lnTo>
                  <a:pt x="46239" y="139278"/>
                </a:lnTo>
                <a:lnTo>
                  <a:pt x="67102" y="142662"/>
                </a:lnTo>
                <a:lnTo>
                  <a:pt x="66538" y="152248"/>
                </a:lnTo>
                <a:lnTo>
                  <a:pt x="81763" y="159014"/>
                </a:lnTo>
                <a:lnTo>
                  <a:pt x="85146" y="150556"/>
                </a:lnTo>
                <a:lnTo>
                  <a:pt x="104318" y="153939"/>
                </a:lnTo>
                <a:lnTo>
                  <a:pt x="108265" y="165217"/>
                </a:lnTo>
                <a:lnTo>
                  <a:pt x="128565" y="166909"/>
                </a:lnTo>
                <a:lnTo>
                  <a:pt x="143226" y="184389"/>
                </a:lnTo>
                <a:lnTo>
                  <a:pt x="144918" y="186644"/>
                </a:lnTo>
                <a:lnTo>
                  <a:pt x="155631" y="181569"/>
                </a:lnTo>
                <a:lnTo>
                  <a:pt x="170856" y="193975"/>
                </a:lnTo>
                <a:lnTo>
                  <a:pt x="186644" y="186644"/>
                </a:lnTo>
                <a:lnTo>
                  <a:pt x="200177" y="190028"/>
                </a:lnTo>
                <a:lnTo>
                  <a:pt x="219349" y="185517"/>
                </a:lnTo>
                <a:lnTo>
                  <a:pt x="246980" y="198486"/>
                </a:lnTo>
                <a:lnTo>
                  <a:pt x="253182" y="200741"/>
                </a:lnTo>
                <a:lnTo>
                  <a:pt x="244160" y="184953"/>
                </a:lnTo>
                <a:lnTo>
                  <a:pt x="265587" y="156195"/>
                </a:lnTo>
                <a:lnTo>
                  <a:pt x="278557" y="152248"/>
                </a:lnTo>
                <a:lnTo>
                  <a:pt x="280249" y="142098"/>
                </a:lnTo>
                <a:lnTo>
                  <a:pt x="262768" y="112212"/>
                </a:lnTo>
                <a:lnTo>
                  <a:pt x="259949" y="96987"/>
                </a:lnTo>
                <a:lnTo>
                  <a:pt x="249235" y="80635"/>
                </a:lnTo>
                <a:lnTo>
                  <a:pt x="264460" y="73868"/>
                </a:lnTo>
                <a:lnTo>
                  <a:pt x="262768" y="60335"/>
                </a:lnTo>
                <a:lnTo>
                  <a:pt x="253182" y="47366"/>
                </a:lnTo>
                <a:lnTo>
                  <a:pt x="249799" y="32141"/>
                </a:lnTo>
                <a:lnTo>
                  <a:pt x="241905" y="21427"/>
                </a:lnTo>
                <a:lnTo>
                  <a:pt x="227808" y="18044"/>
                </a:lnTo>
                <a:lnTo>
                  <a:pt x="178750" y="18608"/>
                </a:lnTo>
                <a:lnTo>
                  <a:pt x="145481" y="14661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9" name="Freeform: Shape 362">
            <a:extLst>
              <a:ext uri="{FF2B5EF4-FFF2-40B4-BE49-F238E27FC236}">
                <a16:creationId xmlns:a16="http://schemas.microsoft.com/office/drawing/2014/main" id="{6D758F14-BAFE-4379-B092-285AE010FE38}"/>
              </a:ext>
            </a:extLst>
          </p:cNvPr>
          <p:cNvSpPr/>
          <p:nvPr/>
        </p:nvSpPr>
        <p:spPr>
          <a:xfrm>
            <a:off x="8556007" y="2970411"/>
            <a:ext cx="105345" cy="139055"/>
          </a:xfrm>
          <a:custGeom>
            <a:avLst/>
            <a:gdLst>
              <a:gd name="connsiteX0" fmla="*/ 135895 w 140970"/>
              <a:gd name="connsiteY0" fmla="*/ 20300 h 186080"/>
              <a:gd name="connsiteX1" fmla="*/ 135895 w 140970"/>
              <a:gd name="connsiteY1" fmla="*/ 20300 h 186080"/>
              <a:gd name="connsiteX2" fmla="*/ 104882 w 140970"/>
              <a:gd name="connsiteY2" fmla="*/ 0 h 186080"/>
              <a:gd name="connsiteX3" fmla="*/ 105446 w 140970"/>
              <a:gd name="connsiteY3" fmla="*/ 19736 h 186080"/>
              <a:gd name="connsiteX4" fmla="*/ 69921 w 140970"/>
              <a:gd name="connsiteY4" fmla="*/ 34397 h 186080"/>
              <a:gd name="connsiteX5" fmla="*/ 85146 w 140970"/>
              <a:gd name="connsiteY5" fmla="*/ 53005 h 186080"/>
              <a:gd name="connsiteX6" fmla="*/ 59207 w 140970"/>
              <a:gd name="connsiteY6" fmla="*/ 51877 h 186080"/>
              <a:gd name="connsiteX7" fmla="*/ 38908 w 140970"/>
              <a:gd name="connsiteY7" fmla="*/ 40599 h 186080"/>
              <a:gd name="connsiteX8" fmla="*/ 33269 w 140970"/>
              <a:gd name="connsiteY8" fmla="*/ 65410 h 186080"/>
              <a:gd name="connsiteX9" fmla="*/ 11841 w 140970"/>
              <a:gd name="connsiteY9" fmla="*/ 84582 h 186080"/>
              <a:gd name="connsiteX10" fmla="*/ 0 w 140970"/>
              <a:gd name="connsiteY10" fmla="*/ 107137 h 186080"/>
              <a:gd name="connsiteX11" fmla="*/ 18608 w 140970"/>
              <a:gd name="connsiteY11" fmla="*/ 116723 h 186080"/>
              <a:gd name="connsiteX12" fmla="*/ 37780 w 140970"/>
              <a:gd name="connsiteY12" fmla="*/ 120670 h 186080"/>
              <a:gd name="connsiteX13" fmla="*/ 42291 w 140970"/>
              <a:gd name="connsiteY13" fmla="*/ 126309 h 186080"/>
              <a:gd name="connsiteX14" fmla="*/ 44547 w 140970"/>
              <a:gd name="connsiteY14" fmla="*/ 146045 h 186080"/>
              <a:gd name="connsiteX15" fmla="*/ 50749 w 140970"/>
              <a:gd name="connsiteY15" fmla="*/ 152811 h 186080"/>
              <a:gd name="connsiteX16" fmla="*/ 45674 w 140970"/>
              <a:gd name="connsiteY16" fmla="*/ 156759 h 186080"/>
              <a:gd name="connsiteX17" fmla="*/ 45110 w 140970"/>
              <a:gd name="connsiteY17" fmla="*/ 173111 h 186080"/>
              <a:gd name="connsiteX18" fmla="*/ 55824 w 140970"/>
              <a:gd name="connsiteY18" fmla="*/ 178750 h 186080"/>
              <a:gd name="connsiteX19" fmla="*/ 64846 w 140970"/>
              <a:gd name="connsiteY19" fmla="*/ 182133 h 186080"/>
              <a:gd name="connsiteX20" fmla="*/ 69358 w 140970"/>
              <a:gd name="connsiteY20" fmla="*/ 188900 h 186080"/>
              <a:gd name="connsiteX21" fmla="*/ 76688 w 140970"/>
              <a:gd name="connsiteY21" fmla="*/ 186080 h 186080"/>
              <a:gd name="connsiteX22" fmla="*/ 76688 w 140970"/>
              <a:gd name="connsiteY22" fmla="*/ 178750 h 186080"/>
              <a:gd name="connsiteX23" fmla="*/ 94168 w 140970"/>
              <a:gd name="connsiteY23" fmla="*/ 186080 h 186080"/>
              <a:gd name="connsiteX24" fmla="*/ 94732 w 140970"/>
              <a:gd name="connsiteY24" fmla="*/ 182697 h 186080"/>
              <a:gd name="connsiteX25" fmla="*/ 108265 w 140970"/>
              <a:gd name="connsiteY25" fmla="*/ 183825 h 186080"/>
              <a:gd name="connsiteX26" fmla="*/ 112212 w 140970"/>
              <a:gd name="connsiteY26" fmla="*/ 167472 h 186080"/>
              <a:gd name="connsiteX27" fmla="*/ 131948 w 140970"/>
              <a:gd name="connsiteY27" fmla="*/ 165781 h 186080"/>
              <a:gd name="connsiteX28" fmla="*/ 143789 w 140970"/>
              <a:gd name="connsiteY28" fmla="*/ 163525 h 186080"/>
              <a:gd name="connsiteX29" fmla="*/ 143226 w 140970"/>
              <a:gd name="connsiteY29" fmla="*/ 154503 h 186080"/>
              <a:gd name="connsiteX30" fmla="*/ 118979 w 140970"/>
              <a:gd name="connsiteY30" fmla="*/ 138714 h 186080"/>
              <a:gd name="connsiteX31" fmla="*/ 104318 w 140970"/>
              <a:gd name="connsiteY31" fmla="*/ 133076 h 186080"/>
              <a:gd name="connsiteX32" fmla="*/ 105446 w 140970"/>
              <a:gd name="connsiteY32" fmla="*/ 129128 h 186080"/>
              <a:gd name="connsiteX33" fmla="*/ 98679 w 140970"/>
              <a:gd name="connsiteY33" fmla="*/ 113340 h 186080"/>
              <a:gd name="connsiteX34" fmla="*/ 106010 w 140970"/>
              <a:gd name="connsiteY34" fmla="*/ 103754 h 186080"/>
              <a:gd name="connsiteX35" fmla="*/ 122362 w 140970"/>
              <a:gd name="connsiteY35" fmla="*/ 98115 h 186080"/>
              <a:gd name="connsiteX36" fmla="*/ 128001 w 140970"/>
              <a:gd name="connsiteY36" fmla="*/ 87401 h 186080"/>
              <a:gd name="connsiteX37" fmla="*/ 129692 w 140970"/>
              <a:gd name="connsiteY37" fmla="*/ 81199 h 186080"/>
              <a:gd name="connsiteX38" fmla="*/ 140406 w 140970"/>
              <a:gd name="connsiteY38" fmla="*/ 73304 h 186080"/>
              <a:gd name="connsiteX39" fmla="*/ 124617 w 140970"/>
              <a:gd name="connsiteY39" fmla="*/ 47930 h 186080"/>
              <a:gd name="connsiteX40" fmla="*/ 126309 w 140970"/>
              <a:gd name="connsiteY40" fmla="*/ 36088 h 186080"/>
              <a:gd name="connsiteX41" fmla="*/ 131384 w 140970"/>
              <a:gd name="connsiteY41" fmla="*/ 24811 h 186080"/>
              <a:gd name="connsiteX42" fmla="*/ 143789 w 140970"/>
              <a:gd name="connsiteY42" fmla="*/ 26502 h 186080"/>
              <a:gd name="connsiteX43" fmla="*/ 143789 w 140970"/>
              <a:gd name="connsiteY43" fmla="*/ 26502 h 186080"/>
              <a:gd name="connsiteX44" fmla="*/ 143789 w 140970"/>
              <a:gd name="connsiteY44" fmla="*/ 26502 h 186080"/>
              <a:gd name="connsiteX45" fmla="*/ 143789 w 140970"/>
              <a:gd name="connsiteY45" fmla="*/ 26502 h 186080"/>
              <a:gd name="connsiteX46" fmla="*/ 135895 w 140970"/>
              <a:gd name="connsiteY46" fmla="*/ 20300 h 186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</a:cxnLst>
            <a:rect l="l" t="t" r="r" b="b"/>
            <a:pathLst>
              <a:path w="140970" h="186080">
                <a:moveTo>
                  <a:pt x="135895" y="20300"/>
                </a:moveTo>
                <a:lnTo>
                  <a:pt x="135895" y="20300"/>
                </a:lnTo>
                <a:lnTo>
                  <a:pt x="104882" y="0"/>
                </a:lnTo>
                <a:lnTo>
                  <a:pt x="105446" y="19736"/>
                </a:lnTo>
                <a:lnTo>
                  <a:pt x="69921" y="34397"/>
                </a:lnTo>
                <a:lnTo>
                  <a:pt x="85146" y="53005"/>
                </a:lnTo>
                <a:lnTo>
                  <a:pt x="59207" y="51877"/>
                </a:lnTo>
                <a:lnTo>
                  <a:pt x="38908" y="40599"/>
                </a:lnTo>
                <a:lnTo>
                  <a:pt x="33269" y="65410"/>
                </a:lnTo>
                <a:lnTo>
                  <a:pt x="11841" y="84582"/>
                </a:lnTo>
                <a:lnTo>
                  <a:pt x="0" y="107137"/>
                </a:lnTo>
                <a:lnTo>
                  <a:pt x="18608" y="116723"/>
                </a:lnTo>
                <a:lnTo>
                  <a:pt x="37780" y="120670"/>
                </a:lnTo>
                <a:lnTo>
                  <a:pt x="42291" y="126309"/>
                </a:lnTo>
                <a:lnTo>
                  <a:pt x="44547" y="146045"/>
                </a:lnTo>
                <a:lnTo>
                  <a:pt x="50749" y="152811"/>
                </a:lnTo>
                <a:lnTo>
                  <a:pt x="45674" y="156759"/>
                </a:lnTo>
                <a:lnTo>
                  <a:pt x="45110" y="173111"/>
                </a:lnTo>
                <a:lnTo>
                  <a:pt x="55824" y="178750"/>
                </a:lnTo>
                <a:lnTo>
                  <a:pt x="64846" y="182133"/>
                </a:lnTo>
                <a:lnTo>
                  <a:pt x="69358" y="188900"/>
                </a:lnTo>
                <a:lnTo>
                  <a:pt x="76688" y="186080"/>
                </a:lnTo>
                <a:lnTo>
                  <a:pt x="76688" y="178750"/>
                </a:lnTo>
                <a:lnTo>
                  <a:pt x="94168" y="186080"/>
                </a:lnTo>
                <a:lnTo>
                  <a:pt x="94732" y="182697"/>
                </a:lnTo>
                <a:lnTo>
                  <a:pt x="108265" y="183825"/>
                </a:lnTo>
                <a:lnTo>
                  <a:pt x="112212" y="167472"/>
                </a:lnTo>
                <a:lnTo>
                  <a:pt x="131948" y="165781"/>
                </a:lnTo>
                <a:lnTo>
                  <a:pt x="143789" y="163525"/>
                </a:lnTo>
                <a:lnTo>
                  <a:pt x="143226" y="154503"/>
                </a:lnTo>
                <a:lnTo>
                  <a:pt x="118979" y="138714"/>
                </a:lnTo>
                <a:lnTo>
                  <a:pt x="104318" y="133076"/>
                </a:lnTo>
                <a:lnTo>
                  <a:pt x="105446" y="129128"/>
                </a:lnTo>
                <a:lnTo>
                  <a:pt x="98679" y="113340"/>
                </a:lnTo>
                <a:lnTo>
                  <a:pt x="106010" y="103754"/>
                </a:lnTo>
                <a:lnTo>
                  <a:pt x="122362" y="98115"/>
                </a:lnTo>
                <a:lnTo>
                  <a:pt x="128001" y="87401"/>
                </a:lnTo>
                <a:lnTo>
                  <a:pt x="129692" y="81199"/>
                </a:lnTo>
                <a:lnTo>
                  <a:pt x="140406" y="73304"/>
                </a:lnTo>
                <a:lnTo>
                  <a:pt x="124617" y="47930"/>
                </a:lnTo>
                <a:lnTo>
                  <a:pt x="126309" y="36088"/>
                </a:lnTo>
                <a:lnTo>
                  <a:pt x="131384" y="24811"/>
                </a:lnTo>
                <a:lnTo>
                  <a:pt x="143789" y="26502"/>
                </a:lnTo>
                <a:lnTo>
                  <a:pt x="143789" y="26502"/>
                </a:lnTo>
                <a:lnTo>
                  <a:pt x="143789" y="26502"/>
                </a:lnTo>
                <a:lnTo>
                  <a:pt x="143789" y="26502"/>
                </a:lnTo>
                <a:lnTo>
                  <a:pt x="135895" y="20300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0" name="Freeform: Shape 363">
            <a:extLst>
              <a:ext uri="{FF2B5EF4-FFF2-40B4-BE49-F238E27FC236}">
                <a16:creationId xmlns:a16="http://schemas.microsoft.com/office/drawing/2014/main" id="{629764AD-E084-4153-8404-695EB2931E49}"/>
              </a:ext>
            </a:extLst>
          </p:cNvPr>
          <p:cNvSpPr/>
          <p:nvPr/>
        </p:nvSpPr>
        <p:spPr>
          <a:xfrm>
            <a:off x="5633325" y="2988530"/>
            <a:ext cx="67421" cy="143269"/>
          </a:xfrm>
          <a:custGeom>
            <a:avLst/>
            <a:gdLst>
              <a:gd name="connsiteX0" fmla="*/ 59771 w 90220"/>
              <a:gd name="connsiteY0" fmla="*/ 185516 h 191719"/>
              <a:gd name="connsiteX1" fmla="*/ 57516 w 90220"/>
              <a:gd name="connsiteY1" fmla="*/ 173675 h 191719"/>
              <a:gd name="connsiteX2" fmla="*/ 68793 w 90220"/>
              <a:gd name="connsiteY2" fmla="*/ 159578 h 191719"/>
              <a:gd name="connsiteX3" fmla="*/ 73304 w 90220"/>
              <a:gd name="connsiteY3" fmla="*/ 149992 h 191719"/>
              <a:gd name="connsiteX4" fmla="*/ 63155 w 90220"/>
              <a:gd name="connsiteY4" fmla="*/ 139278 h 191719"/>
              <a:gd name="connsiteX5" fmla="*/ 72177 w 90220"/>
              <a:gd name="connsiteY5" fmla="*/ 115031 h 191719"/>
              <a:gd name="connsiteX6" fmla="*/ 60899 w 90220"/>
              <a:gd name="connsiteY6" fmla="*/ 93604 h 191719"/>
              <a:gd name="connsiteX7" fmla="*/ 73304 w 90220"/>
              <a:gd name="connsiteY7" fmla="*/ 90785 h 191719"/>
              <a:gd name="connsiteX8" fmla="*/ 74996 w 90220"/>
              <a:gd name="connsiteY8" fmla="*/ 73868 h 191719"/>
              <a:gd name="connsiteX9" fmla="*/ 80071 w 90220"/>
              <a:gd name="connsiteY9" fmla="*/ 68793 h 191719"/>
              <a:gd name="connsiteX10" fmla="*/ 81199 w 90220"/>
              <a:gd name="connsiteY10" fmla="*/ 41163 h 191719"/>
              <a:gd name="connsiteX11" fmla="*/ 94732 w 90220"/>
              <a:gd name="connsiteY11" fmla="*/ 31577 h 191719"/>
              <a:gd name="connsiteX12" fmla="*/ 87401 w 90220"/>
              <a:gd name="connsiteY12" fmla="*/ 14097 h 191719"/>
              <a:gd name="connsiteX13" fmla="*/ 70485 w 90220"/>
              <a:gd name="connsiteY13" fmla="*/ 12969 h 191719"/>
              <a:gd name="connsiteX14" fmla="*/ 65410 w 90220"/>
              <a:gd name="connsiteY14" fmla="*/ 17480 h 191719"/>
              <a:gd name="connsiteX15" fmla="*/ 48494 w 90220"/>
              <a:gd name="connsiteY15" fmla="*/ 17480 h 191719"/>
              <a:gd name="connsiteX16" fmla="*/ 41727 w 90220"/>
              <a:gd name="connsiteY16" fmla="*/ 0 h 191719"/>
              <a:gd name="connsiteX17" fmla="*/ 29886 w 90220"/>
              <a:gd name="connsiteY17" fmla="*/ 5075 h 191719"/>
              <a:gd name="connsiteX18" fmla="*/ 19172 w 90220"/>
              <a:gd name="connsiteY18" fmla="*/ 14097 h 191719"/>
              <a:gd name="connsiteX19" fmla="*/ 19736 w 90220"/>
              <a:gd name="connsiteY19" fmla="*/ 25939 h 191719"/>
              <a:gd name="connsiteX20" fmla="*/ 24811 w 90220"/>
              <a:gd name="connsiteY20" fmla="*/ 38344 h 191719"/>
              <a:gd name="connsiteX21" fmla="*/ 25375 w 90220"/>
              <a:gd name="connsiteY21" fmla="*/ 53569 h 191719"/>
              <a:gd name="connsiteX22" fmla="*/ 18044 w 90220"/>
              <a:gd name="connsiteY22" fmla="*/ 74996 h 191719"/>
              <a:gd name="connsiteX23" fmla="*/ 15789 w 90220"/>
              <a:gd name="connsiteY23" fmla="*/ 89093 h 191719"/>
              <a:gd name="connsiteX24" fmla="*/ 3383 w 90220"/>
              <a:gd name="connsiteY24" fmla="*/ 102062 h 191719"/>
              <a:gd name="connsiteX25" fmla="*/ 0 w 90220"/>
              <a:gd name="connsiteY25" fmla="*/ 125745 h 191719"/>
              <a:gd name="connsiteX26" fmla="*/ 6767 w 90220"/>
              <a:gd name="connsiteY26" fmla="*/ 139278 h 191719"/>
              <a:gd name="connsiteX27" fmla="*/ 19736 w 90220"/>
              <a:gd name="connsiteY27" fmla="*/ 142662 h 191719"/>
              <a:gd name="connsiteX28" fmla="*/ 21991 w 90220"/>
              <a:gd name="connsiteY28" fmla="*/ 165217 h 191719"/>
              <a:gd name="connsiteX29" fmla="*/ 16353 w 90220"/>
              <a:gd name="connsiteY29" fmla="*/ 193975 h 191719"/>
              <a:gd name="connsiteX30" fmla="*/ 32141 w 90220"/>
              <a:gd name="connsiteY30" fmla="*/ 190028 h 191719"/>
              <a:gd name="connsiteX31" fmla="*/ 47366 w 90220"/>
              <a:gd name="connsiteY31" fmla="*/ 195103 h 191719"/>
              <a:gd name="connsiteX32" fmla="*/ 59771 w 90220"/>
              <a:gd name="connsiteY32" fmla="*/ 185516 h 191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90220" h="191719">
                <a:moveTo>
                  <a:pt x="59771" y="185516"/>
                </a:moveTo>
                <a:lnTo>
                  <a:pt x="57516" y="173675"/>
                </a:lnTo>
                <a:lnTo>
                  <a:pt x="68793" y="159578"/>
                </a:lnTo>
                <a:lnTo>
                  <a:pt x="73304" y="149992"/>
                </a:lnTo>
                <a:lnTo>
                  <a:pt x="63155" y="139278"/>
                </a:lnTo>
                <a:lnTo>
                  <a:pt x="72177" y="115031"/>
                </a:lnTo>
                <a:lnTo>
                  <a:pt x="60899" y="93604"/>
                </a:lnTo>
                <a:lnTo>
                  <a:pt x="73304" y="90785"/>
                </a:lnTo>
                <a:lnTo>
                  <a:pt x="74996" y="73868"/>
                </a:lnTo>
                <a:lnTo>
                  <a:pt x="80071" y="68793"/>
                </a:lnTo>
                <a:lnTo>
                  <a:pt x="81199" y="41163"/>
                </a:lnTo>
                <a:lnTo>
                  <a:pt x="94732" y="31577"/>
                </a:lnTo>
                <a:lnTo>
                  <a:pt x="87401" y="14097"/>
                </a:lnTo>
                <a:lnTo>
                  <a:pt x="70485" y="12969"/>
                </a:lnTo>
                <a:lnTo>
                  <a:pt x="65410" y="17480"/>
                </a:lnTo>
                <a:lnTo>
                  <a:pt x="48494" y="17480"/>
                </a:lnTo>
                <a:lnTo>
                  <a:pt x="41727" y="0"/>
                </a:lnTo>
                <a:lnTo>
                  <a:pt x="29886" y="5075"/>
                </a:lnTo>
                <a:lnTo>
                  <a:pt x="19172" y="14097"/>
                </a:lnTo>
                <a:lnTo>
                  <a:pt x="19736" y="25939"/>
                </a:lnTo>
                <a:lnTo>
                  <a:pt x="24811" y="38344"/>
                </a:lnTo>
                <a:lnTo>
                  <a:pt x="25375" y="53569"/>
                </a:lnTo>
                <a:lnTo>
                  <a:pt x="18044" y="74996"/>
                </a:lnTo>
                <a:lnTo>
                  <a:pt x="15789" y="89093"/>
                </a:lnTo>
                <a:lnTo>
                  <a:pt x="3383" y="102062"/>
                </a:lnTo>
                <a:lnTo>
                  <a:pt x="0" y="125745"/>
                </a:lnTo>
                <a:lnTo>
                  <a:pt x="6767" y="139278"/>
                </a:lnTo>
                <a:lnTo>
                  <a:pt x="19736" y="142662"/>
                </a:lnTo>
                <a:lnTo>
                  <a:pt x="21991" y="165217"/>
                </a:lnTo>
                <a:lnTo>
                  <a:pt x="16353" y="193975"/>
                </a:lnTo>
                <a:lnTo>
                  <a:pt x="32141" y="190028"/>
                </a:lnTo>
                <a:lnTo>
                  <a:pt x="47366" y="195103"/>
                </a:lnTo>
                <a:lnTo>
                  <a:pt x="59771" y="185516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1" name="Freeform: Shape 364">
            <a:extLst>
              <a:ext uri="{FF2B5EF4-FFF2-40B4-BE49-F238E27FC236}">
                <a16:creationId xmlns:a16="http://schemas.microsoft.com/office/drawing/2014/main" id="{B4C5010C-2E4F-402F-AAF9-9506C64E0B9C}"/>
              </a:ext>
            </a:extLst>
          </p:cNvPr>
          <p:cNvSpPr/>
          <p:nvPr/>
        </p:nvSpPr>
        <p:spPr>
          <a:xfrm>
            <a:off x="4390257" y="4641178"/>
            <a:ext cx="198049" cy="219117"/>
          </a:xfrm>
          <a:custGeom>
            <a:avLst/>
            <a:gdLst>
              <a:gd name="connsiteX0" fmla="*/ 133640 w 265023"/>
              <a:gd name="connsiteY0" fmla="*/ 29886 h 293217"/>
              <a:gd name="connsiteX1" fmla="*/ 131948 w 265023"/>
              <a:gd name="connsiteY1" fmla="*/ 19172 h 293217"/>
              <a:gd name="connsiteX2" fmla="*/ 101498 w 265023"/>
              <a:gd name="connsiteY2" fmla="*/ 564 h 293217"/>
              <a:gd name="connsiteX3" fmla="*/ 72741 w 265023"/>
              <a:gd name="connsiteY3" fmla="*/ 0 h 293217"/>
              <a:gd name="connsiteX4" fmla="*/ 19172 w 265023"/>
              <a:gd name="connsiteY4" fmla="*/ 10714 h 293217"/>
              <a:gd name="connsiteX5" fmla="*/ 7330 w 265023"/>
              <a:gd name="connsiteY5" fmla="*/ 42291 h 293217"/>
              <a:gd name="connsiteX6" fmla="*/ 8458 w 265023"/>
              <a:gd name="connsiteY6" fmla="*/ 61463 h 293217"/>
              <a:gd name="connsiteX7" fmla="*/ 0 w 265023"/>
              <a:gd name="connsiteY7" fmla="*/ 104318 h 293217"/>
              <a:gd name="connsiteX8" fmla="*/ 63155 w 265023"/>
              <a:gd name="connsiteY8" fmla="*/ 162961 h 293217"/>
              <a:gd name="connsiteX9" fmla="*/ 89093 w 265023"/>
              <a:gd name="connsiteY9" fmla="*/ 168600 h 293217"/>
              <a:gd name="connsiteX10" fmla="*/ 129692 w 265023"/>
              <a:gd name="connsiteY10" fmla="*/ 195102 h 293217"/>
              <a:gd name="connsiteX11" fmla="*/ 162961 w 265023"/>
              <a:gd name="connsiteY11" fmla="*/ 209199 h 293217"/>
              <a:gd name="connsiteX12" fmla="*/ 169164 w 265023"/>
              <a:gd name="connsiteY12" fmla="*/ 224988 h 293217"/>
              <a:gd name="connsiteX13" fmla="*/ 145481 w 265023"/>
              <a:gd name="connsiteY13" fmla="*/ 279121 h 293217"/>
              <a:gd name="connsiteX14" fmla="*/ 177622 w 265023"/>
              <a:gd name="connsiteY14" fmla="*/ 289270 h 293217"/>
              <a:gd name="connsiteX15" fmla="*/ 212583 w 265023"/>
              <a:gd name="connsiteY15" fmla="*/ 294909 h 293217"/>
              <a:gd name="connsiteX16" fmla="*/ 236266 w 265023"/>
              <a:gd name="connsiteY16" fmla="*/ 288707 h 293217"/>
              <a:gd name="connsiteX17" fmla="*/ 260513 w 265023"/>
              <a:gd name="connsiteY17" fmla="*/ 261640 h 293217"/>
              <a:gd name="connsiteX18" fmla="*/ 262204 w 265023"/>
              <a:gd name="connsiteY18" fmla="*/ 229499 h 293217"/>
              <a:gd name="connsiteX19" fmla="*/ 266151 w 265023"/>
              <a:gd name="connsiteY19" fmla="*/ 209199 h 293217"/>
              <a:gd name="connsiteX20" fmla="*/ 267843 w 265023"/>
              <a:gd name="connsiteY20" fmla="*/ 187772 h 293217"/>
              <a:gd name="connsiteX21" fmla="*/ 266151 w 265023"/>
              <a:gd name="connsiteY21" fmla="*/ 168036 h 293217"/>
              <a:gd name="connsiteX22" fmla="*/ 254310 w 265023"/>
              <a:gd name="connsiteY22" fmla="*/ 161270 h 293217"/>
              <a:gd name="connsiteX23" fmla="*/ 243032 w 265023"/>
              <a:gd name="connsiteY23" fmla="*/ 167472 h 293217"/>
              <a:gd name="connsiteX24" fmla="*/ 231755 w 265023"/>
              <a:gd name="connsiteY24" fmla="*/ 165781 h 293217"/>
              <a:gd name="connsiteX25" fmla="*/ 226680 w 265023"/>
              <a:gd name="connsiteY25" fmla="*/ 151684 h 293217"/>
              <a:gd name="connsiteX26" fmla="*/ 221041 w 265023"/>
              <a:gd name="connsiteY26" fmla="*/ 118979 h 293217"/>
              <a:gd name="connsiteX27" fmla="*/ 214274 w 265023"/>
              <a:gd name="connsiteY27" fmla="*/ 108265 h 293217"/>
              <a:gd name="connsiteX28" fmla="*/ 192283 w 265023"/>
              <a:gd name="connsiteY28" fmla="*/ 98679 h 293217"/>
              <a:gd name="connsiteX29" fmla="*/ 180442 w 265023"/>
              <a:gd name="connsiteY29" fmla="*/ 105446 h 293217"/>
              <a:gd name="connsiteX30" fmla="*/ 146609 w 265023"/>
              <a:gd name="connsiteY30" fmla="*/ 98679 h 293217"/>
              <a:gd name="connsiteX31" fmla="*/ 144353 w 265023"/>
              <a:gd name="connsiteY31" fmla="*/ 50185 h 293217"/>
              <a:gd name="connsiteX32" fmla="*/ 133640 w 265023"/>
              <a:gd name="connsiteY32" fmla="*/ 29886 h 2932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265023" h="293217">
                <a:moveTo>
                  <a:pt x="133640" y="29886"/>
                </a:moveTo>
                <a:lnTo>
                  <a:pt x="131948" y="19172"/>
                </a:lnTo>
                <a:lnTo>
                  <a:pt x="101498" y="564"/>
                </a:lnTo>
                <a:lnTo>
                  <a:pt x="72741" y="0"/>
                </a:lnTo>
                <a:lnTo>
                  <a:pt x="19172" y="10714"/>
                </a:lnTo>
                <a:lnTo>
                  <a:pt x="7330" y="42291"/>
                </a:lnTo>
                <a:lnTo>
                  <a:pt x="8458" y="61463"/>
                </a:lnTo>
                <a:lnTo>
                  <a:pt x="0" y="104318"/>
                </a:lnTo>
                <a:lnTo>
                  <a:pt x="63155" y="162961"/>
                </a:lnTo>
                <a:lnTo>
                  <a:pt x="89093" y="168600"/>
                </a:lnTo>
                <a:lnTo>
                  <a:pt x="129692" y="195102"/>
                </a:lnTo>
                <a:lnTo>
                  <a:pt x="162961" y="209199"/>
                </a:lnTo>
                <a:lnTo>
                  <a:pt x="169164" y="224988"/>
                </a:lnTo>
                <a:lnTo>
                  <a:pt x="145481" y="279121"/>
                </a:lnTo>
                <a:lnTo>
                  <a:pt x="177622" y="289270"/>
                </a:lnTo>
                <a:lnTo>
                  <a:pt x="212583" y="294909"/>
                </a:lnTo>
                <a:lnTo>
                  <a:pt x="236266" y="288707"/>
                </a:lnTo>
                <a:lnTo>
                  <a:pt x="260513" y="261640"/>
                </a:lnTo>
                <a:lnTo>
                  <a:pt x="262204" y="229499"/>
                </a:lnTo>
                <a:lnTo>
                  <a:pt x="266151" y="209199"/>
                </a:lnTo>
                <a:lnTo>
                  <a:pt x="267843" y="187772"/>
                </a:lnTo>
                <a:lnTo>
                  <a:pt x="266151" y="168036"/>
                </a:lnTo>
                <a:lnTo>
                  <a:pt x="254310" y="161270"/>
                </a:lnTo>
                <a:lnTo>
                  <a:pt x="243032" y="167472"/>
                </a:lnTo>
                <a:lnTo>
                  <a:pt x="231755" y="165781"/>
                </a:lnTo>
                <a:lnTo>
                  <a:pt x="226680" y="151684"/>
                </a:lnTo>
                <a:lnTo>
                  <a:pt x="221041" y="118979"/>
                </a:lnTo>
                <a:lnTo>
                  <a:pt x="214274" y="108265"/>
                </a:lnTo>
                <a:lnTo>
                  <a:pt x="192283" y="98679"/>
                </a:lnTo>
                <a:lnTo>
                  <a:pt x="180442" y="105446"/>
                </a:lnTo>
                <a:lnTo>
                  <a:pt x="146609" y="98679"/>
                </a:lnTo>
                <a:lnTo>
                  <a:pt x="144353" y="50185"/>
                </a:lnTo>
                <a:lnTo>
                  <a:pt x="133640" y="29886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2" name="Freeform: Shape 365">
            <a:extLst>
              <a:ext uri="{FF2B5EF4-FFF2-40B4-BE49-F238E27FC236}">
                <a16:creationId xmlns:a16="http://schemas.microsoft.com/office/drawing/2014/main" id="{52C86895-3AD2-45F5-96F4-89435AA81AE9}"/>
              </a:ext>
            </a:extLst>
          </p:cNvPr>
          <p:cNvSpPr/>
          <p:nvPr/>
        </p:nvSpPr>
        <p:spPr>
          <a:xfrm>
            <a:off x="6632834" y="3250628"/>
            <a:ext cx="12641" cy="29497"/>
          </a:xfrm>
          <a:custGeom>
            <a:avLst/>
            <a:gdLst>
              <a:gd name="connsiteX0" fmla="*/ 15225 w 16916"/>
              <a:gd name="connsiteY0" fmla="*/ 5075 h 39471"/>
              <a:gd name="connsiteX1" fmla="*/ 3948 w 16916"/>
              <a:gd name="connsiteY1" fmla="*/ 0 h 39471"/>
              <a:gd name="connsiteX2" fmla="*/ 0 w 16916"/>
              <a:gd name="connsiteY2" fmla="*/ 24247 h 39471"/>
              <a:gd name="connsiteX3" fmla="*/ 7894 w 16916"/>
              <a:gd name="connsiteY3" fmla="*/ 28194 h 39471"/>
              <a:gd name="connsiteX4" fmla="*/ 1128 w 16916"/>
              <a:gd name="connsiteY4" fmla="*/ 32705 h 39471"/>
              <a:gd name="connsiteX5" fmla="*/ 564 w 16916"/>
              <a:gd name="connsiteY5" fmla="*/ 42291 h 39471"/>
              <a:gd name="connsiteX6" fmla="*/ 14097 w 16916"/>
              <a:gd name="connsiteY6" fmla="*/ 37780 h 39471"/>
              <a:gd name="connsiteX7" fmla="*/ 17481 w 16916"/>
              <a:gd name="connsiteY7" fmla="*/ 27066 h 39471"/>
              <a:gd name="connsiteX8" fmla="*/ 15225 w 16916"/>
              <a:gd name="connsiteY8" fmla="*/ 5075 h 394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916" h="39471">
                <a:moveTo>
                  <a:pt x="15225" y="5075"/>
                </a:moveTo>
                <a:lnTo>
                  <a:pt x="3948" y="0"/>
                </a:lnTo>
                <a:lnTo>
                  <a:pt x="0" y="24247"/>
                </a:lnTo>
                <a:lnTo>
                  <a:pt x="7894" y="28194"/>
                </a:lnTo>
                <a:lnTo>
                  <a:pt x="1128" y="32705"/>
                </a:lnTo>
                <a:lnTo>
                  <a:pt x="564" y="42291"/>
                </a:lnTo>
                <a:lnTo>
                  <a:pt x="14097" y="37780"/>
                </a:lnTo>
                <a:lnTo>
                  <a:pt x="17481" y="27066"/>
                </a:lnTo>
                <a:lnTo>
                  <a:pt x="15225" y="5075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3" name="Freeform: Shape 366">
            <a:extLst>
              <a:ext uri="{FF2B5EF4-FFF2-40B4-BE49-F238E27FC236}">
                <a16:creationId xmlns:a16="http://schemas.microsoft.com/office/drawing/2014/main" id="{C82DBB7D-FAF7-4D81-8BBE-0B4DAAB9E418}"/>
              </a:ext>
            </a:extLst>
          </p:cNvPr>
          <p:cNvSpPr/>
          <p:nvPr/>
        </p:nvSpPr>
        <p:spPr>
          <a:xfrm>
            <a:off x="7010811" y="3422552"/>
            <a:ext cx="16855" cy="37924"/>
          </a:xfrm>
          <a:custGeom>
            <a:avLst/>
            <a:gdLst>
              <a:gd name="connsiteX0" fmla="*/ 23119 w 22555"/>
              <a:gd name="connsiteY0" fmla="*/ 53569 h 50749"/>
              <a:gd name="connsiteX1" fmla="*/ 27630 w 22555"/>
              <a:gd name="connsiteY1" fmla="*/ 32141 h 50749"/>
              <a:gd name="connsiteX2" fmla="*/ 24811 w 22555"/>
              <a:gd name="connsiteY2" fmla="*/ 11278 h 50749"/>
              <a:gd name="connsiteX3" fmla="*/ 14097 w 22555"/>
              <a:gd name="connsiteY3" fmla="*/ 0 h 50749"/>
              <a:gd name="connsiteX4" fmla="*/ 6203 w 22555"/>
              <a:gd name="connsiteY4" fmla="*/ 3947 h 50749"/>
              <a:gd name="connsiteX5" fmla="*/ 0 w 22555"/>
              <a:gd name="connsiteY5" fmla="*/ 22555 h 50749"/>
              <a:gd name="connsiteX6" fmla="*/ 4511 w 22555"/>
              <a:gd name="connsiteY6" fmla="*/ 49058 h 50749"/>
              <a:gd name="connsiteX7" fmla="*/ 14661 w 22555"/>
              <a:gd name="connsiteY7" fmla="*/ 55824 h 50749"/>
              <a:gd name="connsiteX8" fmla="*/ 23119 w 22555"/>
              <a:gd name="connsiteY8" fmla="*/ 53569 h 507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555" h="50749">
                <a:moveTo>
                  <a:pt x="23119" y="53569"/>
                </a:moveTo>
                <a:lnTo>
                  <a:pt x="27630" y="32141"/>
                </a:lnTo>
                <a:lnTo>
                  <a:pt x="24811" y="11278"/>
                </a:lnTo>
                <a:lnTo>
                  <a:pt x="14097" y="0"/>
                </a:lnTo>
                <a:lnTo>
                  <a:pt x="6203" y="3947"/>
                </a:lnTo>
                <a:lnTo>
                  <a:pt x="0" y="22555"/>
                </a:lnTo>
                <a:lnTo>
                  <a:pt x="4511" y="49058"/>
                </a:lnTo>
                <a:lnTo>
                  <a:pt x="14661" y="55824"/>
                </a:lnTo>
                <a:lnTo>
                  <a:pt x="23119" y="53569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4" name="Freeform: Shape 367">
            <a:extLst>
              <a:ext uri="{FF2B5EF4-FFF2-40B4-BE49-F238E27FC236}">
                <a16:creationId xmlns:a16="http://schemas.microsoft.com/office/drawing/2014/main" id="{0D8CA3CF-0857-47E4-B7DF-3E1FE284FD06}"/>
              </a:ext>
            </a:extLst>
          </p:cNvPr>
          <p:cNvSpPr/>
          <p:nvPr/>
        </p:nvSpPr>
        <p:spPr>
          <a:xfrm>
            <a:off x="6269185" y="2833884"/>
            <a:ext cx="202261" cy="117986"/>
          </a:xfrm>
          <a:custGeom>
            <a:avLst/>
            <a:gdLst>
              <a:gd name="connsiteX0" fmla="*/ 170291 w 270662"/>
              <a:gd name="connsiteY0" fmla="*/ 0 h 157886"/>
              <a:gd name="connsiteX1" fmla="*/ 158450 w 270662"/>
              <a:gd name="connsiteY1" fmla="*/ 0 h 157886"/>
              <a:gd name="connsiteX2" fmla="*/ 152811 w 270662"/>
              <a:gd name="connsiteY2" fmla="*/ 8458 h 157886"/>
              <a:gd name="connsiteX3" fmla="*/ 132512 w 270662"/>
              <a:gd name="connsiteY3" fmla="*/ 11842 h 157886"/>
              <a:gd name="connsiteX4" fmla="*/ 123490 w 270662"/>
              <a:gd name="connsiteY4" fmla="*/ 16916 h 157886"/>
              <a:gd name="connsiteX5" fmla="*/ 109957 w 270662"/>
              <a:gd name="connsiteY5" fmla="*/ 8458 h 157886"/>
              <a:gd name="connsiteX6" fmla="*/ 91912 w 270662"/>
              <a:gd name="connsiteY6" fmla="*/ 8458 h 157886"/>
              <a:gd name="connsiteX7" fmla="*/ 73868 w 270662"/>
              <a:gd name="connsiteY7" fmla="*/ 4511 h 157886"/>
              <a:gd name="connsiteX8" fmla="*/ 63154 w 270662"/>
              <a:gd name="connsiteY8" fmla="*/ 11842 h 157886"/>
              <a:gd name="connsiteX9" fmla="*/ 46802 w 270662"/>
              <a:gd name="connsiteY9" fmla="*/ 19172 h 157886"/>
              <a:gd name="connsiteX10" fmla="*/ 36088 w 270662"/>
              <a:gd name="connsiteY10" fmla="*/ 42855 h 157886"/>
              <a:gd name="connsiteX11" fmla="*/ 21427 w 270662"/>
              <a:gd name="connsiteY11" fmla="*/ 67102 h 157886"/>
              <a:gd name="connsiteX12" fmla="*/ 0 w 270662"/>
              <a:gd name="connsiteY12" fmla="*/ 73304 h 157886"/>
              <a:gd name="connsiteX13" fmla="*/ 16353 w 270662"/>
              <a:gd name="connsiteY13" fmla="*/ 87401 h 157886"/>
              <a:gd name="connsiteX14" fmla="*/ 20863 w 270662"/>
              <a:gd name="connsiteY14" fmla="*/ 98115 h 157886"/>
              <a:gd name="connsiteX15" fmla="*/ 38908 w 270662"/>
              <a:gd name="connsiteY15" fmla="*/ 106573 h 157886"/>
              <a:gd name="connsiteX16" fmla="*/ 42855 w 270662"/>
              <a:gd name="connsiteY16" fmla="*/ 120670 h 157886"/>
              <a:gd name="connsiteX17" fmla="*/ 60335 w 270662"/>
              <a:gd name="connsiteY17" fmla="*/ 130820 h 157886"/>
              <a:gd name="connsiteX18" fmla="*/ 68229 w 270662"/>
              <a:gd name="connsiteY18" fmla="*/ 123490 h 157886"/>
              <a:gd name="connsiteX19" fmla="*/ 76124 w 270662"/>
              <a:gd name="connsiteY19" fmla="*/ 127437 h 157886"/>
              <a:gd name="connsiteX20" fmla="*/ 69921 w 270662"/>
              <a:gd name="connsiteY20" fmla="*/ 133640 h 157886"/>
              <a:gd name="connsiteX21" fmla="*/ 75560 w 270662"/>
              <a:gd name="connsiteY21" fmla="*/ 139278 h 157886"/>
              <a:gd name="connsiteX22" fmla="*/ 85709 w 270662"/>
              <a:gd name="connsiteY22" fmla="*/ 153939 h 157886"/>
              <a:gd name="connsiteX23" fmla="*/ 96423 w 270662"/>
              <a:gd name="connsiteY23" fmla="*/ 151120 h 157886"/>
              <a:gd name="connsiteX24" fmla="*/ 118979 w 270662"/>
              <a:gd name="connsiteY24" fmla="*/ 156759 h 157886"/>
              <a:gd name="connsiteX25" fmla="*/ 161270 w 270662"/>
              <a:gd name="connsiteY25" fmla="*/ 158450 h 157886"/>
              <a:gd name="connsiteX26" fmla="*/ 174239 w 270662"/>
              <a:gd name="connsiteY26" fmla="*/ 149428 h 157886"/>
              <a:gd name="connsiteX27" fmla="*/ 206944 w 270662"/>
              <a:gd name="connsiteY27" fmla="*/ 141534 h 157886"/>
              <a:gd name="connsiteX28" fmla="*/ 229499 w 270662"/>
              <a:gd name="connsiteY28" fmla="*/ 153939 h 157886"/>
              <a:gd name="connsiteX29" fmla="*/ 246415 w 270662"/>
              <a:gd name="connsiteY29" fmla="*/ 157886 h 157886"/>
              <a:gd name="connsiteX30" fmla="*/ 248671 w 270662"/>
              <a:gd name="connsiteY30" fmla="*/ 116159 h 157886"/>
              <a:gd name="connsiteX31" fmla="*/ 257693 w 270662"/>
              <a:gd name="connsiteY31" fmla="*/ 118979 h 157886"/>
              <a:gd name="connsiteX32" fmla="*/ 270662 w 270662"/>
              <a:gd name="connsiteY32" fmla="*/ 111648 h 157886"/>
              <a:gd name="connsiteX33" fmla="*/ 268407 w 270662"/>
              <a:gd name="connsiteY33" fmla="*/ 102626 h 157886"/>
              <a:gd name="connsiteX34" fmla="*/ 254873 w 270662"/>
              <a:gd name="connsiteY34" fmla="*/ 96424 h 157886"/>
              <a:gd name="connsiteX35" fmla="*/ 242468 w 270662"/>
              <a:gd name="connsiteY35" fmla="*/ 102062 h 157886"/>
              <a:gd name="connsiteX36" fmla="*/ 228935 w 270662"/>
              <a:gd name="connsiteY36" fmla="*/ 95860 h 157886"/>
              <a:gd name="connsiteX37" fmla="*/ 221604 w 270662"/>
              <a:gd name="connsiteY37" fmla="*/ 80071 h 157886"/>
              <a:gd name="connsiteX38" fmla="*/ 222733 w 270662"/>
              <a:gd name="connsiteY38" fmla="*/ 64846 h 157886"/>
              <a:gd name="connsiteX39" fmla="*/ 219349 w 270662"/>
              <a:gd name="connsiteY39" fmla="*/ 49622 h 157886"/>
              <a:gd name="connsiteX40" fmla="*/ 200177 w 270662"/>
              <a:gd name="connsiteY40" fmla="*/ 28758 h 157886"/>
              <a:gd name="connsiteX41" fmla="*/ 189464 w 270662"/>
              <a:gd name="connsiteY41" fmla="*/ 14097 h 157886"/>
              <a:gd name="connsiteX42" fmla="*/ 179313 w 270662"/>
              <a:gd name="connsiteY42" fmla="*/ 3383 h 157886"/>
              <a:gd name="connsiteX43" fmla="*/ 170291 w 270662"/>
              <a:gd name="connsiteY43" fmla="*/ 0 h 1578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270662" h="157886">
                <a:moveTo>
                  <a:pt x="170291" y="0"/>
                </a:moveTo>
                <a:lnTo>
                  <a:pt x="158450" y="0"/>
                </a:lnTo>
                <a:lnTo>
                  <a:pt x="152811" y="8458"/>
                </a:lnTo>
                <a:lnTo>
                  <a:pt x="132512" y="11842"/>
                </a:lnTo>
                <a:lnTo>
                  <a:pt x="123490" y="16916"/>
                </a:lnTo>
                <a:lnTo>
                  <a:pt x="109957" y="8458"/>
                </a:lnTo>
                <a:lnTo>
                  <a:pt x="91912" y="8458"/>
                </a:lnTo>
                <a:lnTo>
                  <a:pt x="73868" y="4511"/>
                </a:lnTo>
                <a:lnTo>
                  <a:pt x="63154" y="11842"/>
                </a:lnTo>
                <a:lnTo>
                  <a:pt x="46802" y="19172"/>
                </a:lnTo>
                <a:lnTo>
                  <a:pt x="36088" y="42855"/>
                </a:lnTo>
                <a:lnTo>
                  <a:pt x="21427" y="67102"/>
                </a:lnTo>
                <a:lnTo>
                  <a:pt x="0" y="73304"/>
                </a:lnTo>
                <a:lnTo>
                  <a:pt x="16353" y="87401"/>
                </a:lnTo>
                <a:lnTo>
                  <a:pt x="20863" y="98115"/>
                </a:lnTo>
                <a:lnTo>
                  <a:pt x="38908" y="106573"/>
                </a:lnTo>
                <a:lnTo>
                  <a:pt x="42855" y="120670"/>
                </a:lnTo>
                <a:lnTo>
                  <a:pt x="60335" y="130820"/>
                </a:lnTo>
                <a:lnTo>
                  <a:pt x="68229" y="123490"/>
                </a:lnTo>
                <a:lnTo>
                  <a:pt x="76124" y="127437"/>
                </a:lnTo>
                <a:lnTo>
                  <a:pt x="69921" y="133640"/>
                </a:lnTo>
                <a:lnTo>
                  <a:pt x="75560" y="139278"/>
                </a:lnTo>
                <a:lnTo>
                  <a:pt x="85709" y="153939"/>
                </a:lnTo>
                <a:lnTo>
                  <a:pt x="96423" y="151120"/>
                </a:lnTo>
                <a:lnTo>
                  <a:pt x="118979" y="156759"/>
                </a:lnTo>
                <a:lnTo>
                  <a:pt x="161270" y="158450"/>
                </a:lnTo>
                <a:lnTo>
                  <a:pt x="174239" y="149428"/>
                </a:lnTo>
                <a:lnTo>
                  <a:pt x="206944" y="141534"/>
                </a:lnTo>
                <a:lnTo>
                  <a:pt x="229499" y="153939"/>
                </a:lnTo>
                <a:lnTo>
                  <a:pt x="246415" y="157886"/>
                </a:lnTo>
                <a:lnTo>
                  <a:pt x="248671" y="116159"/>
                </a:lnTo>
                <a:lnTo>
                  <a:pt x="257693" y="118979"/>
                </a:lnTo>
                <a:lnTo>
                  <a:pt x="270662" y="111648"/>
                </a:lnTo>
                <a:lnTo>
                  <a:pt x="268407" y="102626"/>
                </a:lnTo>
                <a:lnTo>
                  <a:pt x="254873" y="96424"/>
                </a:lnTo>
                <a:lnTo>
                  <a:pt x="242468" y="102062"/>
                </a:lnTo>
                <a:lnTo>
                  <a:pt x="228935" y="95860"/>
                </a:lnTo>
                <a:lnTo>
                  <a:pt x="221604" y="80071"/>
                </a:lnTo>
                <a:lnTo>
                  <a:pt x="222733" y="64846"/>
                </a:lnTo>
                <a:lnTo>
                  <a:pt x="219349" y="49622"/>
                </a:lnTo>
                <a:lnTo>
                  <a:pt x="200177" y="28758"/>
                </a:lnTo>
                <a:lnTo>
                  <a:pt x="189464" y="14097"/>
                </a:lnTo>
                <a:lnTo>
                  <a:pt x="179313" y="3383"/>
                </a:lnTo>
                <a:lnTo>
                  <a:pt x="170291" y="0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5" name="Freeform: Shape 368">
            <a:extLst>
              <a:ext uri="{FF2B5EF4-FFF2-40B4-BE49-F238E27FC236}">
                <a16:creationId xmlns:a16="http://schemas.microsoft.com/office/drawing/2014/main" id="{272EF83E-2C4E-45A2-A869-75D75835444E}"/>
              </a:ext>
            </a:extLst>
          </p:cNvPr>
          <p:cNvSpPr/>
          <p:nvPr/>
        </p:nvSpPr>
        <p:spPr>
          <a:xfrm>
            <a:off x="6233367" y="2069503"/>
            <a:ext cx="2920155" cy="948102"/>
          </a:xfrm>
          <a:custGeom>
            <a:avLst/>
            <a:gdLst>
              <a:gd name="connsiteX0" fmla="*/ 1482441 w 3907688"/>
              <a:gd name="connsiteY0" fmla="*/ 57516 h 1268730"/>
              <a:gd name="connsiteX1" fmla="*/ 1457066 w 3907688"/>
              <a:gd name="connsiteY1" fmla="*/ 34961 h 1268730"/>
              <a:gd name="connsiteX2" fmla="*/ 1380378 w 3907688"/>
              <a:gd name="connsiteY2" fmla="*/ 11841 h 1268730"/>
              <a:gd name="connsiteX3" fmla="*/ 1327374 w 3907688"/>
              <a:gd name="connsiteY3" fmla="*/ 0 h 1268730"/>
              <a:gd name="connsiteX4" fmla="*/ 1292413 w 3907688"/>
              <a:gd name="connsiteY4" fmla="*/ 5075 h 1268730"/>
              <a:gd name="connsiteX5" fmla="*/ 1262528 w 3907688"/>
              <a:gd name="connsiteY5" fmla="*/ 21427 h 1268730"/>
              <a:gd name="connsiteX6" fmla="*/ 1295232 w 3907688"/>
              <a:gd name="connsiteY6" fmla="*/ 25938 h 1268730"/>
              <a:gd name="connsiteX7" fmla="*/ 1332448 w 3907688"/>
              <a:gd name="connsiteY7" fmla="*/ 43983 h 1268730"/>
              <a:gd name="connsiteX8" fmla="*/ 1377558 w 3907688"/>
              <a:gd name="connsiteY8" fmla="*/ 53569 h 1268730"/>
              <a:gd name="connsiteX9" fmla="*/ 1442405 w 3907688"/>
              <a:gd name="connsiteY9" fmla="*/ 60899 h 1268730"/>
              <a:gd name="connsiteX10" fmla="*/ 1482441 w 3907688"/>
              <a:gd name="connsiteY10" fmla="*/ 57516 h 1268730"/>
              <a:gd name="connsiteX11" fmla="*/ 474787 w 3907688"/>
              <a:gd name="connsiteY11" fmla="*/ 16353 h 1268730"/>
              <a:gd name="connsiteX12" fmla="*/ 479862 w 3907688"/>
              <a:gd name="connsiteY12" fmla="*/ 12969 h 1268730"/>
              <a:gd name="connsiteX13" fmla="*/ 447721 w 3907688"/>
              <a:gd name="connsiteY13" fmla="*/ 7894 h 1268730"/>
              <a:gd name="connsiteX14" fmla="*/ 431932 w 3907688"/>
              <a:gd name="connsiteY14" fmla="*/ 11841 h 1268730"/>
              <a:gd name="connsiteX15" fmla="*/ 424601 w 3907688"/>
              <a:gd name="connsiteY15" fmla="*/ 17480 h 1268730"/>
              <a:gd name="connsiteX16" fmla="*/ 416143 w 3907688"/>
              <a:gd name="connsiteY16" fmla="*/ 10714 h 1268730"/>
              <a:gd name="connsiteX17" fmla="*/ 386822 w 3907688"/>
              <a:gd name="connsiteY17" fmla="*/ 11278 h 1268730"/>
              <a:gd name="connsiteX18" fmla="*/ 351861 w 3907688"/>
              <a:gd name="connsiteY18" fmla="*/ 15789 h 1268730"/>
              <a:gd name="connsiteX19" fmla="*/ 395280 w 3907688"/>
              <a:gd name="connsiteY19" fmla="*/ 16353 h 1268730"/>
              <a:gd name="connsiteX20" fmla="*/ 389077 w 3907688"/>
              <a:gd name="connsiteY20" fmla="*/ 23683 h 1268730"/>
              <a:gd name="connsiteX21" fmla="*/ 413888 w 3907688"/>
              <a:gd name="connsiteY21" fmla="*/ 29322 h 1268730"/>
              <a:gd name="connsiteX22" fmla="*/ 434188 w 3907688"/>
              <a:gd name="connsiteY22" fmla="*/ 25375 h 1268730"/>
              <a:gd name="connsiteX23" fmla="*/ 434751 w 3907688"/>
              <a:gd name="connsiteY23" fmla="*/ 21427 h 1268730"/>
              <a:gd name="connsiteX24" fmla="*/ 451104 w 3907688"/>
              <a:gd name="connsiteY24" fmla="*/ 19736 h 1268730"/>
              <a:gd name="connsiteX25" fmla="*/ 474787 w 3907688"/>
              <a:gd name="connsiteY25" fmla="*/ 16353 h 1268730"/>
              <a:gd name="connsiteX26" fmla="*/ 1605366 w 3907688"/>
              <a:gd name="connsiteY26" fmla="*/ 72177 h 1268730"/>
              <a:gd name="connsiteX27" fmla="*/ 1596908 w 3907688"/>
              <a:gd name="connsiteY27" fmla="*/ 62027 h 1268730"/>
              <a:gd name="connsiteX28" fmla="*/ 1526423 w 3907688"/>
              <a:gd name="connsiteY28" fmla="*/ 47366 h 1268730"/>
              <a:gd name="connsiteX29" fmla="*/ 1509507 w 3907688"/>
              <a:gd name="connsiteY29" fmla="*/ 45674 h 1268730"/>
              <a:gd name="connsiteX30" fmla="*/ 1497101 w 3907688"/>
              <a:gd name="connsiteY30" fmla="*/ 48494 h 1268730"/>
              <a:gd name="connsiteX31" fmla="*/ 1503868 w 3907688"/>
              <a:gd name="connsiteY31" fmla="*/ 82326 h 1268730"/>
              <a:gd name="connsiteX32" fmla="*/ 1605366 w 3907688"/>
              <a:gd name="connsiteY32" fmla="*/ 72177 h 1268730"/>
              <a:gd name="connsiteX33" fmla="*/ 1691076 w 3907688"/>
              <a:gd name="connsiteY33" fmla="*/ 107701 h 1268730"/>
              <a:gd name="connsiteX34" fmla="*/ 1639199 w 3907688"/>
              <a:gd name="connsiteY34" fmla="*/ 103754 h 1268730"/>
              <a:gd name="connsiteX35" fmla="*/ 1658371 w 3907688"/>
              <a:gd name="connsiteY35" fmla="*/ 96987 h 1268730"/>
              <a:gd name="connsiteX36" fmla="*/ 1612133 w 3907688"/>
              <a:gd name="connsiteY36" fmla="*/ 88529 h 1268730"/>
              <a:gd name="connsiteX37" fmla="*/ 1577736 w 3907688"/>
              <a:gd name="connsiteY37" fmla="*/ 99243 h 1268730"/>
              <a:gd name="connsiteX38" fmla="*/ 1572097 w 3907688"/>
              <a:gd name="connsiteY38" fmla="*/ 110520 h 1268730"/>
              <a:gd name="connsiteX39" fmla="*/ 1580555 w 3907688"/>
              <a:gd name="connsiteY39" fmla="*/ 122362 h 1268730"/>
              <a:gd name="connsiteX40" fmla="*/ 1541648 w 3907688"/>
              <a:gd name="connsiteY40" fmla="*/ 121798 h 1268730"/>
              <a:gd name="connsiteX41" fmla="*/ 1511762 w 3907688"/>
              <a:gd name="connsiteY41" fmla="*/ 136459 h 1268730"/>
              <a:gd name="connsiteX42" fmla="*/ 1487515 w 3907688"/>
              <a:gd name="connsiteY42" fmla="*/ 130256 h 1268730"/>
              <a:gd name="connsiteX43" fmla="*/ 1435075 w 3907688"/>
              <a:gd name="connsiteY43" fmla="*/ 133076 h 1268730"/>
              <a:gd name="connsiteX44" fmla="*/ 1436766 w 3907688"/>
              <a:gd name="connsiteY44" fmla="*/ 140406 h 1268730"/>
              <a:gd name="connsiteX45" fmla="*/ 1384889 w 3907688"/>
              <a:gd name="connsiteY45" fmla="*/ 144353 h 1268730"/>
              <a:gd name="connsiteX46" fmla="*/ 1357259 w 3907688"/>
              <a:gd name="connsiteY46" fmla="*/ 157886 h 1268730"/>
              <a:gd name="connsiteX47" fmla="*/ 1333576 w 3907688"/>
              <a:gd name="connsiteY47" fmla="*/ 159014 h 1268730"/>
              <a:gd name="connsiteX48" fmla="*/ 1326809 w 3907688"/>
              <a:gd name="connsiteY48" fmla="*/ 177622 h 1268730"/>
              <a:gd name="connsiteX49" fmla="*/ 1357823 w 3907688"/>
              <a:gd name="connsiteY49" fmla="*/ 192283 h 1268730"/>
              <a:gd name="connsiteX50" fmla="*/ 1314404 w 3907688"/>
              <a:gd name="connsiteY50" fmla="*/ 196230 h 1268730"/>
              <a:gd name="connsiteX51" fmla="*/ 1260836 w 3907688"/>
              <a:gd name="connsiteY51" fmla="*/ 194539 h 1268730"/>
              <a:gd name="connsiteX52" fmla="*/ 1228130 w 3907688"/>
              <a:gd name="connsiteY52" fmla="*/ 200741 h 1268730"/>
              <a:gd name="connsiteX53" fmla="*/ 1255197 w 3907688"/>
              <a:gd name="connsiteY53" fmla="*/ 231191 h 1268730"/>
              <a:gd name="connsiteX54" fmla="*/ 1294105 w 3907688"/>
              <a:gd name="connsiteY54" fmla="*/ 255438 h 1268730"/>
              <a:gd name="connsiteX55" fmla="*/ 1239972 w 3907688"/>
              <a:gd name="connsiteY55" fmla="*/ 238521 h 1268730"/>
              <a:gd name="connsiteX56" fmla="*/ 1195426 w 3907688"/>
              <a:gd name="connsiteY56" fmla="*/ 240213 h 1268730"/>
              <a:gd name="connsiteX57" fmla="*/ 1166668 w 3907688"/>
              <a:gd name="connsiteY57" fmla="*/ 251490 h 1268730"/>
              <a:gd name="connsiteX58" fmla="*/ 1192043 w 3907688"/>
              <a:gd name="connsiteY58" fmla="*/ 272918 h 1268730"/>
              <a:gd name="connsiteX59" fmla="*/ 1164412 w 3907688"/>
              <a:gd name="connsiteY59" fmla="*/ 267279 h 1268730"/>
              <a:gd name="connsiteX60" fmla="*/ 1152571 w 3907688"/>
              <a:gd name="connsiteY60" fmla="*/ 239085 h 1268730"/>
              <a:gd name="connsiteX61" fmla="*/ 1128888 w 3907688"/>
              <a:gd name="connsiteY61" fmla="*/ 223296 h 1268730"/>
              <a:gd name="connsiteX62" fmla="*/ 1118738 w 3907688"/>
              <a:gd name="connsiteY62" fmla="*/ 223860 h 1268730"/>
              <a:gd name="connsiteX63" fmla="*/ 1139038 w 3907688"/>
              <a:gd name="connsiteY63" fmla="*/ 244724 h 1268730"/>
              <a:gd name="connsiteX64" fmla="*/ 1113099 w 3907688"/>
              <a:gd name="connsiteY64" fmla="*/ 264460 h 1268730"/>
              <a:gd name="connsiteX65" fmla="*/ 1158773 w 3907688"/>
              <a:gd name="connsiteY65" fmla="*/ 288143 h 1268730"/>
              <a:gd name="connsiteX66" fmla="*/ 1161029 w 3907688"/>
              <a:gd name="connsiteY66" fmla="*/ 318592 h 1268730"/>
              <a:gd name="connsiteX67" fmla="*/ 1177381 w 3907688"/>
              <a:gd name="connsiteY67" fmla="*/ 334945 h 1268730"/>
              <a:gd name="connsiteX68" fmla="*/ 1203884 w 3907688"/>
              <a:gd name="connsiteY68" fmla="*/ 337764 h 1268730"/>
              <a:gd name="connsiteX69" fmla="*/ 1206140 w 3907688"/>
              <a:gd name="connsiteY69" fmla="*/ 357500 h 1268730"/>
              <a:gd name="connsiteX70" fmla="*/ 1230950 w 3907688"/>
              <a:gd name="connsiteY70" fmla="*/ 374980 h 1268730"/>
              <a:gd name="connsiteX71" fmla="*/ 1220237 w 3907688"/>
              <a:gd name="connsiteY71" fmla="*/ 389641 h 1268730"/>
              <a:gd name="connsiteX72" fmla="*/ 1223056 w 3907688"/>
              <a:gd name="connsiteY72" fmla="*/ 404866 h 1268730"/>
              <a:gd name="connsiteX73" fmla="*/ 1202192 w 3907688"/>
              <a:gd name="connsiteY73" fmla="*/ 412760 h 1268730"/>
              <a:gd name="connsiteX74" fmla="*/ 1199373 w 3907688"/>
              <a:gd name="connsiteY74" fmla="*/ 424038 h 1268730"/>
              <a:gd name="connsiteX75" fmla="*/ 1169487 w 3907688"/>
              <a:gd name="connsiteY75" fmla="*/ 419527 h 1268730"/>
              <a:gd name="connsiteX76" fmla="*/ 1189223 w 3907688"/>
              <a:gd name="connsiteY76" fmla="*/ 375544 h 1268730"/>
              <a:gd name="connsiteX77" fmla="*/ 1186404 w 3907688"/>
              <a:gd name="connsiteY77" fmla="*/ 355244 h 1268730"/>
              <a:gd name="connsiteX78" fmla="*/ 1148623 w 3907688"/>
              <a:gd name="connsiteY78" fmla="*/ 336636 h 1268730"/>
              <a:gd name="connsiteX79" fmla="*/ 1127196 w 3907688"/>
              <a:gd name="connsiteY79" fmla="*/ 295473 h 1268730"/>
              <a:gd name="connsiteX80" fmla="*/ 1106332 w 3907688"/>
              <a:gd name="connsiteY80" fmla="*/ 274610 h 1268730"/>
              <a:gd name="connsiteX81" fmla="*/ 1086033 w 3907688"/>
              <a:gd name="connsiteY81" fmla="*/ 265587 h 1268730"/>
              <a:gd name="connsiteX82" fmla="*/ 1090544 w 3907688"/>
              <a:gd name="connsiteY82" fmla="*/ 241905 h 1268730"/>
              <a:gd name="connsiteX83" fmla="*/ 1074191 w 3907688"/>
              <a:gd name="connsiteY83" fmla="*/ 225552 h 1268730"/>
              <a:gd name="connsiteX84" fmla="*/ 1010473 w 3907688"/>
              <a:gd name="connsiteY84" fmla="*/ 217658 h 1268730"/>
              <a:gd name="connsiteX85" fmla="*/ 998631 w 3907688"/>
              <a:gd name="connsiteY85" fmla="*/ 223296 h 1268730"/>
              <a:gd name="connsiteX86" fmla="*/ 1001451 w 3907688"/>
              <a:gd name="connsiteY86" fmla="*/ 249799 h 1268730"/>
              <a:gd name="connsiteX87" fmla="*/ 977204 w 3907688"/>
              <a:gd name="connsiteY87" fmla="*/ 276301 h 1268730"/>
              <a:gd name="connsiteX88" fmla="*/ 983971 w 3907688"/>
              <a:gd name="connsiteY88" fmla="*/ 285887 h 1268730"/>
              <a:gd name="connsiteX89" fmla="*/ 1010473 w 3907688"/>
              <a:gd name="connsiteY89" fmla="*/ 309006 h 1268730"/>
              <a:gd name="connsiteX90" fmla="*/ 1011036 w 3907688"/>
              <a:gd name="connsiteY90" fmla="*/ 323667 h 1268730"/>
              <a:gd name="connsiteX91" fmla="*/ 1040922 w 3907688"/>
              <a:gd name="connsiteY91" fmla="*/ 326487 h 1268730"/>
              <a:gd name="connsiteX92" fmla="*/ 1045434 w 3907688"/>
              <a:gd name="connsiteY92" fmla="*/ 332689 h 1268730"/>
              <a:gd name="connsiteX93" fmla="*/ 1078138 w 3907688"/>
              <a:gd name="connsiteY93" fmla="*/ 349042 h 1268730"/>
              <a:gd name="connsiteX94" fmla="*/ 1072500 w 3907688"/>
              <a:gd name="connsiteY94" fmla="*/ 364830 h 1268730"/>
              <a:gd name="connsiteX95" fmla="*/ 968182 w 3907688"/>
              <a:gd name="connsiteY95" fmla="*/ 330434 h 1268730"/>
              <a:gd name="connsiteX96" fmla="*/ 930966 w 3907688"/>
              <a:gd name="connsiteY96" fmla="*/ 320848 h 1268730"/>
              <a:gd name="connsiteX97" fmla="*/ 858789 w 3907688"/>
              <a:gd name="connsiteY97" fmla="*/ 311826 h 1268730"/>
              <a:gd name="connsiteX98" fmla="*/ 852023 w 3907688"/>
              <a:gd name="connsiteY98" fmla="*/ 321412 h 1268730"/>
              <a:gd name="connsiteX99" fmla="*/ 885292 w 3907688"/>
              <a:gd name="connsiteY99" fmla="*/ 338892 h 1268730"/>
              <a:gd name="connsiteX100" fmla="*/ 870066 w 3907688"/>
              <a:gd name="connsiteY100" fmla="*/ 359192 h 1268730"/>
              <a:gd name="connsiteX101" fmla="*/ 833979 w 3907688"/>
              <a:gd name="connsiteY101" fmla="*/ 341147 h 1268730"/>
              <a:gd name="connsiteX102" fmla="*/ 805785 w 3907688"/>
              <a:gd name="connsiteY102" fmla="*/ 353553 h 1268730"/>
              <a:gd name="connsiteX103" fmla="*/ 762929 w 3907688"/>
              <a:gd name="connsiteY103" fmla="*/ 354117 h 1268730"/>
              <a:gd name="connsiteX104" fmla="*/ 751088 w 3907688"/>
              <a:gd name="connsiteY104" fmla="*/ 364830 h 1268730"/>
              <a:gd name="connsiteX105" fmla="*/ 721203 w 3907688"/>
              <a:gd name="connsiteY105" fmla="*/ 361447 h 1268730"/>
              <a:gd name="connsiteX106" fmla="*/ 735300 w 3907688"/>
              <a:gd name="connsiteY106" fmla="*/ 342839 h 1268730"/>
              <a:gd name="connsiteX107" fmla="*/ 717255 w 3907688"/>
              <a:gd name="connsiteY107" fmla="*/ 341711 h 1268730"/>
              <a:gd name="connsiteX108" fmla="*/ 647898 w 3907688"/>
              <a:gd name="connsiteY108" fmla="*/ 367650 h 1268730"/>
              <a:gd name="connsiteX109" fmla="*/ 605043 w 3907688"/>
              <a:gd name="connsiteY109" fmla="*/ 382311 h 1268730"/>
              <a:gd name="connsiteX110" fmla="*/ 607299 w 3907688"/>
              <a:gd name="connsiteY110" fmla="*/ 402046 h 1268730"/>
              <a:gd name="connsiteX111" fmla="*/ 573466 w 3907688"/>
              <a:gd name="connsiteY111" fmla="*/ 408813 h 1268730"/>
              <a:gd name="connsiteX112" fmla="*/ 550911 w 3907688"/>
              <a:gd name="connsiteY112" fmla="*/ 398099 h 1268730"/>
              <a:gd name="connsiteX113" fmla="*/ 544144 w 3907688"/>
              <a:gd name="connsiteY113" fmla="*/ 381183 h 1268730"/>
              <a:gd name="connsiteX114" fmla="*/ 572338 w 3907688"/>
              <a:gd name="connsiteY114" fmla="*/ 377236 h 1268730"/>
              <a:gd name="connsiteX115" fmla="*/ 552039 w 3907688"/>
              <a:gd name="connsiteY115" fmla="*/ 360319 h 1268730"/>
              <a:gd name="connsiteX116" fmla="*/ 483245 w 3907688"/>
              <a:gd name="connsiteY116" fmla="*/ 350169 h 1268730"/>
              <a:gd name="connsiteX117" fmla="*/ 507492 w 3907688"/>
              <a:gd name="connsiteY117" fmla="*/ 369341 h 1268730"/>
              <a:gd name="connsiteX118" fmla="*/ 502981 w 3907688"/>
              <a:gd name="connsiteY118" fmla="*/ 387386 h 1268730"/>
              <a:gd name="connsiteX119" fmla="*/ 529483 w 3907688"/>
              <a:gd name="connsiteY119" fmla="*/ 405994 h 1268730"/>
              <a:gd name="connsiteX120" fmla="*/ 523280 w 3907688"/>
              <a:gd name="connsiteY120" fmla="*/ 427421 h 1268730"/>
              <a:gd name="connsiteX121" fmla="*/ 497342 w 3907688"/>
              <a:gd name="connsiteY121" fmla="*/ 416707 h 1268730"/>
              <a:gd name="connsiteX122" fmla="*/ 474787 w 3907688"/>
              <a:gd name="connsiteY122" fmla="*/ 415016 h 1268730"/>
              <a:gd name="connsiteX123" fmla="*/ 429676 w 3907688"/>
              <a:gd name="connsiteY123" fmla="*/ 445465 h 1268730"/>
              <a:gd name="connsiteX124" fmla="*/ 453360 w 3907688"/>
              <a:gd name="connsiteY124" fmla="*/ 468584 h 1268730"/>
              <a:gd name="connsiteX125" fmla="*/ 435315 w 3907688"/>
              <a:gd name="connsiteY125" fmla="*/ 476479 h 1268730"/>
              <a:gd name="connsiteX126" fmla="*/ 371033 w 3907688"/>
              <a:gd name="connsiteY126" fmla="*/ 456743 h 1268730"/>
              <a:gd name="connsiteX127" fmla="*/ 359191 w 3907688"/>
              <a:gd name="connsiteY127" fmla="*/ 468584 h 1268730"/>
              <a:gd name="connsiteX128" fmla="*/ 377800 w 3907688"/>
              <a:gd name="connsiteY128" fmla="*/ 482117 h 1268730"/>
              <a:gd name="connsiteX129" fmla="*/ 378927 w 3907688"/>
              <a:gd name="connsiteY129" fmla="*/ 497342 h 1268730"/>
              <a:gd name="connsiteX130" fmla="*/ 357500 w 3907688"/>
              <a:gd name="connsiteY130" fmla="*/ 489448 h 1268730"/>
              <a:gd name="connsiteX131" fmla="*/ 323667 w 3907688"/>
              <a:gd name="connsiteY131" fmla="*/ 479862 h 1268730"/>
              <a:gd name="connsiteX132" fmla="*/ 312953 w 3907688"/>
              <a:gd name="connsiteY132" fmla="*/ 447157 h 1268730"/>
              <a:gd name="connsiteX133" fmla="*/ 307315 w 3907688"/>
              <a:gd name="connsiteY133" fmla="*/ 432496 h 1268730"/>
              <a:gd name="connsiteX134" fmla="*/ 262204 w 3907688"/>
              <a:gd name="connsiteY134" fmla="*/ 409941 h 1268730"/>
              <a:gd name="connsiteX135" fmla="*/ 278557 w 3907688"/>
              <a:gd name="connsiteY135" fmla="*/ 405994 h 1268730"/>
              <a:gd name="connsiteX136" fmla="*/ 391897 w 3907688"/>
              <a:gd name="connsiteY136" fmla="*/ 429677 h 1268730"/>
              <a:gd name="connsiteX137" fmla="*/ 427985 w 3907688"/>
              <a:gd name="connsiteY137" fmla="*/ 421218 h 1268730"/>
              <a:gd name="connsiteX138" fmla="*/ 448848 w 3907688"/>
              <a:gd name="connsiteY138" fmla="*/ 404866 h 1268730"/>
              <a:gd name="connsiteX139" fmla="*/ 439826 w 3907688"/>
              <a:gd name="connsiteY139" fmla="*/ 384566 h 1268730"/>
              <a:gd name="connsiteX140" fmla="*/ 417271 w 3907688"/>
              <a:gd name="connsiteY140" fmla="*/ 369905 h 1268730"/>
              <a:gd name="connsiteX141" fmla="*/ 318028 w 3907688"/>
              <a:gd name="connsiteY141" fmla="*/ 335509 h 1268730"/>
              <a:gd name="connsiteX142" fmla="*/ 252618 w 3907688"/>
              <a:gd name="connsiteY142" fmla="*/ 328178 h 1268730"/>
              <a:gd name="connsiteX143" fmla="*/ 209763 w 3907688"/>
              <a:gd name="connsiteY143" fmla="*/ 310134 h 1268730"/>
              <a:gd name="connsiteX144" fmla="*/ 189464 w 3907688"/>
              <a:gd name="connsiteY144" fmla="*/ 320284 h 1268730"/>
              <a:gd name="connsiteX145" fmla="*/ 189464 w 3907688"/>
              <a:gd name="connsiteY145" fmla="*/ 320284 h 1268730"/>
              <a:gd name="connsiteX146" fmla="*/ 153375 w 3907688"/>
              <a:gd name="connsiteY146" fmla="*/ 332689 h 1268730"/>
              <a:gd name="connsiteX147" fmla="*/ 135331 w 3907688"/>
              <a:gd name="connsiteY147" fmla="*/ 335509 h 1268730"/>
              <a:gd name="connsiteX148" fmla="*/ 137587 w 3907688"/>
              <a:gd name="connsiteY148" fmla="*/ 356372 h 1268730"/>
              <a:gd name="connsiteX149" fmla="*/ 178186 w 3907688"/>
              <a:gd name="connsiteY149" fmla="*/ 377236 h 1268730"/>
              <a:gd name="connsiteX150" fmla="*/ 162397 w 3907688"/>
              <a:gd name="connsiteY150" fmla="*/ 400355 h 1268730"/>
              <a:gd name="connsiteX151" fmla="*/ 198485 w 3907688"/>
              <a:gd name="connsiteY151" fmla="*/ 435879 h 1268730"/>
              <a:gd name="connsiteX152" fmla="*/ 188900 w 3907688"/>
              <a:gd name="connsiteY152" fmla="*/ 462946 h 1268730"/>
              <a:gd name="connsiteX153" fmla="*/ 216530 w 3907688"/>
              <a:gd name="connsiteY153" fmla="*/ 486065 h 1268730"/>
              <a:gd name="connsiteX154" fmla="*/ 211455 w 3907688"/>
              <a:gd name="connsiteY154" fmla="*/ 506928 h 1268730"/>
              <a:gd name="connsiteX155" fmla="*/ 252618 w 3907688"/>
              <a:gd name="connsiteY155" fmla="*/ 528919 h 1268730"/>
              <a:gd name="connsiteX156" fmla="*/ 247543 w 3907688"/>
              <a:gd name="connsiteY156" fmla="*/ 545272 h 1268730"/>
              <a:gd name="connsiteX157" fmla="*/ 228935 w 3907688"/>
              <a:gd name="connsiteY157" fmla="*/ 563880 h 1268730"/>
              <a:gd name="connsiteX158" fmla="*/ 184388 w 3907688"/>
              <a:gd name="connsiteY158" fmla="*/ 605607 h 1268730"/>
              <a:gd name="connsiteX159" fmla="*/ 184388 w 3907688"/>
              <a:gd name="connsiteY159" fmla="*/ 605607 h 1268730"/>
              <a:gd name="connsiteX160" fmla="*/ 214274 w 3907688"/>
              <a:gd name="connsiteY160" fmla="*/ 621396 h 1268730"/>
              <a:gd name="connsiteX161" fmla="*/ 188900 w 3907688"/>
              <a:gd name="connsiteY161" fmla="*/ 639440 h 1268730"/>
              <a:gd name="connsiteX162" fmla="*/ 188900 w 3907688"/>
              <a:gd name="connsiteY162" fmla="*/ 639440 h 1268730"/>
              <a:gd name="connsiteX163" fmla="*/ 193975 w 3907688"/>
              <a:gd name="connsiteY163" fmla="*/ 645079 h 1268730"/>
              <a:gd name="connsiteX164" fmla="*/ 179313 w 3907688"/>
              <a:gd name="connsiteY164" fmla="*/ 664251 h 1268730"/>
              <a:gd name="connsiteX165" fmla="*/ 193410 w 3907688"/>
              <a:gd name="connsiteY165" fmla="*/ 695264 h 1268730"/>
              <a:gd name="connsiteX166" fmla="*/ 184388 w 3907688"/>
              <a:gd name="connsiteY166" fmla="*/ 705978 h 1268730"/>
              <a:gd name="connsiteX167" fmla="*/ 197922 w 3907688"/>
              <a:gd name="connsiteY167" fmla="*/ 713872 h 1268730"/>
              <a:gd name="connsiteX168" fmla="*/ 203561 w 3907688"/>
              <a:gd name="connsiteY168" fmla="*/ 729661 h 1268730"/>
              <a:gd name="connsiteX169" fmla="*/ 215402 w 3907688"/>
              <a:gd name="connsiteY169" fmla="*/ 749960 h 1268730"/>
              <a:gd name="connsiteX170" fmla="*/ 244724 w 3907688"/>
              <a:gd name="connsiteY170" fmla="*/ 758419 h 1268730"/>
              <a:gd name="connsiteX171" fmla="*/ 250363 w 3907688"/>
              <a:gd name="connsiteY171" fmla="*/ 766313 h 1268730"/>
              <a:gd name="connsiteX172" fmla="*/ 263332 w 3907688"/>
              <a:gd name="connsiteY172" fmla="*/ 762366 h 1268730"/>
              <a:gd name="connsiteX173" fmla="*/ 290398 w 3907688"/>
              <a:gd name="connsiteY173" fmla="*/ 770260 h 1268730"/>
              <a:gd name="connsiteX174" fmla="*/ 296037 w 3907688"/>
              <a:gd name="connsiteY174" fmla="*/ 786613 h 1268730"/>
              <a:gd name="connsiteX175" fmla="*/ 292654 w 3907688"/>
              <a:gd name="connsiteY175" fmla="*/ 795635 h 1268730"/>
              <a:gd name="connsiteX176" fmla="*/ 313517 w 3907688"/>
              <a:gd name="connsiteY176" fmla="*/ 817626 h 1268730"/>
              <a:gd name="connsiteX177" fmla="*/ 325922 w 3907688"/>
              <a:gd name="connsiteY177" fmla="*/ 823829 h 1268730"/>
              <a:gd name="connsiteX178" fmla="*/ 325359 w 3907688"/>
              <a:gd name="connsiteY178" fmla="*/ 830031 h 1268730"/>
              <a:gd name="connsiteX179" fmla="*/ 344531 w 3907688"/>
              <a:gd name="connsiteY179" fmla="*/ 836234 h 1268730"/>
              <a:gd name="connsiteX180" fmla="*/ 354116 w 3907688"/>
              <a:gd name="connsiteY180" fmla="*/ 845256 h 1268730"/>
              <a:gd name="connsiteX181" fmla="*/ 345094 w 3907688"/>
              <a:gd name="connsiteY181" fmla="*/ 852587 h 1268730"/>
              <a:gd name="connsiteX182" fmla="*/ 323103 w 3907688"/>
              <a:gd name="connsiteY182" fmla="*/ 851459 h 1268730"/>
              <a:gd name="connsiteX183" fmla="*/ 318592 w 3907688"/>
              <a:gd name="connsiteY183" fmla="*/ 854842 h 1268730"/>
              <a:gd name="connsiteX184" fmla="*/ 327050 w 3907688"/>
              <a:gd name="connsiteY184" fmla="*/ 866120 h 1268730"/>
              <a:gd name="connsiteX185" fmla="*/ 338328 w 3907688"/>
              <a:gd name="connsiteY185" fmla="*/ 888111 h 1268730"/>
              <a:gd name="connsiteX186" fmla="*/ 338328 w 3907688"/>
              <a:gd name="connsiteY186" fmla="*/ 888111 h 1268730"/>
              <a:gd name="connsiteX187" fmla="*/ 348477 w 3907688"/>
              <a:gd name="connsiteY187" fmla="*/ 889239 h 1268730"/>
              <a:gd name="connsiteX188" fmla="*/ 354116 w 3907688"/>
              <a:gd name="connsiteY188" fmla="*/ 881344 h 1268730"/>
              <a:gd name="connsiteX189" fmla="*/ 362574 w 3907688"/>
              <a:gd name="connsiteY189" fmla="*/ 883036 h 1268730"/>
              <a:gd name="connsiteX190" fmla="*/ 389641 w 3907688"/>
              <a:gd name="connsiteY190" fmla="*/ 880217 h 1268730"/>
              <a:gd name="connsiteX191" fmla="*/ 411069 w 3907688"/>
              <a:gd name="connsiteY191" fmla="*/ 899389 h 1268730"/>
              <a:gd name="connsiteX192" fmla="*/ 405994 w 3907688"/>
              <a:gd name="connsiteY192" fmla="*/ 906719 h 1268730"/>
              <a:gd name="connsiteX193" fmla="*/ 409941 w 3907688"/>
              <a:gd name="connsiteY193" fmla="*/ 917433 h 1268730"/>
              <a:gd name="connsiteX194" fmla="*/ 432496 w 3907688"/>
              <a:gd name="connsiteY194" fmla="*/ 918561 h 1268730"/>
              <a:gd name="connsiteX195" fmla="*/ 444901 w 3907688"/>
              <a:gd name="connsiteY195" fmla="*/ 933785 h 1268730"/>
              <a:gd name="connsiteX196" fmla="*/ 446029 w 3907688"/>
              <a:gd name="connsiteY196" fmla="*/ 940552 h 1268730"/>
              <a:gd name="connsiteX197" fmla="*/ 483245 w 3907688"/>
              <a:gd name="connsiteY197" fmla="*/ 952957 h 1268730"/>
              <a:gd name="connsiteX198" fmla="*/ 502981 w 3907688"/>
              <a:gd name="connsiteY198" fmla="*/ 947318 h 1268730"/>
              <a:gd name="connsiteX199" fmla="*/ 523280 w 3907688"/>
              <a:gd name="connsiteY199" fmla="*/ 963671 h 1268730"/>
              <a:gd name="connsiteX200" fmla="*/ 539633 w 3907688"/>
              <a:gd name="connsiteY200" fmla="*/ 963107 h 1268730"/>
              <a:gd name="connsiteX201" fmla="*/ 582488 w 3907688"/>
              <a:gd name="connsiteY201" fmla="*/ 974385 h 1268730"/>
              <a:gd name="connsiteX202" fmla="*/ 584743 w 3907688"/>
              <a:gd name="connsiteY202" fmla="*/ 985098 h 1268730"/>
              <a:gd name="connsiteX203" fmla="*/ 577413 w 3907688"/>
              <a:gd name="connsiteY203" fmla="*/ 1003143 h 1268730"/>
              <a:gd name="connsiteX204" fmla="*/ 587563 w 3907688"/>
              <a:gd name="connsiteY204" fmla="*/ 1022315 h 1268730"/>
              <a:gd name="connsiteX205" fmla="*/ 585871 w 3907688"/>
              <a:gd name="connsiteY205" fmla="*/ 1034156 h 1268730"/>
              <a:gd name="connsiteX206" fmla="*/ 559369 w 3907688"/>
              <a:gd name="connsiteY206" fmla="*/ 1036975 h 1268730"/>
              <a:gd name="connsiteX207" fmla="*/ 546964 w 3907688"/>
              <a:gd name="connsiteY207" fmla="*/ 1046561 h 1268730"/>
              <a:gd name="connsiteX208" fmla="*/ 549219 w 3907688"/>
              <a:gd name="connsiteY208" fmla="*/ 1062350 h 1268730"/>
              <a:gd name="connsiteX209" fmla="*/ 572902 w 3907688"/>
              <a:gd name="connsiteY209" fmla="*/ 1056711 h 1268730"/>
              <a:gd name="connsiteX210" fmla="*/ 575158 w 3907688"/>
              <a:gd name="connsiteY210" fmla="*/ 1064042 h 1268730"/>
              <a:gd name="connsiteX211" fmla="*/ 536814 w 3907688"/>
              <a:gd name="connsiteY211" fmla="*/ 1078703 h 1268730"/>
              <a:gd name="connsiteX212" fmla="*/ 554858 w 3907688"/>
              <a:gd name="connsiteY212" fmla="*/ 1092236 h 1268730"/>
              <a:gd name="connsiteX213" fmla="*/ 536814 w 3907688"/>
              <a:gd name="connsiteY213" fmla="*/ 1121557 h 1268730"/>
              <a:gd name="connsiteX214" fmla="*/ 517641 w 3907688"/>
              <a:gd name="connsiteY214" fmla="*/ 1127196 h 1268730"/>
              <a:gd name="connsiteX215" fmla="*/ 545835 w 3907688"/>
              <a:gd name="connsiteY215" fmla="*/ 1147496 h 1268730"/>
              <a:gd name="connsiteX216" fmla="*/ 580796 w 3907688"/>
              <a:gd name="connsiteY216" fmla="*/ 1161029 h 1268730"/>
              <a:gd name="connsiteX217" fmla="*/ 622524 w 3907688"/>
              <a:gd name="connsiteY217" fmla="*/ 1189787 h 1268730"/>
              <a:gd name="connsiteX218" fmla="*/ 625343 w 3907688"/>
              <a:gd name="connsiteY218" fmla="*/ 1185840 h 1268730"/>
              <a:gd name="connsiteX219" fmla="*/ 650718 w 3907688"/>
              <a:gd name="connsiteY219" fmla="*/ 1192042 h 1268730"/>
              <a:gd name="connsiteX220" fmla="*/ 694136 w 3907688"/>
              <a:gd name="connsiteY220" fmla="*/ 1197681 h 1268730"/>
              <a:gd name="connsiteX221" fmla="*/ 736427 w 3907688"/>
              <a:gd name="connsiteY221" fmla="*/ 1214034 h 1268730"/>
              <a:gd name="connsiteX222" fmla="*/ 742630 w 3907688"/>
              <a:gd name="connsiteY222" fmla="*/ 1220800 h 1268730"/>
              <a:gd name="connsiteX223" fmla="*/ 758982 w 3907688"/>
              <a:gd name="connsiteY223" fmla="*/ 1215161 h 1268730"/>
              <a:gd name="connsiteX224" fmla="*/ 787740 w 3907688"/>
              <a:gd name="connsiteY224" fmla="*/ 1222492 h 1268730"/>
              <a:gd name="connsiteX225" fmla="*/ 799581 w 3907688"/>
              <a:gd name="connsiteY225" fmla="*/ 1236589 h 1268730"/>
              <a:gd name="connsiteX226" fmla="*/ 819317 w 3907688"/>
              <a:gd name="connsiteY226" fmla="*/ 1244483 h 1268730"/>
              <a:gd name="connsiteX227" fmla="*/ 827775 w 3907688"/>
              <a:gd name="connsiteY227" fmla="*/ 1245611 h 1268730"/>
              <a:gd name="connsiteX228" fmla="*/ 852023 w 3907688"/>
              <a:gd name="connsiteY228" fmla="*/ 1267038 h 1268730"/>
              <a:gd name="connsiteX229" fmla="*/ 865556 w 3907688"/>
              <a:gd name="connsiteY229" fmla="*/ 1269294 h 1268730"/>
              <a:gd name="connsiteX230" fmla="*/ 868375 w 3907688"/>
              <a:gd name="connsiteY230" fmla="*/ 1260836 h 1268730"/>
              <a:gd name="connsiteX231" fmla="*/ 883036 w 3907688"/>
              <a:gd name="connsiteY231" fmla="*/ 1246739 h 1268730"/>
              <a:gd name="connsiteX232" fmla="*/ 883036 w 3907688"/>
              <a:gd name="connsiteY232" fmla="*/ 1246739 h 1268730"/>
              <a:gd name="connsiteX233" fmla="*/ 841872 w 3907688"/>
              <a:gd name="connsiteY233" fmla="*/ 1205576 h 1268730"/>
              <a:gd name="connsiteX234" fmla="*/ 839617 w 3907688"/>
              <a:gd name="connsiteY234" fmla="*/ 1182456 h 1268730"/>
              <a:gd name="connsiteX235" fmla="*/ 806348 w 3907688"/>
              <a:gd name="connsiteY235" fmla="*/ 1149188 h 1268730"/>
              <a:gd name="connsiteX236" fmla="*/ 826084 w 3907688"/>
              <a:gd name="connsiteY236" fmla="*/ 1113663 h 1268730"/>
              <a:gd name="connsiteX237" fmla="*/ 852023 w 3907688"/>
              <a:gd name="connsiteY237" fmla="*/ 1107460 h 1268730"/>
              <a:gd name="connsiteX238" fmla="*/ 859917 w 3907688"/>
              <a:gd name="connsiteY238" fmla="*/ 1086597 h 1268730"/>
              <a:gd name="connsiteX239" fmla="*/ 844128 w 3907688"/>
              <a:gd name="connsiteY239" fmla="*/ 1080958 h 1268730"/>
              <a:gd name="connsiteX240" fmla="*/ 843001 w 3907688"/>
              <a:gd name="connsiteY240" fmla="*/ 1062914 h 1268730"/>
              <a:gd name="connsiteX241" fmla="*/ 819317 w 3907688"/>
              <a:gd name="connsiteY241" fmla="*/ 1039795 h 1268730"/>
              <a:gd name="connsiteX242" fmla="*/ 799018 w 3907688"/>
              <a:gd name="connsiteY242" fmla="*/ 1040923 h 1268730"/>
              <a:gd name="connsiteX243" fmla="*/ 769132 w 3907688"/>
              <a:gd name="connsiteY243" fmla="*/ 1016676 h 1268730"/>
              <a:gd name="connsiteX244" fmla="*/ 778718 w 3907688"/>
              <a:gd name="connsiteY244" fmla="*/ 990173 h 1268730"/>
              <a:gd name="connsiteX245" fmla="*/ 769132 w 3907688"/>
              <a:gd name="connsiteY245" fmla="*/ 983407 h 1268730"/>
              <a:gd name="connsiteX246" fmla="*/ 780974 w 3907688"/>
              <a:gd name="connsiteY246" fmla="*/ 945063 h 1268730"/>
              <a:gd name="connsiteX247" fmla="*/ 814807 w 3907688"/>
              <a:gd name="connsiteY247" fmla="*/ 965363 h 1268730"/>
              <a:gd name="connsiteX248" fmla="*/ 810859 w 3907688"/>
              <a:gd name="connsiteY248" fmla="*/ 939424 h 1268730"/>
              <a:gd name="connsiteX249" fmla="*/ 856534 w 3907688"/>
              <a:gd name="connsiteY249" fmla="*/ 902208 h 1268730"/>
              <a:gd name="connsiteX250" fmla="*/ 898825 w 3907688"/>
              <a:gd name="connsiteY250" fmla="*/ 901080 h 1268730"/>
              <a:gd name="connsiteX251" fmla="*/ 965926 w 3907688"/>
              <a:gd name="connsiteY251" fmla="*/ 925327 h 1268730"/>
              <a:gd name="connsiteX252" fmla="*/ 1003143 w 3907688"/>
              <a:gd name="connsiteY252" fmla="*/ 938860 h 1268730"/>
              <a:gd name="connsiteX253" fmla="*/ 1027389 w 3907688"/>
              <a:gd name="connsiteY253" fmla="*/ 924763 h 1268730"/>
              <a:gd name="connsiteX254" fmla="*/ 1070244 w 3907688"/>
              <a:gd name="connsiteY254" fmla="*/ 923635 h 1268730"/>
              <a:gd name="connsiteX255" fmla="*/ 1111407 w 3907688"/>
              <a:gd name="connsiteY255" fmla="*/ 941680 h 1268730"/>
              <a:gd name="connsiteX256" fmla="*/ 1115919 w 3907688"/>
              <a:gd name="connsiteY256" fmla="*/ 931530 h 1268730"/>
              <a:gd name="connsiteX257" fmla="*/ 1154826 w 3907688"/>
              <a:gd name="connsiteY257" fmla="*/ 933221 h 1268730"/>
              <a:gd name="connsiteX258" fmla="*/ 1155954 w 3907688"/>
              <a:gd name="connsiteY258" fmla="*/ 916305 h 1268730"/>
              <a:gd name="connsiteX259" fmla="*/ 1102949 w 3907688"/>
              <a:gd name="connsiteY259" fmla="*/ 892622 h 1268730"/>
              <a:gd name="connsiteX260" fmla="*/ 1123249 w 3907688"/>
              <a:gd name="connsiteY260" fmla="*/ 876270 h 1268730"/>
              <a:gd name="connsiteX261" fmla="*/ 1114791 w 3907688"/>
              <a:gd name="connsiteY261" fmla="*/ 866684 h 1268730"/>
              <a:gd name="connsiteX262" fmla="*/ 1136782 w 3907688"/>
              <a:gd name="connsiteY262" fmla="*/ 857662 h 1268730"/>
              <a:gd name="connsiteX263" fmla="*/ 1108588 w 3907688"/>
              <a:gd name="connsiteY263" fmla="*/ 834542 h 1268730"/>
              <a:gd name="connsiteX264" fmla="*/ 1116482 w 3907688"/>
              <a:gd name="connsiteY264" fmla="*/ 822701 h 1268730"/>
              <a:gd name="connsiteX265" fmla="*/ 1211214 w 3907688"/>
              <a:gd name="connsiteY265" fmla="*/ 810859 h 1268730"/>
              <a:gd name="connsiteX266" fmla="*/ 1220800 w 3907688"/>
              <a:gd name="connsiteY266" fmla="*/ 802401 h 1268730"/>
              <a:gd name="connsiteX267" fmla="*/ 1281699 w 3907688"/>
              <a:gd name="connsiteY267" fmla="*/ 789996 h 1268730"/>
              <a:gd name="connsiteX268" fmla="*/ 1299180 w 3907688"/>
              <a:gd name="connsiteY268" fmla="*/ 775899 h 1268730"/>
              <a:gd name="connsiteX269" fmla="*/ 1349929 w 3907688"/>
              <a:gd name="connsiteY269" fmla="*/ 783229 h 1268730"/>
              <a:gd name="connsiteX270" fmla="*/ 1374175 w 3907688"/>
              <a:gd name="connsiteY270" fmla="*/ 818754 h 1268730"/>
              <a:gd name="connsiteX271" fmla="*/ 1398422 w 3907688"/>
              <a:gd name="connsiteY271" fmla="*/ 810296 h 1268730"/>
              <a:gd name="connsiteX272" fmla="*/ 1437894 w 3907688"/>
              <a:gd name="connsiteY272" fmla="*/ 822137 h 1268730"/>
              <a:gd name="connsiteX273" fmla="*/ 1444660 w 3907688"/>
              <a:gd name="connsiteY273" fmla="*/ 840745 h 1268730"/>
              <a:gd name="connsiteX274" fmla="*/ 1469471 w 3907688"/>
              <a:gd name="connsiteY274" fmla="*/ 838490 h 1268730"/>
              <a:gd name="connsiteX275" fmla="*/ 1520784 w 3907688"/>
              <a:gd name="connsiteY275" fmla="*/ 806348 h 1268730"/>
              <a:gd name="connsiteX276" fmla="*/ 1516274 w 3907688"/>
              <a:gd name="connsiteY276" fmla="*/ 817062 h 1268730"/>
              <a:gd name="connsiteX277" fmla="*/ 1563075 w 3907688"/>
              <a:gd name="connsiteY277" fmla="*/ 843565 h 1268730"/>
              <a:gd name="connsiteX278" fmla="*/ 1665137 w 3907688"/>
              <a:gd name="connsiteY278" fmla="*/ 930966 h 1268730"/>
              <a:gd name="connsiteX279" fmla="*/ 1671341 w 3907688"/>
              <a:gd name="connsiteY279" fmla="*/ 912358 h 1268730"/>
              <a:gd name="connsiteX280" fmla="*/ 1718142 w 3907688"/>
              <a:gd name="connsiteY280" fmla="*/ 932658 h 1268730"/>
              <a:gd name="connsiteX281" fmla="*/ 1753103 w 3907688"/>
              <a:gd name="connsiteY281" fmla="*/ 923635 h 1268730"/>
              <a:gd name="connsiteX282" fmla="*/ 1771147 w 3907688"/>
              <a:gd name="connsiteY282" fmla="*/ 929838 h 1268730"/>
              <a:gd name="connsiteX283" fmla="*/ 1794266 w 3907688"/>
              <a:gd name="connsiteY283" fmla="*/ 950138 h 1268730"/>
              <a:gd name="connsiteX284" fmla="*/ 1816257 w 3907688"/>
              <a:gd name="connsiteY284" fmla="*/ 956904 h 1268730"/>
              <a:gd name="connsiteX285" fmla="*/ 1834866 w 3907688"/>
              <a:gd name="connsiteY285" fmla="*/ 971565 h 1268730"/>
              <a:gd name="connsiteX286" fmla="*/ 1868699 w 3907688"/>
              <a:gd name="connsiteY286" fmla="*/ 966490 h 1268730"/>
              <a:gd name="connsiteX287" fmla="*/ 1892945 w 3907688"/>
              <a:gd name="connsiteY287" fmla="*/ 987918 h 1268730"/>
              <a:gd name="connsiteX288" fmla="*/ 1902531 w 3907688"/>
              <a:gd name="connsiteY288" fmla="*/ 985098 h 1268730"/>
              <a:gd name="connsiteX289" fmla="*/ 1929033 w 3907688"/>
              <a:gd name="connsiteY289" fmla="*/ 979460 h 1268730"/>
              <a:gd name="connsiteX290" fmla="*/ 1966249 w 3907688"/>
              <a:gd name="connsiteY290" fmla="*/ 949010 h 1268730"/>
              <a:gd name="connsiteX291" fmla="*/ 1999518 w 3907688"/>
              <a:gd name="connsiteY291" fmla="*/ 932658 h 1268730"/>
              <a:gd name="connsiteX292" fmla="*/ 2029404 w 3907688"/>
              <a:gd name="connsiteY292" fmla="*/ 943371 h 1268730"/>
              <a:gd name="connsiteX293" fmla="*/ 2058162 w 3907688"/>
              <a:gd name="connsiteY293" fmla="*/ 943935 h 1268730"/>
              <a:gd name="connsiteX294" fmla="*/ 2084664 w 3907688"/>
              <a:gd name="connsiteY294" fmla="*/ 960288 h 1268730"/>
              <a:gd name="connsiteX295" fmla="*/ 2112858 w 3907688"/>
              <a:gd name="connsiteY295" fmla="*/ 961415 h 1268730"/>
              <a:gd name="connsiteX296" fmla="*/ 2157405 w 3907688"/>
              <a:gd name="connsiteY296" fmla="*/ 970438 h 1268730"/>
              <a:gd name="connsiteX297" fmla="*/ 2170938 w 3907688"/>
              <a:gd name="connsiteY297" fmla="*/ 946191 h 1268730"/>
              <a:gd name="connsiteX298" fmla="*/ 2148383 w 3907688"/>
              <a:gd name="connsiteY298" fmla="*/ 925891 h 1268730"/>
              <a:gd name="connsiteX299" fmla="*/ 2155713 w 3907688"/>
              <a:gd name="connsiteY299" fmla="*/ 889803 h 1268730"/>
              <a:gd name="connsiteX300" fmla="*/ 2194621 w 3907688"/>
              <a:gd name="connsiteY300" fmla="*/ 903900 h 1268730"/>
              <a:gd name="connsiteX301" fmla="*/ 2221687 w 3907688"/>
              <a:gd name="connsiteY301" fmla="*/ 908411 h 1268730"/>
              <a:gd name="connsiteX302" fmla="*/ 2258903 w 3907688"/>
              <a:gd name="connsiteY302" fmla="*/ 916869 h 1268730"/>
              <a:gd name="connsiteX303" fmla="*/ 2279767 w 3907688"/>
              <a:gd name="connsiteY303" fmla="*/ 942807 h 1268730"/>
              <a:gd name="connsiteX304" fmla="*/ 2327133 w 3907688"/>
              <a:gd name="connsiteY304" fmla="*/ 957468 h 1268730"/>
              <a:gd name="connsiteX305" fmla="*/ 2349124 w 3907688"/>
              <a:gd name="connsiteY305" fmla="*/ 951266 h 1268730"/>
              <a:gd name="connsiteX306" fmla="*/ 2381265 w 3907688"/>
              <a:gd name="connsiteY306" fmla="*/ 946755 h 1268730"/>
              <a:gd name="connsiteX307" fmla="*/ 2411715 w 3907688"/>
              <a:gd name="connsiteY307" fmla="*/ 951266 h 1268730"/>
              <a:gd name="connsiteX308" fmla="*/ 2448367 w 3907688"/>
              <a:gd name="connsiteY308" fmla="*/ 968182 h 1268730"/>
              <a:gd name="connsiteX309" fmla="*/ 2475997 w 3907688"/>
              <a:gd name="connsiteY309" fmla="*/ 985662 h 1268730"/>
              <a:gd name="connsiteX310" fmla="*/ 2501372 w 3907688"/>
              <a:gd name="connsiteY310" fmla="*/ 985662 h 1268730"/>
              <a:gd name="connsiteX311" fmla="*/ 2539151 w 3907688"/>
              <a:gd name="connsiteY311" fmla="*/ 991301 h 1268730"/>
              <a:gd name="connsiteX312" fmla="*/ 2559452 w 3907688"/>
              <a:gd name="connsiteY312" fmla="*/ 982279 h 1268730"/>
              <a:gd name="connsiteX313" fmla="*/ 2592156 w 3907688"/>
              <a:gd name="connsiteY313" fmla="*/ 976640 h 1268730"/>
              <a:gd name="connsiteX314" fmla="*/ 2617531 w 3907688"/>
              <a:gd name="connsiteY314" fmla="*/ 951829 h 1268730"/>
              <a:gd name="connsiteX315" fmla="*/ 2636139 w 3907688"/>
              <a:gd name="connsiteY315" fmla="*/ 955777 h 1268730"/>
              <a:gd name="connsiteX316" fmla="*/ 2658131 w 3907688"/>
              <a:gd name="connsiteY316" fmla="*/ 967618 h 1268730"/>
              <a:gd name="connsiteX317" fmla="*/ 2689144 w 3907688"/>
              <a:gd name="connsiteY317" fmla="*/ 964799 h 1268730"/>
              <a:gd name="connsiteX318" fmla="*/ 2730307 w 3907688"/>
              <a:gd name="connsiteY318" fmla="*/ 977768 h 1268730"/>
              <a:gd name="connsiteX319" fmla="*/ 2755118 w 3907688"/>
              <a:gd name="connsiteY319" fmla="*/ 955777 h 1268730"/>
              <a:gd name="connsiteX320" fmla="*/ 2744404 w 3907688"/>
              <a:gd name="connsiteY320" fmla="*/ 940552 h 1268730"/>
              <a:gd name="connsiteX321" fmla="*/ 2743840 w 3907688"/>
              <a:gd name="connsiteY321" fmla="*/ 903900 h 1268730"/>
              <a:gd name="connsiteX322" fmla="*/ 2750606 w 3907688"/>
              <a:gd name="connsiteY322" fmla="*/ 892622 h 1268730"/>
              <a:gd name="connsiteX323" fmla="*/ 2736509 w 3907688"/>
              <a:gd name="connsiteY323" fmla="*/ 874014 h 1268730"/>
              <a:gd name="connsiteX324" fmla="*/ 2715646 w 3907688"/>
              <a:gd name="connsiteY324" fmla="*/ 865556 h 1268730"/>
              <a:gd name="connsiteX325" fmla="*/ 2725232 w 3907688"/>
              <a:gd name="connsiteY325" fmla="*/ 848639 h 1268730"/>
              <a:gd name="connsiteX326" fmla="*/ 2753990 w 3907688"/>
              <a:gd name="connsiteY326" fmla="*/ 842437 h 1268730"/>
              <a:gd name="connsiteX327" fmla="*/ 2788950 w 3907688"/>
              <a:gd name="connsiteY327" fmla="*/ 841309 h 1268730"/>
              <a:gd name="connsiteX328" fmla="*/ 2836880 w 3907688"/>
              <a:gd name="connsiteY328" fmla="*/ 851459 h 1268730"/>
              <a:gd name="connsiteX329" fmla="*/ 2870149 w 3907688"/>
              <a:gd name="connsiteY329" fmla="*/ 864428 h 1268730"/>
              <a:gd name="connsiteX330" fmla="*/ 2913568 w 3907688"/>
              <a:gd name="connsiteY330" fmla="*/ 898825 h 1268730"/>
              <a:gd name="connsiteX331" fmla="*/ 2934996 w 3907688"/>
              <a:gd name="connsiteY331" fmla="*/ 914050 h 1268730"/>
              <a:gd name="connsiteX332" fmla="*/ 2959806 w 3907688"/>
              <a:gd name="connsiteY332" fmla="*/ 934913 h 1268730"/>
              <a:gd name="connsiteX333" fmla="*/ 2994203 w 3907688"/>
              <a:gd name="connsiteY333" fmla="*/ 969310 h 1268730"/>
              <a:gd name="connsiteX334" fmla="*/ 3050027 w 3907688"/>
              <a:gd name="connsiteY334" fmla="*/ 980024 h 1268730"/>
              <a:gd name="connsiteX335" fmla="*/ 3100212 w 3907688"/>
              <a:gd name="connsiteY335" fmla="*/ 1005398 h 1268730"/>
              <a:gd name="connsiteX336" fmla="*/ 3134045 w 3907688"/>
              <a:gd name="connsiteY336" fmla="*/ 1038103 h 1268730"/>
              <a:gd name="connsiteX337" fmla="*/ 3176336 w 3907688"/>
              <a:gd name="connsiteY337" fmla="*/ 1038103 h 1268730"/>
              <a:gd name="connsiteX338" fmla="*/ 3190997 w 3907688"/>
              <a:gd name="connsiteY338" fmla="*/ 1024006 h 1268730"/>
              <a:gd name="connsiteX339" fmla="*/ 3229904 w 3907688"/>
              <a:gd name="connsiteY339" fmla="*/ 1013856 h 1268730"/>
              <a:gd name="connsiteX340" fmla="*/ 3237235 w 3907688"/>
              <a:gd name="connsiteY340" fmla="*/ 1045434 h 1268730"/>
              <a:gd name="connsiteX341" fmla="*/ 3234979 w 3907688"/>
              <a:gd name="connsiteY341" fmla="*/ 1058403 h 1268730"/>
              <a:gd name="connsiteX342" fmla="*/ 3250768 w 3907688"/>
              <a:gd name="connsiteY342" fmla="*/ 1096747 h 1268730"/>
              <a:gd name="connsiteX343" fmla="*/ 3254151 w 3907688"/>
              <a:gd name="connsiteY343" fmla="*/ 1130579 h 1268730"/>
              <a:gd name="connsiteX344" fmla="*/ 3215807 w 3907688"/>
              <a:gd name="connsiteY344" fmla="*/ 1124377 h 1268730"/>
              <a:gd name="connsiteX345" fmla="*/ 3199455 w 3907688"/>
              <a:gd name="connsiteY345" fmla="*/ 1136782 h 1268730"/>
              <a:gd name="connsiteX346" fmla="*/ 3225957 w 3907688"/>
              <a:gd name="connsiteY346" fmla="*/ 1166668 h 1268730"/>
              <a:gd name="connsiteX347" fmla="*/ 3247385 w 3907688"/>
              <a:gd name="connsiteY347" fmla="*/ 1207831 h 1268730"/>
              <a:gd name="connsiteX348" fmla="*/ 3233288 w 3907688"/>
              <a:gd name="connsiteY348" fmla="*/ 1208395 h 1268730"/>
              <a:gd name="connsiteX349" fmla="*/ 3244001 w 3907688"/>
              <a:gd name="connsiteY349" fmla="*/ 1225875 h 1268730"/>
              <a:gd name="connsiteX350" fmla="*/ 3244001 w 3907688"/>
              <a:gd name="connsiteY350" fmla="*/ 1225875 h 1268730"/>
              <a:gd name="connsiteX351" fmla="*/ 3251896 w 3907688"/>
              <a:gd name="connsiteY351" fmla="*/ 1232078 h 1268730"/>
              <a:gd name="connsiteX352" fmla="*/ 3251896 w 3907688"/>
              <a:gd name="connsiteY352" fmla="*/ 1232078 h 1268730"/>
              <a:gd name="connsiteX353" fmla="*/ 3251896 w 3907688"/>
              <a:gd name="connsiteY353" fmla="*/ 1232078 h 1268730"/>
              <a:gd name="connsiteX354" fmla="*/ 3251896 w 3907688"/>
              <a:gd name="connsiteY354" fmla="*/ 1232078 h 1268730"/>
              <a:gd name="connsiteX355" fmla="*/ 3249640 w 3907688"/>
              <a:gd name="connsiteY355" fmla="*/ 1220800 h 1268730"/>
              <a:gd name="connsiteX356" fmla="*/ 3272195 w 3907688"/>
              <a:gd name="connsiteY356" fmla="*/ 1195426 h 1268730"/>
              <a:gd name="connsiteX357" fmla="*/ 3300954 w 3907688"/>
              <a:gd name="connsiteY357" fmla="*/ 1212342 h 1268730"/>
              <a:gd name="connsiteX358" fmla="*/ 3318998 w 3907688"/>
              <a:gd name="connsiteY358" fmla="*/ 1211778 h 1268730"/>
              <a:gd name="connsiteX359" fmla="*/ 3343809 w 3907688"/>
              <a:gd name="connsiteY359" fmla="*/ 1191479 h 1268730"/>
              <a:gd name="connsiteX360" fmla="*/ 3349447 w 3907688"/>
              <a:gd name="connsiteY360" fmla="*/ 1170615 h 1268730"/>
              <a:gd name="connsiteX361" fmla="*/ 3361289 w 3907688"/>
              <a:gd name="connsiteY361" fmla="*/ 1130579 h 1268730"/>
              <a:gd name="connsiteX362" fmla="*/ 3372003 w 3907688"/>
              <a:gd name="connsiteY362" fmla="*/ 1089980 h 1268730"/>
              <a:gd name="connsiteX363" fmla="*/ 3364672 w 3907688"/>
              <a:gd name="connsiteY363" fmla="*/ 1065733 h 1268730"/>
              <a:gd name="connsiteX364" fmla="*/ 3370311 w 3907688"/>
              <a:gd name="connsiteY364" fmla="*/ 1014984 h 1268730"/>
              <a:gd name="connsiteX365" fmla="*/ 3340989 w 3907688"/>
              <a:gd name="connsiteY365" fmla="*/ 959160 h 1268730"/>
              <a:gd name="connsiteX366" fmla="*/ 3309976 w 3907688"/>
              <a:gd name="connsiteY366" fmla="*/ 917997 h 1268730"/>
              <a:gd name="connsiteX367" fmla="*/ 3302645 w 3907688"/>
              <a:gd name="connsiteY367" fmla="*/ 883036 h 1268730"/>
              <a:gd name="connsiteX368" fmla="*/ 3276143 w 3907688"/>
              <a:gd name="connsiteY368" fmla="*/ 854278 h 1268730"/>
              <a:gd name="connsiteX369" fmla="*/ 3204530 w 3907688"/>
              <a:gd name="connsiteY369" fmla="*/ 816498 h 1268730"/>
              <a:gd name="connsiteX370" fmla="*/ 3172953 w 3907688"/>
              <a:gd name="connsiteY370" fmla="*/ 814243 h 1268730"/>
              <a:gd name="connsiteX371" fmla="*/ 3171261 w 3907688"/>
              <a:gd name="connsiteY371" fmla="*/ 831159 h 1268730"/>
              <a:gd name="connsiteX372" fmla="*/ 3138556 w 3907688"/>
              <a:gd name="connsiteY372" fmla="*/ 823829 h 1268730"/>
              <a:gd name="connsiteX373" fmla="*/ 3106415 w 3907688"/>
              <a:gd name="connsiteY373" fmla="*/ 802401 h 1268730"/>
              <a:gd name="connsiteX374" fmla="*/ 3061305 w 3907688"/>
              <a:gd name="connsiteY374" fmla="*/ 798454 h 1268730"/>
              <a:gd name="connsiteX375" fmla="*/ 3088934 w 3907688"/>
              <a:gd name="connsiteY375" fmla="*/ 718947 h 1268730"/>
              <a:gd name="connsiteX376" fmla="*/ 3108670 w 3907688"/>
              <a:gd name="connsiteY376" fmla="*/ 654101 h 1268730"/>
              <a:gd name="connsiteX377" fmla="*/ 3182539 w 3907688"/>
              <a:gd name="connsiteY377" fmla="*/ 643951 h 1268730"/>
              <a:gd name="connsiteX378" fmla="*/ 3266557 w 3907688"/>
              <a:gd name="connsiteY378" fmla="*/ 649590 h 1268730"/>
              <a:gd name="connsiteX379" fmla="*/ 3280654 w 3907688"/>
              <a:gd name="connsiteY379" fmla="*/ 633801 h 1268730"/>
              <a:gd name="connsiteX380" fmla="*/ 3325200 w 3907688"/>
              <a:gd name="connsiteY380" fmla="*/ 638312 h 1268730"/>
              <a:gd name="connsiteX381" fmla="*/ 3349447 w 3907688"/>
              <a:gd name="connsiteY381" fmla="*/ 662559 h 1268730"/>
              <a:gd name="connsiteX382" fmla="*/ 3385536 w 3907688"/>
              <a:gd name="connsiteY382" fmla="*/ 659176 h 1268730"/>
              <a:gd name="connsiteX383" fmla="*/ 3432901 w 3907688"/>
              <a:gd name="connsiteY383" fmla="*/ 650154 h 1268730"/>
              <a:gd name="connsiteX384" fmla="*/ 3389483 w 3907688"/>
              <a:gd name="connsiteY384" fmla="*/ 630418 h 1268730"/>
              <a:gd name="connsiteX385" fmla="*/ 3389483 w 3907688"/>
              <a:gd name="connsiteY385" fmla="*/ 575158 h 1268730"/>
              <a:gd name="connsiteX386" fmla="*/ 3440796 w 3907688"/>
              <a:gd name="connsiteY386" fmla="*/ 564444 h 1268730"/>
              <a:gd name="connsiteX387" fmla="*/ 3509025 w 3907688"/>
              <a:gd name="connsiteY387" fmla="*/ 604479 h 1268730"/>
              <a:gd name="connsiteX388" fmla="*/ 3529325 w 3907688"/>
              <a:gd name="connsiteY388" fmla="*/ 568391 h 1268730"/>
              <a:gd name="connsiteX389" fmla="*/ 3511281 w 3907688"/>
              <a:gd name="connsiteY389" fmla="*/ 541889 h 1268730"/>
              <a:gd name="connsiteX390" fmla="*/ 3537783 w 3907688"/>
              <a:gd name="connsiteY390" fmla="*/ 539069 h 1268730"/>
              <a:gd name="connsiteX391" fmla="*/ 3574436 w 3907688"/>
              <a:gd name="connsiteY391" fmla="*/ 584744 h 1268730"/>
              <a:gd name="connsiteX392" fmla="*/ 3560902 w 3907688"/>
              <a:gd name="connsiteY392" fmla="*/ 610682 h 1268730"/>
              <a:gd name="connsiteX393" fmla="*/ 3556391 w 3907688"/>
              <a:gd name="connsiteY393" fmla="*/ 644515 h 1268730"/>
              <a:gd name="connsiteX394" fmla="*/ 3558083 w 3907688"/>
              <a:gd name="connsiteY394" fmla="*/ 686806 h 1268730"/>
              <a:gd name="connsiteX395" fmla="*/ 3525941 w 3907688"/>
              <a:gd name="connsiteY395" fmla="*/ 694136 h 1268730"/>
              <a:gd name="connsiteX396" fmla="*/ 3541730 w 3907688"/>
              <a:gd name="connsiteY396" fmla="*/ 709361 h 1268730"/>
              <a:gd name="connsiteX397" fmla="*/ 3541167 w 3907688"/>
              <a:gd name="connsiteY397" fmla="*/ 729661 h 1268730"/>
              <a:gd name="connsiteX398" fmla="*/ 3577255 w 3907688"/>
              <a:gd name="connsiteY398" fmla="*/ 776463 h 1268730"/>
              <a:gd name="connsiteX399" fmla="*/ 3667476 w 3907688"/>
              <a:gd name="connsiteY399" fmla="*/ 852023 h 1268730"/>
              <a:gd name="connsiteX400" fmla="*/ 3726683 w 3907688"/>
              <a:gd name="connsiteY400" fmla="*/ 901644 h 1268730"/>
              <a:gd name="connsiteX401" fmla="*/ 3758824 w 3907688"/>
              <a:gd name="connsiteY401" fmla="*/ 925891 h 1268730"/>
              <a:gd name="connsiteX402" fmla="*/ 3767846 w 3907688"/>
              <a:gd name="connsiteY402" fmla="*/ 893750 h 1268730"/>
              <a:gd name="connsiteX403" fmla="*/ 3742471 w 3907688"/>
              <a:gd name="connsiteY403" fmla="*/ 858789 h 1268730"/>
              <a:gd name="connsiteX404" fmla="*/ 3774613 w 3907688"/>
              <a:gd name="connsiteY404" fmla="*/ 850331 h 1268730"/>
              <a:gd name="connsiteX405" fmla="*/ 3744163 w 3907688"/>
              <a:gd name="connsiteY405" fmla="*/ 811423 h 1268730"/>
              <a:gd name="connsiteX406" fmla="*/ 3772357 w 3907688"/>
              <a:gd name="connsiteY406" fmla="*/ 793943 h 1268730"/>
              <a:gd name="connsiteX407" fmla="*/ 3745855 w 3907688"/>
              <a:gd name="connsiteY407" fmla="*/ 779282 h 1268730"/>
              <a:gd name="connsiteX408" fmla="*/ 3726683 w 3907688"/>
              <a:gd name="connsiteY408" fmla="*/ 751088 h 1268730"/>
              <a:gd name="connsiteX409" fmla="*/ 3749802 w 3907688"/>
              <a:gd name="connsiteY409" fmla="*/ 749960 h 1268730"/>
              <a:gd name="connsiteX410" fmla="*/ 3699053 w 3907688"/>
              <a:gd name="connsiteY410" fmla="*/ 701467 h 1268730"/>
              <a:gd name="connsiteX411" fmla="*/ 3661273 w 3907688"/>
              <a:gd name="connsiteY411" fmla="*/ 693572 h 1268730"/>
              <a:gd name="connsiteX412" fmla="*/ 3644921 w 3907688"/>
              <a:gd name="connsiteY412" fmla="*/ 680039 h 1268730"/>
              <a:gd name="connsiteX413" fmla="*/ 3638717 w 3907688"/>
              <a:gd name="connsiteY413" fmla="*/ 648462 h 1268730"/>
              <a:gd name="connsiteX414" fmla="*/ 3621237 w 3907688"/>
              <a:gd name="connsiteY414" fmla="*/ 626471 h 1268730"/>
              <a:gd name="connsiteX415" fmla="*/ 3660709 w 3907688"/>
              <a:gd name="connsiteY415" fmla="*/ 630982 h 1268730"/>
              <a:gd name="connsiteX416" fmla="*/ 3668040 w 3907688"/>
              <a:gd name="connsiteY416" fmla="*/ 616885 h 1268730"/>
              <a:gd name="connsiteX417" fmla="*/ 3694542 w 3907688"/>
              <a:gd name="connsiteY417" fmla="*/ 629290 h 1268730"/>
              <a:gd name="connsiteX418" fmla="*/ 3728938 w 3907688"/>
              <a:gd name="connsiteY418" fmla="*/ 603352 h 1268730"/>
              <a:gd name="connsiteX419" fmla="*/ 3793221 w 3907688"/>
              <a:gd name="connsiteY419" fmla="*/ 625907 h 1268730"/>
              <a:gd name="connsiteX420" fmla="*/ 3783635 w 3907688"/>
              <a:gd name="connsiteY420" fmla="*/ 611246 h 1268730"/>
              <a:gd name="connsiteX421" fmla="*/ 3794913 w 3907688"/>
              <a:gd name="connsiteY421" fmla="*/ 590946 h 1268730"/>
              <a:gd name="connsiteX422" fmla="*/ 3803371 w 3907688"/>
              <a:gd name="connsiteY422" fmla="*/ 568391 h 1268730"/>
              <a:gd name="connsiteX423" fmla="*/ 3820851 w 3907688"/>
              <a:gd name="connsiteY423" fmla="*/ 564444 h 1268730"/>
              <a:gd name="connsiteX424" fmla="*/ 3857503 w 3907688"/>
              <a:gd name="connsiteY424" fmla="*/ 540197 h 1268730"/>
              <a:gd name="connsiteX425" fmla="*/ 3912764 w 3907688"/>
              <a:gd name="connsiteY425" fmla="*/ 546964 h 1268730"/>
              <a:gd name="connsiteX426" fmla="*/ 3907689 w 3907688"/>
              <a:gd name="connsiteY426" fmla="*/ 538505 h 1268730"/>
              <a:gd name="connsiteX427" fmla="*/ 3886261 w 3907688"/>
              <a:gd name="connsiteY427" fmla="*/ 525536 h 1268730"/>
              <a:gd name="connsiteX428" fmla="*/ 3863142 w 3907688"/>
              <a:gd name="connsiteY428" fmla="*/ 516514 h 1268730"/>
              <a:gd name="connsiteX429" fmla="*/ 3811829 w 3907688"/>
              <a:gd name="connsiteY429" fmla="*/ 490576 h 1268730"/>
              <a:gd name="connsiteX430" fmla="*/ 3766155 w 3907688"/>
              <a:gd name="connsiteY430" fmla="*/ 473659 h 1268730"/>
              <a:gd name="connsiteX431" fmla="*/ 3800551 w 3907688"/>
              <a:gd name="connsiteY431" fmla="*/ 475915 h 1268730"/>
              <a:gd name="connsiteX432" fmla="*/ 3811829 w 3907688"/>
              <a:gd name="connsiteY432" fmla="*/ 461818 h 1268730"/>
              <a:gd name="connsiteX433" fmla="*/ 3811829 w 3907688"/>
              <a:gd name="connsiteY433" fmla="*/ 461818 h 1268730"/>
              <a:gd name="connsiteX434" fmla="*/ 3626312 w 3907688"/>
              <a:gd name="connsiteY434" fmla="*/ 338328 h 1268730"/>
              <a:gd name="connsiteX435" fmla="*/ 3573307 w 3907688"/>
              <a:gd name="connsiteY435" fmla="*/ 325359 h 1268730"/>
              <a:gd name="connsiteX436" fmla="*/ 3484779 w 3907688"/>
              <a:gd name="connsiteY436" fmla="*/ 310698 h 1268730"/>
              <a:gd name="connsiteX437" fmla="*/ 3440232 w 3907688"/>
              <a:gd name="connsiteY437" fmla="*/ 312390 h 1268730"/>
              <a:gd name="connsiteX438" fmla="*/ 3354522 w 3907688"/>
              <a:gd name="connsiteY438" fmla="*/ 304495 h 1268730"/>
              <a:gd name="connsiteX439" fmla="*/ 3364672 w 3907688"/>
              <a:gd name="connsiteY439" fmla="*/ 317464 h 1268730"/>
              <a:gd name="connsiteX440" fmla="*/ 3412602 w 3907688"/>
              <a:gd name="connsiteY440" fmla="*/ 336636 h 1268730"/>
              <a:gd name="connsiteX441" fmla="*/ 3398505 w 3907688"/>
              <a:gd name="connsiteY441" fmla="*/ 346786 h 1268730"/>
              <a:gd name="connsiteX442" fmla="*/ 3318434 w 3907688"/>
              <a:gd name="connsiteY442" fmla="*/ 319720 h 1268730"/>
              <a:gd name="connsiteX443" fmla="*/ 3280090 w 3907688"/>
              <a:gd name="connsiteY443" fmla="*/ 323103 h 1268730"/>
              <a:gd name="connsiteX444" fmla="*/ 3228213 w 3907688"/>
              <a:gd name="connsiteY444" fmla="*/ 316901 h 1268730"/>
              <a:gd name="connsiteX445" fmla="*/ 3188742 w 3907688"/>
              <a:gd name="connsiteY445" fmla="*/ 318028 h 1268730"/>
              <a:gd name="connsiteX446" fmla="*/ 3166750 w 3907688"/>
              <a:gd name="connsiteY446" fmla="*/ 324231 h 1268730"/>
              <a:gd name="connsiteX447" fmla="*/ 3126151 w 3907688"/>
              <a:gd name="connsiteY447" fmla="*/ 315209 h 1268730"/>
              <a:gd name="connsiteX448" fmla="*/ 3097393 w 3907688"/>
              <a:gd name="connsiteY448" fmla="*/ 293781 h 1268730"/>
              <a:gd name="connsiteX449" fmla="*/ 3060740 w 3907688"/>
              <a:gd name="connsiteY449" fmla="*/ 281376 h 1268730"/>
              <a:gd name="connsiteX450" fmla="*/ 3008864 w 3907688"/>
              <a:gd name="connsiteY450" fmla="*/ 276301 h 1268730"/>
              <a:gd name="connsiteX451" fmla="*/ 2925974 w 3907688"/>
              <a:gd name="connsiteY451" fmla="*/ 281940 h 1268730"/>
              <a:gd name="connsiteX452" fmla="*/ 2835188 w 3907688"/>
              <a:gd name="connsiteY452" fmla="*/ 259385 h 1268730"/>
              <a:gd name="connsiteX453" fmla="*/ 2791206 w 3907688"/>
              <a:gd name="connsiteY453" fmla="*/ 242468 h 1268730"/>
              <a:gd name="connsiteX454" fmla="*/ 2565090 w 3907688"/>
              <a:gd name="connsiteY454" fmla="*/ 223296 h 1268730"/>
              <a:gd name="connsiteX455" fmla="*/ 2553248 w 3907688"/>
              <a:gd name="connsiteY455" fmla="*/ 235702 h 1268730"/>
              <a:gd name="connsiteX456" fmla="*/ 2605689 w 3907688"/>
              <a:gd name="connsiteY456" fmla="*/ 262768 h 1268730"/>
              <a:gd name="connsiteX457" fmla="*/ 2563398 w 3907688"/>
              <a:gd name="connsiteY457" fmla="*/ 258821 h 1268730"/>
              <a:gd name="connsiteX458" fmla="*/ 2557760 w 3907688"/>
              <a:gd name="connsiteY458" fmla="*/ 267279 h 1268730"/>
              <a:gd name="connsiteX459" fmla="*/ 2503064 w 3907688"/>
              <a:gd name="connsiteY459" fmla="*/ 258257 h 1268730"/>
              <a:gd name="connsiteX460" fmla="*/ 2474870 w 3907688"/>
              <a:gd name="connsiteY460" fmla="*/ 266151 h 1268730"/>
              <a:gd name="connsiteX461" fmla="*/ 2422428 w 3907688"/>
              <a:gd name="connsiteY461" fmla="*/ 252618 h 1268730"/>
              <a:gd name="connsiteX462" fmla="*/ 2439345 w 3907688"/>
              <a:gd name="connsiteY462" fmla="*/ 283632 h 1268730"/>
              <a:gd name="connsiteX463" fmla="*/ 2389159 w 3907688"/>
              <a:gd name="connsiteY463" fmla="*/ 271790 h 1268730"/>
              <a:gd name="connsiteX464" fmla="*/ 2332771 w 3907688"/>
              <a:gd name="connsiteY464" fmla="*/ 248671 h 1268730"/>
              <a:gd name="connsiteX465" fmla="*/ 2330516 w 3907688"/>
              <a:gd name="connsiteY465" fmla="*/ 236266 h 1268730"/>
              <a:gd name="connsiteX466" fmla="*/ 2296683 w 3907688"/>
              <a:gd name="connsiteY466" fmla="*/ 217658 h 1268730"/>
              <a:gd name="connsiteX467" fmla="*/ 2241423 w 3907688"/>
              <a:gd name="connsiteY467" fmla="*/ 202997 h 1268730"/>
              <a:gd name="connsiteX468" fmla="*/ 2207027 w 3907688"/>
              <a:gd name="connsiteY468" fmla="*/ 202997 h 1268730"/>
              <a:gd name="connsiteX469" fmla="*/ 2154585 w 3907688"/>
              <a:gd name="connsiteY469" fmla="*/ 197922 h 1268730"/>
              <a:gd name="connsiteX470" fmla="*/ 2181088 w 3907688"/>
              <a:gd name="connsiteY470" fmla="*/ 219913 h 1268730"/>
              <a:gd name="connsiteX471" fmla="*/ 2084100 w 3907688"/>
              <a:gd name="connsiteY471" fmla="*/ 215402 h 1268730"/>
              <a:gd name="connsiteX472" fmla="*/ 2062109 w 3907688"/>
              <a:gd name="connsiteY472" fmla="*/ 202433 h 1268730"/>
              <a:gd name="connsiteX473" fmla="*/ 1987113 w 3907688"/>
              <a:gd name="connsiteY473" fmla="*/ 197358 h 1268730"/>
              <a:gd name="connsiteX474" fmla="*/ 1957227 w 3907688"/>
              <a:gd name="connsiteY474" fmla="*/ 201869 h 1268730"/>
              <a:gd name="connsiteX475" fmla="*/ 1956664 w 3907688"/>
              <a:gd name="connsiteY475" fmla="*/ 209199 h 1268730"/>
              <a:gd name="connsiteX476" fmla="*/ 1923958 w 3907688"/>
              <a:gd name="connsiteY476" fmla="*/ 191155 h 1268730"/>
              <a:gd name="connsiteX477" fmla="*/ 1910990 w 3907688"/>
              <a:gd name="connsiteY477" fmla="*/ 196230 h 1268730"/>
              <a:gd name="connsiteX478" fmla="*/ 1870390 w 3907688"/>
              <a:gd name="connsiteY478" fmla="*/ 189464 h 1268730"/>
              <a:gd name="connsiteX479" fmla="*/ 1838813 w 3907688"/>
              <a:gd name="connsiteY479" fmla="*/ 185517 h 1268730"/>
              <a:gd name="connsiteX480" fmla="*/ 1845015 w 3907688"/>
              <a:gd name="connsiteY480" fmla="*/ 177058 h 1268730"/>
              <a:gd name="connsiteX481" fmla="*/ 1882231 w 3907688"/>
              <a:gd name="connsiteY481" fmla="*/ 161270 h 1268730"/>
              <a:gd name="connsiteX482" fmla="*/ 1895201 w 3907688"/>
              <a:gd name="connsiteY482" fmla="*/ 152811 h 1268730"/>
              <a:gd name="connsiteX483" fmla="*/ 1881667 w 3907688"/>
              <a:gd name="connsiteY483" fmla="*/ 138714 h 1268730"/>
              <a:gd name="connsiteX484" fmla="*/ 1850654 w 3907688"/>
              <a:gd name="connsiteY484" fmla="*/ 128001 h 1268730"/>
              <a:gd name="connsiteX485" fmla="*/ 1785808 w 3907688"/>
              <a:gd name="connsiteY485" fmla="*/ 115032 h 1268730"/>
              <a:gd name="connsiteX486" fmla="*/ 1724909 w 3907688"/>
              <a:gd name="connsiteY486" fmla="*/ 114468 h 1268730"/>
              <a:gd name="connsiteX487" fmla="*/ 1714195 w 3907688"/>
              <a:gd name="connsiteY487" fmla="*/ 121234 h 1268730"/>
              <a:gd name="connsiteX488" fmla="*/ 1691076 w 3907688"/>
              <a:gd name="connsiteY488" fmla="*/ 107701 h 1268730"/>
              <a:gd name="connsiteX489" fmla="*/ 776463 w 3907688"/>
              <a:gd name="connsiteY489" fmla="*/ 285887 h 1268730"/>
              <a:gd name="connsiteX490" fmla="*/ 720638 w 3907688"/>
              <a:gd name="connsiteY490" fmla="*/ 261640 h 1268730"/>
              <a:gd name="connsiteX491" fmla="*/ 703158 w 3907688"/>
              <a:gd name="connsiteY491" fmla="*/ 237393 h 1268730"/>
              <a:gd name="connsiteX492" fmla="*/ 721766 w 3907688"/>
              <a:gd name="connsiteY492" fmla="*/ 209763 h 1268730"/>
              <a:gd name="connsiteX493" fmla="*/ 737555 w 3907688"/>
              <a:gd name="connsiteY493" fmla="*/ 181569 h 1268730"/>
              <a:gd name="connsiteX494" fmla="*/ 786049 w 3907688"/>
              <a:gd name="connsiteY494" fmla="*/ 155067 h 1268730"/>
              <a:gd name="connsiteX495" fmla="*/ 841309 w 3907688"/>
              <a:gd name="connsiteY495" fmla="*/ 141534 h 1268730"/>
              <a:gd name="connsiteX496" fmla="*/ 905027 w 3907688"/>
              <a:gd name="connsiteY496" fmla="*/ 128001 h 1268730"/>
              <a:gd name="connsiteX497" fmla="*/ 912357 w 3907688"/>
              <a:gd name="connsiteY497" fmla="*/ 119543 h 1268730"/>
              <a:gd name="connsiteX498" fmla="*/ 888675 w 3907688"/>
              <a:gd name="connsiteY498" fmla="*/ 108829 h 1268730"/>
              <a:gd name="connsiteX499" fmla="*/ 851459 w 3907688"/>
              <a:gd name="connsiteY499" fmla="*/ 112212 h 1268730"/>
              <a:gd name="connsiteX500" fmla="*/ 823829 w 3907688"/>
              <a:gd name="connsiteY500" fmla="*/ 122362 h 1268730"/>
              <a:gd name="connsiteX501" fmla="*/ 757855 w 3907688"/>
              <a:gd name="connsiteY501" fmla="*/ 127437 h 1268730"/>
              <a:gd name="connsiteX502" fmla="*/ 700902 w 3907688"/>
              <a:gd name="connsiteY502" fmla="*/ 144917 h 1268730"/>
              <a:gd name="connsiteX503" fmla="*/ 662559 w 3907688"/>
              <a:gd name="connsiteY503" fmla="*/ 160142 h 1268730"/>
              <a:gd name="connsiteX504" fmla="*/ 676656 w 3907688"/>
              <a:gd name="connsiteY504" fmla="*/ 172547 h 1268730"/>
              <a:gd name="connsiteX505" fmla="*/ 639440 w 3907688"/>
              <a:gd name="connsiteY505" fmla="*/ 197358 h 1268730"/>
              <a:gd name="connsiteX506" fmla="*/ 661431 w 3907688"/>
              <a:gd name="connsiteY506" fmla="*/ 201305 h 1268730"/>
              <a:gd name="connsiteX507" fmla="*/ 630982 w 3907688"/>
              <a:gd name="connsiteY507" fmla="*/ 225552 h 1268730"/>
              <a:gd name="connsiteX508" fmla="*/ 640004 w 3907688"/>
              <a:gd name="connsiteY508" fmla="*/ 241341 h 1268730"/>
              <a:gd name="connsiteX509" fmla="*/ 620832 w 3907688"/>
              <a:gd name="connsiteY509" fmla="*/ 247543 h 1268730"/>
              <a:gd name="connsiteX510" fmla="*/ 631546 w 3907688"/>
              <a:gd name="connsiteY510" fmla="*/ 263332 h 1268730"/>
              <a:gd name="connsiteX511" fmla="*/ 676092 w 3907688"/>
              <a:gd name="connsiteY511" fmla="*/ 271226 h 1268730"/>
              <a:gd name="connsiteX512" fmla="*/ 688497 w 3907688"/>
              <a:gd name="connsiteY512" fmla="*/ 284196 h 1268730"/>
              <a:gd name="connsiteX513" fmla="*/ 764057 w 3907688"/>
              <a:gd name="connsiteY513" fmla="*/ 288143 h 1268730"/>
              <a:gd name="connsiteX514" fmla="*/ 776463 w 3907688"/>
              <a:gd name="connsiteY514" fmla="*/ 285887 h 1268730"/>
              <a:gd name="connsiteX515" fmla="*/ 2547046 w 3907688"/>
              <a:gd name="connsiteY515" fmla="*/ 146609 h 1268730"/>
              <a:gd name="connsiteX516" fmla="*/ 2446111 w 3907688"/>
              <a:gd name="connsiteY516" fmla="*/ 131948 h 1268730"/>
              <a:gd name="connsiteX517" fmla="*/ 2388596 w 3907688"/>
              <a:gd name="connsiteY517" fmla="*/ 130820 h 1268730"/>
              <a:gd name="connsiteX518" fmla="*/ 2369424 w 3907688"/>
              <a:gd name="connsiteY518" fmla="*/ 135895 h 1268730"/>
              <a:gd name="connsiteX519" fmla="*/ 2388596 w 3907688"/>
              <a:gd name="connsiteY519" fmla="*/ 155067 h 1268730"/>
              <a:gd name="connsiteX520" fmla="*/ 2458517 w 3907688"/>
              <a:gd name="connsiteY520" fmla="*/ 173111 h 1268730"/>
              <a:gd name="connsiteX521" fmla="*/ 2483892 w 3907688"/>
              <a:gd name="connsiteY521" fmla="*/ 166345 h 1268730"/>
              <a:gd name="connsiteX522" fmla="*/ 2563962 w 3907688"/>
              <a:gd name="connsiteY522" fmla="*/ 167472 h 1268730"/>
              <a:gd name="connsiteX523" fmla="*/ 2547046 w 3907688"/>
              <a:gd name="connsiteY523" fmla="*/ 146609 h 1268730"/>
              <a:gd name="connsiteX524" fmla="*/ 2689144 w 3907688"/>
              <a:gd name="connsiteY524" fmla="*/ 159578 h 1268730"/>
              <a:gd name="connsiteX525" fmla="*/ 2623170 w 3907688"/>
              <a:gd name="connsiteY525" fmla="*/ 152248 h 1268730"/>
              <a:gd name="connsiteX526" fmla="*/ 2576932 w 3907688"/>
              <a:gd name="connsiteY526" fmla="*/ 148300 h 1268730"/>
              <a:gd name="connsiteX527" fmla="*/ 2586517 w 3907688"/>
              <a:gd name="connsiteY527" fmla="*/ 157323 h 1268730"/>
              <a:gd name="connsiteX528" fmla="*/ 2644597 w 3907688"/>
              <a:gd name="connsiteY528" fmla="*/ 168600 h 1268730"/>
              <a:gd name="connsiteX529" fmla="*/ 2682941 w 3907688"/>
              <a:gd name="connsiteY529" fmla="*/ 170856 h 1268730"/>
              <a:gd name="connsiteX530" fmla="*/ 2689144 w 3907688"/>
              <a:gd name="connsiteY530" fmla="*/ 159578 h 1268730"/>
              <a:gd name="connsiteX531" fmla="*/ 2618659 w 3907688"/>
              <a:gd name="connsiteY531" fmla="*/ 213147 h 1268730"/>
              <a:gd name="connsiteX532" fmla="*/ 2604562 w 3907688"/>
              <a:gd name="connsiteY532" fmla="*/ 205252 h 1268730"/>
              <a:gd name="connsiteX533" fmla="*/ 2557760 w 3907688"/>
              <a:gd name="connsiteY533" fmla="*/ 194539 h 1268730"/>
              <a:gd name="connsiteX534" fmla="*/ 2534641 w 3907688"/>
              <a:gd name="connsiteY534" fmla="*/ 197358 h 1268730"/>
              <a:gd name="connsiteX535" fmla="*/ 2530129 w 3907688"/>
              <a:gd name="connsiteY535" fmla="*/ 208636 h 1268730"/>
              <a:gd name="connsiteX536" fmla="*/ 2536332 w 3907688"/>
              <a:gd name="connsiteY536" fmla="*/ 209763 h 1268730"/>
              <a:gd name="connsiteX537" fmla="*/ 2585954 w 3907688"/>
              <a:gd name="connsiteY537" fmla="*/ 213147 h 1268730"/>
              <a:gd name="connsiteX538" fmla="*/ 2618659 w 3907688"/>
              <a:gd name="connsiteY538" fmla="*/ 213147 h 1268730"/>
              <a:gd name="connsiteX539" fmla="*/ 3535528 w 3907688"/>
              <a:gd name="connsiteY539" fmla="*/ 282504 h 1268730"/>
              <a:gd name="connsiteX540" fmla="*/ 3501695 w 3907688"/>
              <a:gd name="connsiteY540" fmla="*/ 262204 h 1268730"/>
              <a:gd name="connsiteX541" fmla="*/ 3493800 w 3907688"/>
              <a:gd name="connsiteY541" fmla="*/ 274610 h 1268730"/>
              <a:gd name="connsiteX542" fmla="*/ 3513536 w 3907688"/>
              <a:gd name="connsiteY542" fmla="*/ 283632 h 1268730"/>
              <a:gd name="connsiteX543" fmla="*/ 3535528 w 3907688"/>
              <a:gd name="connsiteY543" fmla="*/ 282504 h 1268730"/>
              <a:gd name="connsiteX544" fmla="*/ 82326 w 3907688"/>
              <a:gd name="connsiteY544" fmla="*/ 811987 h 1268730"/>
              <a:gd name="connsiteX545" fmla="*/ 78943 w 3907688"/>
              <a:gd name="connsiteY545" fmla="*/ 803529 h 1268730"/>
              <a:gd name="connsiteX546" fmla="*/ 80071 w 3907688"/>
              <a:gd name="connsiteY546" fmla="*/ 793943 h 1268730"/>
              <a:gd name="connsiteX547" fmla="*/ 67666 w 3907688"/>
              <a:gd name="connsiteY547" fmla="*/ 788868 h 1268730"/>
              <a:gd name="connsiteX548" fmla="*/ 39472 w 3907688"/>
              <a:gd name="connsiteY548" fmla="*/ 782665 h 1268730"/>
              <a:gd name="connsiteX549" fmla="*/ 3947 w 3907688"/>
              <a:gd name="connsiteY549" fmla="*/ 793943 h 1268730"/>
              <a:gd name="connsiteX550" fmla="*/ 0 w 3907688"/>
              <a:gd name="connsiteY550" fmla="*/ 808604 h 1268730"/>
              <a:gd name="connsiteX551" fmla="*/ 33269 w 3907688"/>
              <a:gd name="connsiteY551" fmla="*/ 812551 h 1268730"/>
              <a:gd name="connsiteX552" fmla="*/ 82326 w 3907688"/>
              <a:gd name="connsiteY552" fmla="*/ 811987 h 1268730"/>
              <a:gd name="connsiteX553" fmla="*/ 3407527 w 3907688"/>
              <a:gd name="connsiteY553" fmla="*/ 934913 h 1268730"/>
              <a:gd name="connsiteX554" fmla="*/ 3366927 w 3907688"/>
              <a:gd name="connsiteY554" fmla="*/ 899953 h 1268730"/>
              <a:gd name="connsiteX555" fmla="*/ 3338170 w 3907688"/>
              <a:gd name="connsiteY555" fmla="*/ 866120 h 1268730"/>
              <a:gd name="connsiteX556" fmla="*/ 3299826 w 3907688"/>
              <a:gd name="connsiteY556" fmla="*/ 833415 h 1268730"/>
              <a:gd name="connsiteX557" fmla="*/ 3272195 w 3907688"/>
              <a:gd name="connsiteY557" fmla="*/ 810859 h 1268730"/>
              <a:gd name="connsiteX558" fmla="*/ 3264865 w 3907688"/>
              <a:gd name="connsiteY558" fmla="*/ 815371 h 1268730"/>
              <a:gd name="connsiteX559" fmla="*/ 3289676 w 3907688"/>
              <a:gd name="connsiteY559" fmla="*/ 831159 h 1268730"/>
              <a:gd name="connsiteX560" fmla="*/ 3278962 w 3907688"/>
              <a:gd name="connsiteY560" fmla="*/ 846948 h 1268730"/>
              <a:gd name="connsiteX561" fmla="*/ 3317306 w 3907688"/>
              <a:gd name="connsiteY561" fmla="*/ 893750 h 1268730"/>
              <a:gd name="connsiteX562" fmla="*/ 3361289 w 3907688"/>
              <a:gd name="connsiteY562" fmla="*/ 927583 h 1268730"/>
              <a:gd name="connsiteX563" fmla="*/ 3397377 w 3907688"/>
              <a:gd name="connsiteY563" fmla="*/ 974385 h 1268730"/>
              <a:gd name="connsiteX564" fmla="*/ 3410910 w 3907688"/>
              <a:gd name="connsiteY564" fmla="*/ 1000323 h 1268730"/>
              <a:gd name="connsiteX565" fmla="*/ 3441924 w 3907688"/>
              <a:gd name="connsiteY565" fmla="*/ 1038667 h 1268730"/>
              <a:gd name="connsiteX566" fmla="*/ 3463351 w 3907688"/>
              <a:gd name="connsiteY566" fmla="*/ 1072500 h 1268730"/>
              <a:gd name="connsiteX567" fmla="*/ 3489289 w 3907688"/>
              <a:gd name="connsiteY567" fmla="*/ 1101822 h 1268730"/>
              <a:gd name="connsiteX568" fmla="*/ 3488725 w 3907688"/>
              <a:gd name="connsiteY568" fmla="*/ 1074755 h 1268730"/>
              <a:gd name="connsiteX569" fmla="*/ 3525378 w 3907688"/>
              <a:gd name="connsiteY569" fmla="*/ 1096183 h 1268730"/>
              <a:gd name="connsiteX570" fmla="*/ 3508461 w 3907688"/>
              <a:gd name="connsiteY570" fmla="*/ 1071372 h 1268730"/>
              <a:gd name="connsiteX571" fmla="*/ 3454893 w 3907688"/>
              <a:gd name="connsiteY571" fmla="*/ 1035848 h 1268730"/>
              <a:gd name="connsiteX572" fmla="*/ 3434029 w 3907688"/>
              <a:gd name="connsiteY572" fmla="*/ 985098 h 1268730"/>
              <a:gd name="connsiteX573" fmla="*/ 3484215 w 3907688"/>
              <a:gd name="connsiteY573" fmla="*/ 996376 h 1268730"/>
              <a:gd name="connsiteX574" fmla="*/ 3407527 w 3907688"/>
              <a:gd name="connsiteY574" fmla="*/ 934913 h 1268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</a:cxnLst>
            <a:rect l="l" t="t" r="r" b="b"/>
            <a:pathLst>
              <a:path w="3907688" h="1268730">
                <a:moveTo>
                  <a:pt x="1482441" y="57516"/>
                </a:moveTo>
                <a:lnTo>
                  <a:pt x="1457066" y="34961"/>
                </a:lnTo>
                <a:lnTo>
                  <a:pt x="1380378" y="11841"/>
                </a:lnTo>
                <a:lnTo>
                  <a:pt x="1327374" y="0"/>
                </a:lnTo>
                <a:lnTo>
                  <a:pt x="1292413" y="5075"/>
                </a:lnTo>
                <a:lnTo>
                  <a:pt x="1262528" y="21427"/>
                </a:lnTo>
                <a:lnTo>
                  <a:pt x="1295232" y="25938"/>
                </a:lnTo>
                <a:lnTo>
                  <a:pt x="1332448" y="43983"/>
                </a:lnTo>
                <a:lnTo>
                  <a:pt x="1377558" y="53569"/>
                </a:lnTo>
                <a:lnTo>
                  <a:pt x="1442405" y="60899"/>
                </a:lnTo>
                <a:lnTo>
                  <a:pt x="1482441" y="57516"/>
                </a:lnTo>
                <a:close/>
                <a:moveTo>
                  <a:pt x="474787" y="16353"/>
                </a:moveTo>
                <a:lnTo>
                  <a:pt x="479862" y="12969"/>
                </a:lnTo>
                <a:lnTo>
                  <a:pt x="447721" y="7894"/>
                </a:lnTo>
                <a:lnTo>
                  <a:pt x="431932" y="11841"/>
                </a:lnTo>
                <a:lnTo>
                  <a:pt x="424601" y="17480"/>
                </a:lnTo>
                <a:lnTo>
                  <a:pt x="416143" y="10714"/>
                </a:lnTo>
                <a:lnTo>
                  <a:pt x="386822" y="11278"/>
                </a:lnTo>
                <a:lnTo>
                  <a:pt x="351861" y="15789"/>
                </a:lnTo>
                <a:lnTo>
                  <a:pt x="395280" y="16353"/>
                </a:lnTo>
                <a:lnTo>
                  <a:pt x="389077" y="23683"/>
                </a:lnTo>
                <a:lnTo>
                  <a:pt x="413888" y="29322"/>
                </a:lnTo>
                <a:lnTo>
                  <a:pt x="434188" y="25375"/>
                </a:lnTo>
                <a:lnTo>
                  <a:pt x="434751" y="21427"/>
                </a:lnTo>
                <a:lnTo>
                  <a:pt x="451104" y="19736"/>
                </a:lnTo>
                <a:lnTo>
                  <a:pt x="474787" y="16353"/>
                </a:lnTo>
                <a:close/>
                <a:moveTo>
                  <a:pt x="1605366" y="72177"/>
                </a:moveTo>
                <a:lnTo>
                  <a:pt x="1596908" y="62027"/>
                </a:lnTo>
                <a:lnTo>
                  <a:pt x="1526423" y="47366"/>
                </a:lnTo>
                <a:lnTo>
                  <a:pt x="1509507" y="45674"/>
                </a:lnTo>
                <a:lnTo>
                  <a:pt x="1497101" y="48494"/>
                </a:lnTo>
                <a:lnTo>
                  <a:pt x="1503868" y="82326"/>
                </a:lnTo>
                <a:lnTo>
                  <a:pt x="1605366" y="72177"/>
                </a:lnTo>
                <a:close/>
                <a:moveTo>
                  <a:pt x="1691076" y="107701"/>
                </a:moveTo>
                <a:lnTo>
                  <a:pt x="1639199" y="103754"/>
                </a:lnTo>
                <a:lnTo>
                  <a:pt x="1658371" y="96987"/>
                </a:lnTo>
                <a:lnTo>
                  <a:pt x="1612133" y="88529"/>
                </a:lnTo>
                <a:lnTo>
                  <a:pt x="1577736" y="99243"/>
                </a:lnTo>
                <a:lnTo>
                  <a:pt x="1572097" y="110520"/>
                </a:lnTo>
                <a:lnTo>
                  <a:pt x="1580555" y="122362"/>
                </a:lnTo>
                <a:lnTo>
                  <a:pt x="1541648" y="121798"/>
                </a:lnTo>
                <a:lnTo>
                  <a:pt x="1511762" y="136459"/>
                </a:lnTo>
                <a:lnTo>
                  <a:pt x="1487515" y="130256"/>
                </a:lnTo>
                <a:lnTo>
                  <a:pt x="1435075" y="133076"/>
                </a:lnTo>
                <a:lnTo>
                  <a:pt x="1436766" y="140406"/>
                </a:lnTo>
                <a:lnTo>
                  <a:pt x="1384889" y="144353"/>
                </a:lnTo>
                <a:lnTo>
                  <a:pt x="1357259" y="157886"/>
                </a:lnTo>
                <a:lnTo>
                  <a:pt x="1333576" y="159014"/>
                </a:lnTo>
                <a:lnTo>
                  <a:pt x="1326809" y="177622"/>
                </a:lnTo>
                <a:lnTo>
                  <a:pt x="1357823" y="192283"/>
                </a:lnTo>
                <a:lnTo>
                  <a:pt x="1314404" y="196230"/>
                </a:lnTo>
                <a:lnTo>
                  <a:pt x="1260836" y="194539"/>
                </a:lnTo>
                <a:lnTo>
                  <a:pt x="1228130" y="200741"/>
                </a:lnTo>
                <a:lnTo>
                  <a:pt x="1255197" y="231191"/>
                </a:lnTo>
                <a:lnTo>
                  <a:pt x="1294105" y="255438"/>
                </a:lnTo>
                <a:lnTo>
                  <a:pt x="1239972" y="238521"/>
                </a:lnTo>
                <a:lnTo>
                  <a:pt x="1195426" y="240213"/>
                </a:lnTo>
                <a:lnTo>
                  <a:pt x="1166668" y="251490"/>
                </a:lnTo>
                <a:lnTo>
                  <a:pt x="1192043" y="272918"/>
                </a:lnTo>
                <a:lnTo>
                  <a:pt x="1164412" y="267279"/>
                </a:lnTo>
                <a:lnTo>
                  <a:pt x="1152571" y="239085"/>
                </a:lnTo>
                <a:lnTo>
                  <a:pt x="1128888" y="223296"/>
                </a:lnTo>
                <a:lnTo>
                  <a:pt x="1118738" y="223860"/>
                </a:lnTo>
                <a:lnTo>
                  <a:pt x="1139038" y="244724"/>
                </a:lnTo>
                <a:lnTo>
                  <a:pt x="1113099" y="264460"/>
                </a:lnTo>
                <a:lnTo>
                  <a:pt x="1158773" y="288143"/>
                </a:lnTo>
                <a:lnTo>
                  <a:pt x="1161029" y="318592"/>
                </a:lnTo>
                <a:lnTo>
                  <a:pt x="1177381" y="334945"/>
                </a:lnTo>
                <a:lnTo>
                  <a:pt x="1203884" y="337764"/>
                </a:lnTo>
                <a:lnTo>
                  <a:pt x="1206140" y="357500"/>
                </a:lnTo>
                <a:lnTo>
                  <a:pt x="1230950" y="374980"/>
                </a:lnTo>
                <a:lnTo>
                  <a:pt x="1220237" y="389641"/>
                </a:lnTo>
                <a:lnTo>
                  <a:pt x="1223056" y="404866"/>
                </a:lnTo>
                <a:lnTo>
                  <a:pt x="1202192" y="412760"/>
                </a:lnTo>
                <a:lnTo>
                  <a:pt x="1199373" y="424038"/>
                </a:lnTo>
                <a:lnTo>
                  <a:pt x="1169487" y="419527"/>
                </a:lnTo>
                <a:lnTo>
                  <a:pt x="1189223" y="375544"/>
                </a:lnTo>
                <a:lnTo>
                  <a:pt x="1186404" y="355244"/>
                </a:lnTo>
                <a:lnTo>
                  <a:pt x="1148623" y="336636"/>
                </a:lnTo>
                <a:lnTo>
                  <a:pt x="1127196" y="295473"/>
                </a:lnTo>
                <a:lnTo>
                  <a:pt x="1106332" y="274610"/>
                </a:lnTo>
                <a:lnTo>
                  <a:pt x="1086033" y="265587"/>
                </a:lnTo>
                <a:lnTo>
                  <a:pt x="1090544" y="241905"/>
                </a:lnTo>
                <a:lnTo>
                  <a:pt x="1074191" y="225552"/>
                </a:lnTo>
                <a:lnTo>
                  <a:pt x="1010473" y="217658"/>
                </a:lnTo>
                <a:lnTo>
                  <a:pt x="998631" y="223296"/>
                </a:lnTo>
                <a:lnTo>
                  <a:pt x="1001451" y="249799"/>
                </a:lnTo>
                <a:lnTo>
                  <a:pt x="977204" y="276301"/>
                </a:lnTo>
                <a:lnTo>
                  <a:pt x="983971" y="285887"/>
                </a:lnTo>
                <a:lnTo>
                  <a:pt x="1010473" y="309006"/>
                </a:lnTo>
                <a:lnTo>
                  <a:pt x="1011036" y="323667"/>
                </a:lnTo>
                <a:lnTo>
                  <a:pt x="1040922" y="326487"/>
                </a:lnTo>
                <a:lnTo>
                  <a:pt x="1045434" y="332689"/>
                </a:lnTo>
                <a:lnTo>
                  <a:pt x="1078138" y="349042"/>
                </a:lnTo>
                <a:lnTo>
                  <a:pt x="1072500" y="364830"/>
                </a:lnTo>
                <a:lnTo>
                  <a:pt x="968182" y="330434"/>
                </a:lnTo>
                <a:lnTo>
                  <a:pt x="930966" y="320848"/>
                </a:lnTo>
                <a:lnTo>
                  <a:pt x="858789" y="311826"/>
                </a:lnTo>
                <a:lnTo>
                  <a:pt x="852023" y="321412"/>
                </a:lnTo>
                <a:lnTo>
                  <a:pt x="885292" y="338892"/>
                </a:lnTo>
                <a:lnTo>
                  <a:pt x="870066" y="359192"/>
                </a:lnTo>
                <a:lnTo>
                  <a:pt x="833979" y="341147"/>
                </a:lnTo>
                <a:lnTo>
                  <a:pt x="805785" y="353553"/>
                </a:lnTo>
                <a:lnTo>
                  <a:pt x="762929" y="354117"/>
                </a:lnTo>
                <a:lnTo>
                  <a:pt x="751088" y="364830"/>
                </a:lnTo>
                <a:lnTo>
                  <a:pt x="721203" y="361447"/>
                </a:lnTo>
                <a:lnTo>
                  <a:pt x="735300" y="342839"/>
                </a:lnTo>
                <a:lnTo>
                  <a:pt x="717255" y="341711"/>
                </a:lnTo>
                <a:lnTo>
                  <a:pt x="647898" y="367650"/>
                </a:lnTo>
                <a:lnTo>
                  <a:pt x="605043" y="382311"/>
                </a:lnTo>
                <a:lnTo>
                  <a:pt x="607299" y="402046"/>
                </a:lnTo>
                <a:lnTo>
                  <a:pt x="573466" y="408813"/>
                </a:lnTo>
                <a:lnTo>
                  <a:pt x="550911" y="398099"/>
                </a:lnTo>
                <a:lnTo>
                  <a:pt x="544144" y="381183"/>
                </a:lnTo>
                <a:lnTo>
                  <a:pt x="572338" y="377236"/>
                </a:lnTo>
                <a:lnTo>
                  <a:pt x="552039" y="360319"/>
                </a:lnTo>
                <a:lnTo>
                  <a:pt x="483245" y="350169"/>
                </a:lnTo>
                <a:lnTo>
                  <a:pt x="507492" y="369341"/>
                </a:lnTo>
                <a:lnTo>
                  <a:pt x="502981" y="387386"/>
                </a:lnTo>
                <a:lnTo>
                  <a:pt x="529483" y="405994"/>
                </a:lnTo>
                <a:lnTo>
                  <a:pt x="523280" y="427421"/>
                </a:lnTo>
                <a:lnTo>
                  <a:pt x="497342" y="416707"/>
                </a:lnTo>
                <a:lnTo>
                  <a:pt x="474787" y="415016"/>
                </a:lnTo>
                <a:lnTo>
                  <a:pt x="429676" y="445465"/>
                </a:lnTo>
                <a:lnTo>
                  <a:pt x="453360" y="468584"/>
                </a:lnTo>
                <a:lnTo>
                  <a:pt x="435315" y="476479"/>
                </a:lnTo>
                <a:lnTo>
                  <a:pt x="371033" y="456743"/>
                </a:lnTo>
                <a:lnTo>
                  <a:pt x="359191" y="468584"/>
                </a:lnTo>
                <a:lnTo>
                  <a:pt x="377800" y="482117"/>
                </a:lnTo>
                <a:lnTo>
                  <a:pt x="378927" y="497342"/>
                </a:lnTo>
                <a:lnTo>
                  <a:pt x="357500" y="489448"/>
                </a:lnTo>
                <a:lnTo>
                  <a:pt x="323667" y="479862"/>
                </a:lnTo>
                <a:lnTo>
                  <a:pt x="312953" y="447157"/>
                </a:lnTo>
                <a:lnTo>
                  <a:pt x="307315" y="432496"/>
                </a:lnTo>
                <a:lnTo>
                  <a:pt x="262204" y="409941"/>
                </a:lnTo>
                <a:lnTo>
                  <a:pt x="278557" y="405994"/>
                </a:lnTo>
                <a:lnTo>
                  <a:pt x="391897" y="429677"/>
                </a:lnTo>
                <a:lnTo>
                  <a:pt x="427985" y="421218"/>
                </a:lnTo>
                <a:lnTo>
                  <a:pt x="448848" y="404866"/>
                </a:lnTo>
                <a:lnTo>
                  <a:pt x="439826" y="384566"/>
                </a:lnTo>
                <a:lnTo>
                  <a:pt x="417271" y="369905"/>
                </a:lnTo>
                <a:lnTo>
                  <a:pt x="318028" y="335509"/>
                </a:lnTo>
                <a:lnTo>
                  <a:pt x="252618" y="328178"/>
                </a:lnTo>
                <a:lnTo>
                  <a:pt x="209763" y="310134"/>
                </a:lnTo>
                <a:lnTo>
                  <a:pt x="189464" y="320284"/>
                </a:lnTo>
                <a:lnTo>
                  <a:pt x="189464" y="320284"/>
                </a:lnTo>
                <a:lnTo>
                  <a:pt x="153375" y="332689"/>
                </a:lnTo>
                <a:lnTo>
                  <a:pt x="135331" y="335509"/>
                </a:lnTo>
                <a:lnTo>
                  <a:pt x="137587" y="356372"/>
                </a:lnTo>
                <a:lnTo>
                  <a:pt x="178186" y="377236"/>
                </a:lnTo>
                <a:lnTo>
                  <a:pt x="162397" y="400355"/>
                </a:lnTo>
                <a:lnTo>
                  <a:pt x="198485" y="435879"/>
                </a:lnTo>
                <a:lnTo>
                  <a:pt x="188900" y="462946"/>
                </a:lnTo>
                <a:lnTo>
                  <a:pt x="216530" y="486065"/>
                </a:lnTo>
                <a:lnTo>
                  <a:pt x="211455" y="506928"/>
                </a:lnTo>
                <a:lnTo>
                  <a:pt x="252618" y="528919"/>
                </a:lnTo>
                <a:lnTo>
                  <a:pt x="247543" y="545272"/>
                </a:lnTo>
                <a:lnTo>
                  <a:pt x="228935" y="563880"/>
                </a:lnTo>
                <a:lnTo>
                  <a:pt x="184388" y="605607"/>
                </a:lnTo>
                <a:lnTo>
                  <a:pt x="184388" y="605607"/>
                </a:lnTo>
                <a:lnTo>
                  <a:pt x="214274" y="621396"/>
                </a:lnTo>
                <a:lnTo>
                  <a:pt x="188900" y="639440"/>
                </a:lnTo>
                <a:lnTo>
                  <a:pt x="188900" y="639440"/>
                </a:lnTo>
                <a:lnTo>
                  <a:pt x="193975" y="645079"/>
                </a:lnTo>
                <a:lnTo>
                  <a:pt x="179313" y="664251"/>
                </a:lnTo>
                <a:lnTo>
                  <a:pt x="193410" y="695264"/>
                </a:lnTo>
                <a:lnTo>
                  <a:pt x="184388" y="705978"/>
                </a:lnTo>
                <a:lnTo>
                  <a:pt x="197922" y="713872"/>
                </a:lnTo>
                <a:lnTo>
                  <a:pt x="203561" y="729661"/>
                </a:lnTo>
                <a:lnTo>
                  <a:pt x="215402" y="749960"/>
                </a:lnTo>
                <a:lnTo>
                  <a:pt x="244724" y="758419"/>
                </a:lnTo>
                <a:lnTo>
                  <a:pt x="250363" y="766313"/>
                </a:lnTo>
                <a:lnTo>
                  <a:pt x="263332" y="762366"/>
                </a:lnTo>
                <a:lnTo>
                  <a:pt x="290398" y="770260"/>
                </a:lnTo>
                <a:lnTo>
                  <a:pt x="296037" y="786613"/>
                </a:lnTo>
                <a:lnTo>
                  <a:pt x="292654" y="795635"/>
                </a:lnTo>
                <a:lnTo>
                  <a:pt x="313517" y="817626"/>
                </a:lnTo>
                <a:lnTo>
                  <a:pt x="325922" y="823829"/>
                </a:lnTo>
                <a:lnTo>
                  <a:pt x="325359" y="830031"/>
                </a:lnTo>
                <a:lnTo>
                  <a:pt x="344531" y="836234"/>
                </a:lnTo>
                <a:lnTo>
                  <a:pt x="354116" y="845256"/>
                </a:lnTo>
                <a:lnTo>
                  <a:pt x="345094" y="852587"/>
                </a:lnTo>
                <a:lnTo>
                  <a:pt x="323103" y="851459"/>
                </a:lnTo>
                <a:lnTo>
                  <a:pt x="318592" y="854842"/>
                </a:lnTo>
                <a:lnTo>
                  <a:pt x="327050" y="866120"/>
                </a:lnTo>
                <a:lnTo>
                  <a:pt x="338328" y="888111"/>
                </a:lnTo>
                <a:lnTo>
                  <a:pt x="338328" y="888111"/>
                </a:lnTo>
                <a:lnTo>
                  <a:pt x="348477" y="889239"/>
                </a:lnTo>
                <a:lnTo>
                  <a:pt x="354116" y="881344"/>
                </a:lnTo>
                <a:lnTo>
                  <a:pt x="362574" y="883036"/>
                </a:lnTo>
                <a:lnTo>
                  <a:pt x="389641" y="880217"/>
                </a:lnTo>
                <a:lnTo>
                  <a:pt x="411069" y="899389"/>
                </a:lnTo>
                <a:lnTo>
                  <a:pt x="405994" y="906719"/>
                </a:lnTo>
                <a:lnTo>
                  <a:pt x="409941" y="917433"/>
                </a:lnTo>
                <a:lnTo>
                  <a:pt x="432496" y="918561"/>
                </a:lnTo>
                <a:lnTo>
                  <a:pt x="444901" y="933785"/>
                </a:lnTo>
                <a:lnTo>
                  <a:pt x="446029" y="940552"/>
                </a:lnTo>
                <a:lnTo>
                  <a:pt x="483245" y="952957"/>
                </a:lnTo>
                <a:lnTo>
                  <a:pt x="502981" y="947318"/>
                </a:lnTo>
                <a:lnTo>
                  <a:pt x="523280" y="963671"/>
                </a:lnTo>
                <a:lnTo>
                  <a:pt x="539633" y="963107"/>
                </a:lnTo>
                <a:lnTo>
                  <a:pt x="582488" y="974385"/>
                </a:lnTo>
                <a:lnTo>
                  <a:pt x="584743" y="985098"/>
                </a:lnTo>
                <a:lnTo>
                  <a:pt x="577413" y="1003143"/>
                </a:lnTo>
                <a:lnTo>
                  <a:pt x="587563" y="1022315"/>
                </a:lnTo>
                <a:lnTo>
                  <a:pt x="585871" y="1034156"/>
                </a:lnTo>
                <a:lnTo>
                  <a:pt x="559369" y="1036975"/>
                </a:lnTo>
                <a:lnTo>
                  <a:pt x="546964" y="1046561"/>
                </a:lnTo>
                <a:lnTo>
                  <a:pt x="549219" y="1062350"/>
                </a:lnTo>
                <a:lnTo>
                  <a:pt x="572902" y="1056711"/>
                </a:lnTo>
                <a:lnTo>
                  <a:pt x="575158" y="1064042"/>
                </a:lnTo>
                <a:lnTo>
                  <a:pt x="536814" y="1078703"/>
                </a:lnTo>
                <a:lnTo>
                  <a:pt x="554858" y="1092236"/>
                </a:lnTo>
                <a:lnTo>
                  <a:pt x="536814" y="1121557"/>
                </a:lnTo>
                <a:lnTo>
                  <a:pt x="517641" y="1127196"/>
                </a:lnTo>
                <a:lnTo>
                  <a:pt x="545835" y="1147496"/>
                </a:lnTo>
                <a:lnTo>
                  <a:pt x="580796" y="1161029"/>
                </a:lnTo>
                <a:lnTo>
                  <a:pt x="622524" y="1189787"/>
                </a:lnTo>
                <a:lnTo>
                  <a:pt x="625343" y="1185840"/>
                </a:lnTo>
                <a:lnTo>
                  <a:pt x="650718" y="1192042"/>
                </a:lnTo>
                <a:lnTo>
                  <a:pt x="694136" y="1197681"/>
                </a:lnTo>
                <a:lnTo>
                  <a:pt x="736427" y="1214034"/>
                </a:lnTo>
                <a:lnTo>
                  <a:pt x="742630" y="1220800"/>
                </a:lnTo>
                <a:lnTo>
                  <a:pt x="758982" y="1215161"/>
                </a:lnTo>
                <a:lnTo>
                  <a:pt x="787740" y="1222492"/>
                </a:lnTo>
                <a:lnTo>
                  <a:pt x="799581" y="1236589"/>
                </a:lnTo>
                <a:lnTo>
                  <a:pt x="819317" y="1244483"/>
                </a:lnTo>
                <a:lnTo>
                  <a:pt x="827775" y="1245611"/>
                </a:lnTo>
                <a:lnTo>
                  <a:pt x="852023" y="1267038"/>
                </a:lnTo>
                <a:lnTo>
                  <a:pt x="865556" y="1269294"/>
                </a:lnTo>
                <a:lnTo>
                  <a:pt x="868375" y="1260836"/>
                </a:lnTo>
                <a:lnTo>
                  <a:pt x="883036" y="1246739"/>
                </a:lnTo>
                <a:lnTo>
                  <a:pt x="883036" y="1246739"/>
                </a:lnTo>
                <a:lnTo>
                  <a:pt x="841872" y="1205576"/>
                </a:lnTo>
                <a:lnTo>
                  <a:pt x="839617" y="1182456"/>
                </a:lnTo>
                <a:lnTo>
                  <a:pt x="806348" y="1149188"/>
                </a:lnTo>
                <a:lnTo>
                  <a:pt x="826084" y="1113663"/>
                </a:lnTo>
                <a:lnTo>
                  <a:pt x="852023" y="1107460"/>
                </a:lnTo>
                <a:lnTo>
                  <a:pt x="859917" y="1086597"/>
                </a:lnTo>
                <a:lnTo>
                  <a:pt x="844128" y="1080958"/>
                </a:lnTo>
                <a:lnTo>
                  <a:pt x="843001" y="1062914"/>
                </a:lnTo>
                <a:lnTo>
                  <a:pt x="819317" y="1039795"/>
                </a:lnTo>
                <a:lnTo>
                  <a:pt x="799018" y="1040923"/>
                </a:lnTo>
                <a:lnTo>
                  <a:pt x="769132" y="1016676"/>
                </a:lnTo>
                <a:lnTo>
                  <a:pt x="778718" y="990173"/>
                </a:lnTo>
                <a:lnTo>
                  <a:pt x="769132" y="983407"/>
                </a:lnTo>
                <a:lnTo>
                  <a:pt x="780974" y="945063"/>
                </a:lnTo>
                <a:lnTo>
                  <a:pt x="814807" y="965363"/>
                </a:lnTo>
                <a:lnTo>
                  <a:pt x="810859" y="939424"/>
                </a:lnTo>
                <a:lnTo>
                  <a:pt x="856534" y="902208"/>
                </a:lnTo>
                <a:lnTo>
                  <a:pt x="898825" y="901080"/>
                </a:lnTo>
                <a:lnTo>
                  <a:pt x="965926" y="925327"/>
                </a:lnTo>
                <a:lnTo>
                  <a:pt x="1003143" y="938860"/>
                </a:lnTo>
                <a:lnTo>
                  <a:pt x="1027389" y="924763"/>
                </a:lnTo>
                <a:lnTo>
                  <a:pt x="1070244" y="923635"/>
                </a:lnTo>
                <a:lnTo>
                  <a:pt x="1111407" y="941680"/>
                </a:lnTo>
                <a:lnTo>
                  <a:pt x="1115919" y="931530"/>
                </a:lnTo>
                <a:lnTo>
                  <a:pt x="1154826" y="933221"/>
                </a:lnTo>
                <a:lnTo>
                  <a:pt x="1155954" y="916305"/>
                </a:lnTo>
                <a:lnTo>
                  <a:pt x="1102949" y="892622"/>
                </a:lnTo>
                <a:lnTo>
                  <a:pt x="1123249" y="876270"/>
                </a:lnTo>
                <a:lnTo>
                  <a:pt x="1114791" y="866684"/>
                </a:lnTo>
                <a:lnTo>
                  <a:pt x="1136782" y="857662"/>
                </a:lnTo>
                <a:lnTo>
                  <a:pt x="1108588" y="834542"/>
                </a:lnTo>
                <a:lnTo>
                  <a:pt x="1116482" y="822701"/>
                </a:lnTo>
                <a:lnTo>
                  <a:pt x="1211214" y="810859"/>
                </a:lnTo>
                <a:lnTo>
                  <a:pt x="1220800" y="802401"/>
                </a:lnTo>
                <a:lnTo>
                  <a:pt x="1281699" y="789996"/>
                </a:lnTo>
                <a:lnTo>
                  <a:pt x="1299180" y="775899"/>
                </a:lnTo>
                <a:lnTo>
                  <a:pt x="1349929" y="783229"/>
                </a:lnTo>
                <a:lnTo>
                  <a:pt x="1374175" y="818754"/>
                </a:lnTo>
                <a:lnTo>
                  <a:pt x="1398422" y="810296"/>
                </a:lnTo>
                <a:lnTo>
                  <a:pt x="1437894" y="822137"/>
                </a:lnTo>
                <a:lnTo>
                  <a:pt x="1444660" y="840745"/>
                </a:lnTo>
                <a:lnTo>
                  <a:pt x="1469471" y="838490"/>
                </a:lnTo>
                <a:lnTo>
                  <a:pt x="1520784" y="806348"/>
                </a:lnTo>
                <a:lnTo>
                  <a:pt x="1516274" y="817062"/>
                </a:lnTo>
                <a:lnTo>
                  <a:pt x="1563075" y="843565"/>
                </a:lnTo>
                <a:lnTo>
                  <a:pt x="1665137" y="930966"/>
                </a:lnTo>
                <a:lnTo>
                  <a:pt x="1671341" y="912358"/>
                </a:lnTo>
                <a:lnTo>
                  <a:pt x="1718142" y="932658"/>
                </a:lnTo>
                <a:lnTo>
                  <a:pt x="1753103" y="923635"/>
                </a:lnTo>
                <a:lnTo>
                  <a:pt x="1771147" y="929838"/>
                </a:lnTo>
                <a:lnTo>
                  <a:pt x="1794266" y="950138"/>
                </a:lnTo>
                <a:lnTo>
                  <a:pt x="1816257" y="956904"/>
                </a:lnTo>
                <a:lnTo>
                  <a:pt x="1834866" y="971565"/>
                </a:lnTo>
                <a:lnTo>
                  <a:pt x="1868699" y="966490"/>
                </a:lnTo>
                <a:lnTo>
                  <a:pt x="1892945" y="987918"/>
                </a:lnTo>
                <a:lnTo>
                  <a:pt x="1902531" y="985098"/>
                </a:lnTo>
                <a:lnTo>
                  <a:pt x="1929033" y="979460"/>
                </a:lnTo>
                <a:lnTo>
                  <a:pt x="1966249" y="949010"/>
                </a:lnTo>
                <a:lnTo>
                  <a:pt x="1999518" y="932658"/>
                </a:lnTo>
                <a:lnTo>
                  <a:pt x="2029404" y="943371"/>
                </a:lnTo>
                <a:lnTo>
                  <a:pt x="2058162" y="943935"/>
                </a:lnTo>
                <a:lnTo>
                  <a:pt x="2084664" y="960288"/>
                </a:lnTo>
                <a:lnTo>
                  <a:pt x="2112858" y="961415"/>
                </a:lnTo>
                <a:lnTo>
                  <a:pt x="2157405" y="970438"/>
                </a:lnTo>
                <a:lnTo>
                  <a:pt x="2170938" y="946191"/>
                </a:lnTo>
                <a:lnTo>
                  <a:pt x="2148383" y="925891"/>
                </a:lnTo>
                <a:lnTo>
                  <a:pt x="2155713" y="889803"/>
                </a:lnTo>
                <a:lnTo>
                  <a:pt x="2194621" y="903900"/>
                </a:lnTo>
                <a:lnTo>
                  <a:pt x="2221687" y="908411"/>
                </a:lnTo>
                <a:lnTo>
                  <a:pt x="2258903" y="916869"/>
                </a:lnTo>
                <a:lnTo>
                  <a:pt x="2279767" y="942807"/>
                </a:lnTo>
                <a:lnTo>
                  <a:pt x="2327133" y="957468"/>
                </a:lnTo>
                <a:lnTo>
                  <a:pt x="2349124" y="951266"/>
                </a:lnTo>
                <a:lnTo>
                  <a:pt x="2381265" y="946755"/>
                </a:lnTo>
                <a:lnTo>
                  <a:pt x="2411715" y="951266"/>
                </a:lnTo>
                <a:lnTo>
                  <a:pt x="2448367" y="968182"/>
                </a:lnTo>
                <a:lnTo>
                  <a:pt x="2475997" y="985662"/>
                </a:lnTo>
                <a:lnTo>
                  <a:pt x="2501372" y="985662"/>
                </a:lnTo>
                <a:lnTo>
                  <a:pt x="2539151" y="991301"/>
                </a:lnTo>
                <a:lnTo>
                  <a:pt x="2559452" y="982279"/>
                </a:lnTo>
                <a:lnTo>
                  <a:pt x="2592156" y="976640"/>
                </a:lnTo>
                <a:lnTo>
                  <a:pt x="2617531" y="951829"/>
                </a:lnTo>
                <a:lnTo>
                  <a:pt x="2636139" y="955777"/>
                </a:lnTo>
                <a:lnTo>
                  <a:pt x="2658131" y="967618"/>
                </a:lnTo>
                <a:lnTo>
                  <a:pt x="2689144" y="964799"/>
                </a:lnTo>
                <a:lnTo>
                  <a:pt x="2730307" y="977768"/>
                </a:lnTo>
                <a:lnTo>
                  <a:pt x="2755118" y="955777"/>
                </a:lnTo>
                <a:lnTo>
                  <a:pt x="2744404" y="940552"/>
                </a:lnTo>
                <a:lnTo>
                  <a:pt x="2743840" y="903900"/>
                </a:lnTo>
                <a:lnTo>
                  <a:pt x="2750606" y="892622"/>
                </a:lnTo>
                <a:lnTo>
                  <a:pt x="2736509" y="874014"/>
                </a:lnTo>
                <a:lnTo>
                  <a:pt x="2715646" y="865556"/>
                </a:lnTo>
                <a:lnTo>
                  <a:pt x="2725232" y="848639"/>
                </a:lnTo>
                <a:lnTo>
                  <a:pt x="2753990" y="842437"/>
                </a:lnTo>
                <a:lnTo>
                  <a:pt x="2788950" y="841309"/>
                </a:lnTo>
                <a:lnTo>
                  <a:pt x="2836880" y="851459"/>
                </a:lnTo>
                <a:lnTo>
                  <a:pt x="2870149" y="864428"/>
                </a:lnTo>
                <a:lnTo>
                  <a:pt x="2913568" y="898825"/>
                </a:lnTo>
                <a:lnTo>
                  <a:pt x="2934996" y="914050"/>
                </a:lnTo>
                <a:lnTo>
                  <a:pt x="2959806" y="934913"/>
                </a:lnTo>
                <a:lnTo>
                  <a:pt x="2994203" y="969310"/>
                </a:lnTo>
                <a:lnTo>
                  <a:pt x="3050027" y="980024"/>
                </a:lnTo>
                <a:lnTo>
                  <a:pt x="3100212" y="1005398"/>
                </a:lnTo>
                <a:lnTo>
                  <a:pt x="3134045" y="1038103"/>
                </a:lnTo>
                <a:lnTo>
                  <a:pt x="3176336" y="1038103"/>
                </a:lnTo>
                <a:lnTo>
                  <a:pt x="3190997" y="1024006"/>
                </a:lnTo>
                <a:lnTo>
                  <a:pt x="3229904" y="1013856"/>
                </a:lnTo>
                <a:lnTo>
                  <a:pt x="3237235" y="1045434"/>
                </a:lnTo>
                <a:lnTo>
                  <a:pt x="3234979" y="1058403"/>
                </a:lnTo>
                <a:lnTo>
                  <a:pt x="3250768" y="1096747"/>
                </a:lnTo>
                <a:lnTo>
                  <a:pt x="3254151" y="1130579"/>
                </a:lnTo>
                <a:lnTo>
                  <a:pt x="3215807" y="1124377"/>
                </a:lnTo>
                <a:lnTo>
                  <a:pt x="3199455" y="1136782"/>
                </a:lnTo>
                <a:lnTo>
                  <a:pt x="3225957" y="1166668"/>
                </a:lnTo>
                <a:lnTo>
                  <a:pt x="3247385" y="1207831"/>
                </a:lnTo>
                <a:lnTo>
                  <a:pt x="3233288" y="1208395"/>
                </a:lnTo>
                <a:lnTo>
                  <a:pt x="3244001" y="1225875"/>
                </a:lnTo>
                <a:lnTo>
                  <a:pt x="3244001" y="1225875"/>
                </a:lnTo>
                <a:lnTo>
                  <a:pt x="3251896" y="1232078"/>
                </a:lnTo>
                <a:lnTo>
                  <a:pt x="3251896" y="1232078"/>
                </a:lnTo>
                <a:lnTo>
                  <a:pt x="3251896" y="1232078"/>
                </a:lnTo>
                <a:lnTo>
                  <a:pt x="3251896" y="1232078"/>
                </a:lnTo>
                <a:lnTo>
                  <a:pt x="3249640" y="1220800"/>
                </a:lnTo>
                <a:lnTo>
                  <a:pt x="3272195" y="1195426"/>
                </a:lnTo>
                <a:lnTo>
                  <a:pt x="3300954" y="1212342"/>
                </a:lnTo>
                <a:lnTo>
                  <a:pt x="3318998" y="1211778"/>
                </a:lnTo>
                <a:lnTo>
                  <a:pt x="3343809" y="1191479"/>
                </a:lnTo>
                <a:lnTo>
                  <a:pt x="3349447" y="1170615"/>
                </a:lnTo>
                <a:lnTo>
                  <a:pt x="3361289" y="1130579"/>
                </a:lnTo>
                <a:lnTo>
                  <a:pt x="3372003" y="1089980"/>
                </a:lnTo>
                <a:lnTo>
                  <a:pt x="3364672" y="1065733"/>
                </a:lnTo>
                <a:lnTo>
                  <a:pt x="3370311" y="1014984"/>
                </a:lnTo>
                <a:lnTo>
                  <a:pt x="3340989" y="959160"/>
                </a:lnTo>
                <a:lnTo>
                  <a:pt x="3309976" y="917997"/>
                </a:lnTo>
                <a:lnTo>
                  <a:pt x="3302645" y="883036"/>
                </a:lnTo>
                <a:lnTo>
                  <a:pt x="3276143" y="854278"/>
                </a:lnTo>
                <a:lnTo>
                  <a:pt x="3204530" y="816498"/>
                </a:lnTo>
                <a:lnTo>
                  <a:pt x="3172953" y="814243"/>
                </a:lnTo>
                <a:lnTo>
                  <a:pt x="3171261" y="831159"/>
                </a:lnTo>
                <a:lnTo>
                  <a:pt x="3138556" y="823829"/>
                </a:lnTo>
                <a:lnTo>
                  <a:pt x="3106415" y="802401"/>
                </a:lnTo>
                <a:lnTo>
                  <a:pt x="3061305" y="798454"/>
                </a:lnTo>
                <a:lnTo>
                  <a:pt x="3088934" y="718947"/>
                </a:lnTo>
                <a:lnTo>
                  <a:pt x="3108670" y="654101"/>
                </a:lnTo>
                <a:lnTo>
                  <a:pt x="3182539" y="643951"/>
                </a:lnTo>
                <a:lnTo>
                  <a:pt x="3266557" y="649590"/>
                </a:lnTo>
                <a:lnTo>
                  <a:pt x="3280654" y="633801"/>
                </a:lnTo>
                <a:lnTo>
                  <a:pt x="3325200" y="638312"/>
                </a:lnTo>
                <a:lnTo>
                  <a:pt x="3349447" y="662559"/>
                </a:lnTo>
                <a:lnTo>
                  <a:pt x="3385536" y="659176"/>
                </a:lnTo>
                <a:lnTo>
                  <a:pt x="3432901" y="650154"/>
                </a:lnTo>
                <a:lnTo>
                  <a:pt x="3389483" y="630418"/>
                </a:lnTo>
                <a:lnTo>
                  <a:pt x="3389483" y="575158"/>
                </a:lnTo>
                <a:lnTo>
                  <a:pt x="3440796" y="564444"/>
                </a:lnTo>
                <a:lnTo>
                  <a:pt x="3509025" y="604479"/>
                </a:lnTo>
                <a:lnTo>
                  <a:pt x="3529325" y="568391"/>
                </a:lnTo>
                <a:lnTo>
                  <a:pt x="3511281" y="541889"/>
                </a:lnTo>
                <a:lnTo>
                  <a:pt x="3537783" y="539069"/>
                </a:lnTo>
                <a:lnTo>
                  <a:pt x="3574436" y="584744"/>
                </a:lnTo>
                <a:lnTo>
                  <a:pt x="3560902" y="610682"/>
                </a:lnTo>
                <a:lnTo>
                  <a:pt x="3556391" y="644515"/>
                </a:lnTo>
                <a:lnTo>
                  <a:pt x="3558083" y="686806"/>
                </a:lnTo>
                <a:lnTo>
                  <a:pt x="3525941" y="694136"/>
                </a:lnTo>
                <a:lnTo>
                  <a:pt x="3541730" y="709361"/>
                </a:lnTo>
                <a:lnTo>
                  <a:pt x="3541167" y="729661"/>
                </a:lnTo>
                <a:lnTo>
                  <a:pt x="3577255" y="776463"/>
                </a:lnTo>
                <a:lnTo>
                  <a:pt x="3667476" y="852023"/>
                </a:lnTo>
                <a:lnTo>
                  <a:pt x="3726683" y="901644"/>
                </a:lnTo>
                <a:lnTo>
                  <a:pt x="3758824" y="925891"/>
                </a:lnTo>
                <a:lnTo>
                  <a:pt x="3767846" y="893750"/>
                </a:lnTo>
                <a:lnTo>
                  <a:pt x="3742471" y="858789"/>
                </a:lnTo>
                <a:lnTo>
                  <a:pt x="3774613" y="850331"/>
                </a:lnTo>
                <a:lnTo>
                  <a:pt x="3744163" y="811423"/>
                </a:lnTo>
                <a:lnTo>
                  <a:pt x="3772357" y="793943"/>
                </a:lnTo>
                <a:lnTo>
                  <a:pt x="3745855" y="779282"/>
                </a:lnTo>
                <a:lnTo>
                  <a:pt x="3726683" y="751088"/>
                </a:lnTo>
                <a:lnTo>
                  <a:pt x="3749802" y="749960"/>
                </a:lnTo>
                <a:lnTo>
                  <a:pt x="3699053" y="701467"/>
                </a:lnTo>
                <a:lnTo>
                  <a:pt x="3661273" y="693572"/>
                </a:lnTo>
                <a:lnTo>
                  <a:pt x="3644921" y="680039"/>
                </a:lnTo>
                <a:lnTo>
                  <a:pt x="3638717" y="648462"/>
                </a:lnTo>
                <a:lnTo>
                  <a:pt x="3621237" y="626471"/>
                </a:lnTo>
                <a:lnTo>
                  <a:pt x="3660709" y="630982"/>
                </a:lnTo>
                <a:lnTo>
                  <a:pt x="3668040" y="616885"/>
                </a:lnTo>
                <a:lnTo>
                  <a:pt x="3694542" y="629290"/>
                </a:lnTo>
                <a:lnTo>
                  <a:pt x="3728938" y="603352"/>
                </a:lnTo>
                <a:lnTo>
                  <a:pt x="3793221" y="625907"/>
                </a:lnTo>
                <a:lnTo>
                  <a:pt x="3783635" y="611246"/>
                </a:lnTo>
                <a:lnTo>
                  <a:pt x="3794913" y="590946"/>
                </a:lnTo>
                <a:lnTo>
                  <a:pt x="3803371" y="568391"/>
                </a:lnTo>
                <a:lnTo>
                  <a:pt x="3820851" y="564444"/>
                </a:lnTo>
                <a:lnTo>
                  <a:pt x="3857503" y="540197"/>
                </a:lnTo>
                <a:lnTo>
                  <a:pt x="3912764" y="546964"/>
                </a:lnTo>
                <a:lnTo>
                  <a:pt x="3907689" y="538505"/>
                </a:lnTo>
                <a:lnTo>
                  <a:pt x="3886261" y="525536"/>
                </a:lnTo>
                <a:lnTo>
                  <a:pt x="3863142" y="516514"/>
                </a:lnTo>
                <a:lnTo>
                  <a:pt x="3811829" y="490576"/>
                </a:lnTo>
                <a:lnTo>
                  <a:pt x="3766155" y="473659"/>
                </a:lnTo>
                <a:lnTo>
                  <a:pt x="3800551" y="475915"/>
                </a:lnTo>
                <a:lnTo>
                  <a:pt x="3811829" y="461818"/>
                </a:lnTo>
                <a:lnTo>
                  <a:pt x="3811829" y="461818"/>
                </a:lnTo>
                <a:lnTo>
                  <a:pt x="3626312" y="338328"/>
                </a:lnTo>
                <a:lnTo>
                  <a:pt x="3573307" y="325359"/>
                </a:lnTo>
                <a:lnTo>
                  <a:pt x="3484779" y="310698"/>
                </a:lnTo>
                <a:lnTo>
                  <a:pt x="3440232" y="312390"/>
                </a:lnTo>
                <a:lnTo>
                  <a:pt x="3354522" y="304495"/>
                </a:lnTo>
                <a:lnTo>
                  <a:pt x="3364672" y="317464"/>
                </a:lnTo>
                <a:lnTo>
                  <a:pt x="3412602" y="336636"/>
                </a:lnTo>
                <a:lnTo>
                  <a:pt x="3398505" y="346786"/>
                </a:lnTo>
                <a:lnTo>
                  <a:pt x="3318434" y="319720"/>
                </a:lnTo>
                <a:lnTo>
                  <a:pt x="3280090" y="323103"/>
                </a:lnTo>
                <a:lnTo>
                  <a:pt x="3228213" y="316901"/>
                </a:lnTo>
                <a:lnTo>
                  <a:pt x="3188742" y="318028"/>
                </a:lnTo>
                <a:lnTo>
                  <a:pt x="3166750" y="324231"/>
                </a:lnTo>
                <a:lnTo>
                  <a:pt x="3126151" y="315209"/>
                </a:lnTo>
                <a:lnTo>
                  <a:pt x="3097393" y="293781"/>
                </a:lnTo>
                <a:lnTo>
                  <a:pt x="3060740" y="281376"/>
                </a:lnTo>
                <a:lnTo>
                  <a:pt x="3008864" y="276301"/>
                </a:lnTo>
                <a:lnTo>
                  <a:pt x="2925974" y="281940"/>
                </a:lnTo>
                <a:lnTo>
                  <a:pt x="2835188" y="259385"/>
                </a:lnTo>
                <a:lnTo>
                  <a:pt x="2791206" y="242468"/>
                </a:lnTo>
                <a:lnTo>
                  <a:pt x="2565090" y="223296"/>
                </a:lnTo>
                <a:lnTo>
                  <a:pt x="2553248" y="235702"/>
                </a:lnTo>
                <a:lnTo>
                  <a:pt x="2605689" y="262768"/>
                </a:lnTo>
                <a:lnTo>
                  <a:pt x="2563398" y="258821"/>
                </a:lnTo>
                <a:lnTo>
                  <a:pt x="2557760" y="267279"/>
                </a:lnTo>
                <a:lnTo>
                  <a:pt x="2503064" y="258257"/>
                </a:lnTo>
                <a:lnTo>
                  <a:pt x="2474870" y="266151"/>
                </a:lnTo>
                <a:lnTo>
                  <a:pt x="2422428" y="252618"/>
                </a:lnTo>
                <a:lnTo>
                  <a:pt x="2439345" y="283632"/>
                </a:lnTo>
                <a:lnTo>
                  <a:pt x="2389159" y="271790"/>
                </a:lnTo>
                <a:lnTo>
                  <a:pt x="2332771" y="248671"/>
                </a:lnTo>
                <a:lnTo>
                  <a:pt x="2330516" y="236266"/>
                </a:lnTo>
                <a:lnTo>
                  <a:pt x="2296683" y="217658"/>
                </a:lnTo>
                <a:lnTo>
                  <a:pt x="2241423" y="202997"/>
                </a:lnTo>
                <a:lnTo>
                  <a:pt x="2207027" y="202997"/>
                </a:lnTo>
                <a:lnTo>
                  <a:pt x="2154585" y="197922"/>
                </a:lnTo>
                <a:lnTo>
                  <a:pt x="2181088" y="219913"/>
                </a:lnTo>
                <a:lnTo>
                  <a:pt x="2084100" y="215402"/>
                </a:lnTo>
                <a:lnTo>
                  <a:pt x="2062109" y="202433"/>
                </a:lnTo>
                <a:lnTo>
                  <a:pt x="1987113" y="197358"/>
                </a:lnTo>
                <a:lnTo>
                  <a:pt x="1957227" y="201869"/>
                </a:lnTo>
                <a:lnTo>
                  <a:pt x="1956664" y="209199"/>
                </a:lnTo>
                <a:lnTo>
                  <a:pt x="1923958" y="191155"/>
                </a:lnTo>
                <a:lnTo>
                  <a:pt x="1910990" y="196230"/>
                </a:lnTo>
                <a:lnTo>
                  <a:pt x="1870390" y="189464"/>
                </a:lnTo>
                <a:lnTo>
                  <a:pt x="1838813" y="185517"/>
                </a:lnTo>
                <a:lnTo>
                  <a:pt x="1845015" y="177058"/>
                </a:lnTo>
                <a:lnTo>
                  <a:pt x="1882231" y="161270"/>
                </a:lnTo>
                <a:lnTo>
                  <a:pt x="1895201" y="152811"/>
                </a:lnTo>
                <a:lnTo>
                  <a:pt x="1881667" y="138714"/>
                </a:lnTo>
                <a:lnTo>
                  <a:pt x="1850654" y="128001"/>
                </a:lnTo>
                <a:lnTo>
                  <a:pt x="1785808" y="115032"/>
                </a:lnTo>
                <a:lnTo>
                  <a:pt x="1724909" y="114468"/>
                </a:lnTo>
                <a:lnTo>
                  <a:pt x="1714195" y="121234"/>
                </a:lnTo>
                <a:lnTo>
                  <a:pt x="1691076" y="107701"/>
                </a:lnTo>
                <a:close/>
                <a:moveTo>
                  <a:pt x="776463" y="285887"/>
                </a:moveTo>
                <a:lnTo>
                  <a:pt x="720638" y="261640"/>
                </a:lnTo>
                <a:lnTo>
                  <a:pt x="703158" y="237393"/>
                </a:lnTo>
                <a:lnTo>
                  <a:pt x="721766" y="209763"/>
                </a:lnTo>
                <a:lnTo>
                  <a:pt x="737555" y="181569"/>
                </a:lnTo>
                <a:lnTo>
                  <a:pt x="786049" y="155067"/>
                </a:lnTo>
                <a:lnTo>
                  <a:pt x="841309" y="141534"/>
                </a:lnTo>
                <a:lnTo>
                  <a:pt x="905027" y="128001"/>
                </a:lnTo>
                <a:lnTo>
                  <a:pt x="912357" y="119543"/>
                </a:lnTo>
                <a:lnTo>
                  <a:pt x="888675" y="108829"/>
                </a:lnTo>
                <a:lnTo>
                  <a:pt x="851459" y="112212"/>
                </a:lnTo>
                <a:lnTo>
                  <a:pt x="823829" y="122362"/>
                </a:lnTo>
                <a:lnTo>
                  <a:pt x="757855" y="127437"/>
                </a:lnTo>
                <a:lnTo>
                  <a:pt x="700902" y="144917"/>
                </a:lnTo>
                <a:lnTo>
                  <a:pt x="662559" y="160142"/>
                </a:lnTo>
                <a:lnTo>
                  <a:pt x="676656" y="172547"/>
                </a:lnTo>
                <a:lnTo>
                  <a:pt x="639440" y="197358"/>
                </a:lnTo>
                <a:lnTo>
                  <a:pt x="661431" y="201305"/>
                </a:lnTo>
                <a:lnTo>
                  <a:pt x="630982" y="225552"/>
                </a:lnTo>
                <a:lnTo>
                  <a:pt x="640004" y="241341"/>
                </a:lnTo>
                <a:lnTo>
                  <a:pt x="620832" y="247543"/>
                </a:lnTo>
                <a:lnTo>
                  <a:pt x="631546" y="263332"/>
                </a:lnTo>
                <a:lnTo>
                  <a:pt x="676092" y="271226"/>
                </a:lnTo>
                <a:lnTo>
                  <a:pt x="688497" y="284196"/>
                </a:lnTo>
                <a:lnTo>
                  <a:pt x="764057" y="288143"/>
                </a:lnTo>
                <a:lnTo>
                  <a:pt x="776463" y="285887"/>
                </a:lnTo>
                <a:close/>
                <a:moveTo>
                  <a:pt x="2547046" y="146609"/>
                </a:moveTo>
                <a:lnTo>
                  <a:pt x="2446111" y="131948"/>
                </a:lnTo>
                <a:lnTo>
                  <a:pt x="2388596" y="130820"/>
                </a:lnTo>
                <a:lnTo>
                  <a:pt x="2369424" y="135895"/>
                </a:lnTo>
                <a:lnTo>
                  <a:pt x="2388596" y="155067"/>
                </a:lnTo>
                <a:lnTo>
                  <a:pt x="2458517" y="173111"/>
                </a:lnTo>
                <a:lnTo>
                  <a:pt x="2483892" y="166345"/>
                </a:lnTo>
                <a:lnTo>
                  <a:pt x="2563962" y="167472"/>
                </a:lnTo>
                <a:lnTo>
                  <a:pt x="2547046" y="146609"/>
                </a:lnTo>
                <a:close/>
                <a:moveTo>
                  <a:pt x="2689144" y="159578"/>
                </a:moveTo>
                <a:lnTo>
                  <a:pt x="2623170" y="152248"/>
                </a:lnTo>
                <a:lnTo>
                  <a:pt x="2576932" y="148300"/>
                </a:lnTo>
                <a:lnTo>
                  <a:pt x="2586517" y="157323"/>
                </a:lnTo>
                <a:lnTo>
                  <a:pt x="2644597" y="168600"/>
                </a:lnTo>
                <a:lnTo>
                  <a:pt x="2682941" y="170856"/>
                </a:lnTo>
                <a:lnTo>
                  <a:pt x="2689144" y="159578"/>
                </a:lnTo>
                <a:close/>
                <a:moveTo>
                  <a:pt x="2618659" y="213147"/>
                </a:moveTo>
                <a:lnTo>
                  <a:pt x="2604562" y="205252"/>
                </a:lnTo>
                <a:lnTo>
                  <a:pt x="2557760" y="194539"/>
                </a:lnTo>
                <a:lnTo>
                  <a:pt x="2534641" y="197358"/>
                </a:lnTo>
                <a:lnTo>
                  <a:pt x="2530129" y="208636"/>
                </a:lnTo>
                <a:lnTo>
                  <a:pt x="2536332" y="209763"/>
                </a:lnTo>
                <a:lnTo>
                  <a:pt x="2585954" y="213147"/>
                </a:lnTo>
                <a:lnTo>
                  <a:pt x="2618659" y="213147"/>
                </a:lnTo>
                <a:close/>
                <a:moveTo>
                  <a:pt x="3535528" y="282504"/>
                </a:moveTo>
                <a:lnTo>
                  <a:pt x="3501695" y="262204"/>
                </a:lnTo>
                <a:lnTo>
                  <a:pt x="3493800" y="274610"/>
                </a:lnTo>
                <a:lnTo>
                  <a:pt x="3513536" y="283632"/>
                </a:lnTo>
                <a:lnTo>
                  <a:pt x="3535528" y="282504"/>
                </a:lnTo>
                <a:close/>
                <a:moveTo>
                  <a:pt x="82326" y="811987"/>
                </a:moveTo>
                <a:lnTo>
                  <a:pt x="78943" y="803529"/>
                </a:lnTo>
                <a:lnTo>
                  <a:pt x="80071" y="793943"/>
                </a:lnTo>
                <a:lnTo>
                  <a:pt x="67666" y="788868"/>
                </a:lnTo>
                <a:lnTo>
                  <a:pt x="39472" y="782665"/>
                </a:lnTo>
                <a:lnTo>
                  <a:pt x="3947" y="793943"/>
                </a:lnTo>
                <a:lnTo>
                  <a:pt x="0" y="808604"/>
                </a:lnTo>
                <a:lnTo>
                  <a:pt x="33269" y="812551"/>
                </a:lnTo>
                <a:lnTo>
                  <a:pt x="82326" y="811987"/>
                </a:lnTo>
                <a:close/>
                <a:moveTo>
                  <a:pt x="3407527" y="934913"/>
                </a:moveTo>
                <a:lnTo>
                  <a:pt x="3366927" y="899953"/>
                </a:lnTo>
                <a:lnTo>
                  <a:pt x="3338170" y="866120"/>
                </a:lnTo>
                <a:lnTo>
                  <a:pt x="3299826" y="833415"/>
                </a:lnTo>
                <a:lnTo>
                  <a:pt x="3272195" y="810859"/>
                </a:lnTo>
                <a:lnTo>
                  <a:pt x="3264865" y="815371"/>
                </a:lnTo>
                <a:lnTo>
                  <a:pt x="3289676" y="831159"/>
                </a:lnTo>
                <a:lnTo>
                  <a:pt x="3278962" y="846948"/>
                </a:lnTo>
                <a:lnTo>
                  <a:pt x="3317306" y="893750"/>
                </a:lnTo>
                <a:lnTo>
                  <a:pt x="3361289" y="927583"/>
                </a:lnTo>
                <a:lnTo>
                  <a:pt x="3397377" y="974385"/>
                </a:lnTo>
                <a:lnTo>
                  <a:pt x="3410910" y="1000323"/>
                </a:lnTo>
                <a:lnTo>
                  <a:pt x="3441924" y="1038667"/>
                </a:lnTo>
                <a:lnTo>
                  <a:pt x="3463351" y="1072500"/>
                </a:lnTo>
                <a:lnTo>
                  <a:pt x="3489289" y="1101822"/>
                </a:lnTo>
                <a:lnTo>
                  <a:pt x="3488725" y="1074755"/>
                </a:lnTo>
                <a:lnTo>
                  <a:pt x="3525378" y="1096183"/>
                </a:lnTo>
                <a:lnTo>
                  <a:pt x="3508461" y="1071372"/>
                </a:lnTo>
                <a:lnTo>
                  <a:pt x="3454893" y="1035848"/>
                </a:lnTo>
                <a:lnTo>
                  <a:pt x="3434029" y="985098"/>
                </a:lnTo>
                <a:lnTo>
                  <a:pt x="3484215" y="996376"/>
                </a:lnTo>
                <a:lnTo>
                  <a:pt x="3407527" y="934913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6" name="Freeform: Shape 369">
            <a:extLst>
              <a:ext uri="{FF2B5EF4-FFF2-40B4-BE49-F238E27FC236}">
                <a16:creationId xmlns:a16="http://schemas.microsoft.com/office/drawing/2014/main" id="{EDD1FA4A-E795-48E1-8EF3-C6315EE0F069}"/>
              </a:ext>
            </a:extLst>
          </p:cNvPr>
          <p:cNvSpPr/>
          <p:nvPr/>
        </p:nvSpPr>
        <p:spPr>
          <a:xfrm>
            <a:off x="6529596" y="4153222"/>
            <a:ext cx="42138" cy="46352"/>
          </a:xfrm>
          <a:custGeom>
            <a:avLst/>
            <a:gdLst>
              <a:gd name="connsiteX0" fmla="*/ 44547 w 56388"/>
              <a:gd name="connsiteY0" fmla="*/ 0 h 62026"/>
              <a:gd name="connsiteX1" fmla="*/ 25939 w 56388"/>
              <a:gd name="connsiteY1" fmla="*/ 10714 h 62026"/>
              <a:gd name="connsiteX2" fmla="*/ 18045 w 56388"/>
              <a:gd name="connsiteY2" fmla="*/ 7330 h 62026"/>
              <a:gd name="connsiteX3" fmla="*/ 9023 w 56388"/>
              <a:gd name="connsiteY3" fmla="*/ 17480 h 62026"/>
              <a:gd name="connsiteX4" fmla="*/ 7894 w 56388"/>
              <a:gd name="connsiteY4" fmla="*/ 38908 h 62026"/>
              <a:gd name="connsiteX5" fmla="*/ 3384 w 56388"/>
              <a:gd name="connsiteY5" fmla="*/ 41163 h 62026"/>
              <a:gd name="connsiteX6" fmla="*/ 0 w 56388"/>
              <a:gd name="connsiteY6" fmla="*/ 60899 h 62026"/>
              <a:gd name="connsiteX7" fmla="*/ 19736 w 56388"/>
              <a:gd name="connsiteY7" fmla="*/ 63718 h 62026"/>
              <a:gd name="connsiteX8" fmla="*/ 29322 w 56388"/>
              <a:gd name="connsiteY8" fmla="*/ 43418 h 62026"/>
              <a:gd name="connsiteX9" fmla="*/ 46239 w 56388"/>
              <a:gd name="connsiteY9" fmla="*/ 45674 h 62026"/>
              <a:gd name="connsiteX10" fmla="*/ 46239 w 56388"/>
              <a:gd name="connsiteY10" fmla="*/ 45674 h 62026"/>
              <a:gd name="connsiteX11" fmla="*/ 55261 w 56388"/>
              <a:gd name="connsiteY11" fmla="*/ 41163 h 62026"/>
              <a:gd name="connsiteX12" fmla="*/ 57516 w 56388"/>
              <a:gd name="connsiteY12" fmla="*/ 20300 h 62026"/>
              <a:gd name="connsiteX13" fmla="*/ 44547 w 56388"/>
              <a:gd name="connsiteY13" fmla="*/ 0 h 620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6388" h="62026">
                <a:moveTo>
                  <a:pt x="44547" y="0"/>
                </a:moveTo>
                <a:lnTo>
                  <a:pt x="25939" y="10714"/>
                </a:lnTo>
                <a:lnTo>
                  <a:pt x="18045" y="7330"/>
                </a:lnTo>
                <a:lnTo>
                  <a:pt x="9023" y="17480"/>
                </a:lnTo>
                <a:lnTo>
                  <a:pt x="7894" y="38908"/>
                </a:lnTo>
                <a:lnTo>
                  <a:pt x="3384" y="41163"/>
                </a:lnTo>
                <a:lnTo>
                  <a:pt x="0" y="60899"/>
                </a:lnTo>
                <a:lnTo>
                  <a:pt x="19736" y="63718"/>
                </a:lnTo>
                <a:lnTo>
                  <a:pt x="29322" y="43418"/>
                </a:lnTo>
                <a:lnTo>
                  <a:pt x="46239" y="45674"/>
                </a:lnTo>
                <a:lnTo>
                  <a:pt x="46239" y="45674"/>
                </a:lnTo>
                <a:lnTo>
                  <a:pt x="55261" y="41163"/>
                </a:lnTo>
                <a:lnTo>
                  <a:pt x="57516" y="20300"/>
                </a:lnTo>
                <a:lnTo>
                  <a:pt x="44547" y="0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7" name="Freeform: Shape 370">
            <a:extLst>
              <a:ext uri="{FF2B5EF4-FFF2-40B4-BE49-F238E27FC236}">
                <a16:creationId xmlns:a16="http://schemas.microsoft.com/office/drawing/2014/main" id="{8EBBA58B-674D-40B0-B461-5E9287D430FB}"/>
              </a:ext>
            </a:extLst>
          </p:cNvPr>
          <p:cNvSpPr/>
          <p:nvPr/>
        </p:nvSpPr>
        <p:spPr>
          <a:xfrm>
            <a:off x="5446653" y="3381256"/>
            <a:ext cx="193834" cy="176979"/>
          </a:xfrm>
          <a:custGeom>
            <a:avLst/>
            <a:gdLst>
              <a:gd name="connsiteX0" fmla="*/ 264460 w 259384"/>
              <a:gd name="connsiteY0" fmla="*/ 0 h 236829"/>
              <a:gd name="connsiteX1" fmla="*/ 259949 w 259384"/>
              <a:gd name="connsiteY1" fmla="*/ 0 h 236829"/>
              <a:gd name="connsiteX2" fmla="*/ 259949 w 259384"/>
              <a:gd name="connsiteY2" fmla="*/ 0 h 236829"/>
              <a:gd name="connsiteX3" fmla="*/ 260513 w 259384"/>
              <a:gd name="connsiteY3" fmla="*/ 19172 h 236829"/>
              <a:gd name="connsiteX4" fmla="*/ 241341 w 259384"/>
              <a:gd name="connsiteY4" fmla="*/ 20300 h 236829"/>
              <a:gd name="connsiteX5" fmla="*/ 231191 w 259384"/>
              <a:gd name="connsiteY5" fmla="*/ 28758 h 236829"/>
              <a:gd name="connsiteX6" fmla="*/ 217094 w 259384"/>
              <a:gd name="connsiteY6" fmla="*/ 28758 h 236829"/>
              <a:gd name="connsiteX7" fmla="*/ 206380 w 259384"/>
              <a:gd name="connsiteY7" fmla="*/ 23683 h 236829"/>
              <a:gd name="connsiteX8" fmla="*/ 180442 w 259384"/>
              <a:gd name="connsiteY8" fmla="*/ 27630 h 236829"/>
              <a:gd name="connsiteX9" fmla="*/ 169728 w 259384"/>
              <a:gd name="connsiteY9" fmla="*/ 55824 h 236829"/>
              <a:gd name="connsiteX10" fmla="*/ 160142 w 259384"/>
              <a:gd name="connsiteY10" fmla="*/ 58080 h 236829"/>
              <a:gd name="connsiteX11" fmla="*/ 144353 w 259384"/>
              <a:gd name="connsiteY11" fmla="*/ 103754 h 236829"/>
              <a:gd name="connsiteX12" fmla="*/ 100371 w 259384"/>
              <a:gd name="connsiteY12" fmla="*/ 142098 h 236829"/>
              <a:gd name="connsiteX13" fmla="*/ 89093 w 259384"/>
              <a:gd name="connsiteY13" fmla="*/ 191719 h 236829"/>
              <a:gd name="connsiteX14" fmla="*/ 76124 w 259384"/>
              <a:gd name="connsiteY14" fmla="*/ 208072 h 236829"/>
              <a:gd name="connsiteX15" fmla="*/ 72177 w 259384"/>
              <a:gd name="connsiteY15" fmla="*/ 221041 h 236829"/>
              <a:gd name="connsiteX16" fmla="*/ 2255 w 259384"/>
              <a:gd name="connsiteY16" fmla="*/ 223860 h 236829"/>
              <a:gd name="connsiteX17" fmla="*/ 1692 w 259384"/>
              <a:gd name="connsiteY17" fmla="*/ 223860 h 236829"/>
              <a:gd name="connsiteX18" fmla="*/ 0 w 259384"/>
              <a:gd name="connsiteY18" fmla="*/ 239085 h 236829"/>
              <a:gd name="connsiteX19" fmla="*/ 6767 w 259384"/>
              <a:gd name="connsiteY19" fmla="*/ 226680 h 236829"/>
              <a:gd name="connsiteX20" fmla="*/ 128565 w 259384"/>
              <a:gd name="connsiteY20" fmla="*/ 227244 h 236829"/>
              <a:gd name="connsiteX21" fmla="*/ 123490 w 259384"/>
              <a:gd name="connsiteY21" fmla="*/ 175367 h 236829"/>
              <a:gd name="connsiteX22" fmla="*/ 131384 w 259384"/>
              <a:gd name="connsiteY22" fmla="*/ 156759 h 236829"/>
              <a:gd name="connsiteX23" fmla="*/ 160706 w 259384"/>
              <a:gd name="connsiteY23" fmla="*/ 153939 h 236829"/>
              <a:gd name="connsiteX24" fmla="*/ 161834 w 259384"/>
              <a:gd name="connsiteY24" fmla="*/ 62027 h 236829"/>
              <a:gd name="connsiteX25" fmla="*/ 262768 w 259384"/>
              <a:gd name="connsiteY25" fmla="*/ 63718 h 236829"/>
              <a:gd name="connsiteX26" fmla="*/ 263896 w 259384"/>
              <a:gd name="connsiteY26" fmla="*/ 9022 h 236829"/>
              <a:gd name="connsiteX27" fmla="*/ 264460 w 259384"/>
              <a:gd name="connsiteY27" fmla="*/ 2255 h 236829"/>
              <a:gd name="connsiteX28" fmla="*/ 264460 w 259384"/>
              <a:gd name="connsiteY28" fmla="*/ 0 h 236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259384" h="236829">
                <a:moveTo>
                  <a:pt x="264460" y="0"/>
                </a:moveTo>
                <a:lnTo>
                  <a:pt x="259949" y="0"/>
                </a:lnTo>
                <a:lnTo>
                  <a:pt x="259949" y="0"/>
                </a:lnTo>
                <a:lnTo>
                  <a:pt x="260513" y="19172"/>
                </a:lnTo>
                <a:lnTo>
                  <a:pt x="241341" y="20300"/>
                </a:lnTo>
                <a:lnTo>
                  <a:pt x="231191" y="28758"/>
                </a:lnTo>
                <a:lnTo>
                  <a:pt x="217094" y="28758"/>
                </a:lnTo>
                <a:lnTo>
                  <a:pt x="206380" y="23683"/>
                </a:lnTo>
                <a:lnTo>
                  <a:pt x="180442" y="27630"/>
                </a:lnTo>
                <a:lnTo>
                  <a:pt x="169728" y="55824"/>
                </a:lnTo>
                <a:lnTo>
                  <a:pt x="160142" y="58080"/>
                </a:lnTo>
                <a:lnTo>
                  <a:pt x="144353" y="103754"/>
                </a:lnTo>
                <a:lnTo>
                  <a:pt x="100371" y="142098"/>
                </a:lnTo>
                <a:lnTo>
                  <a:pt x="89093" y="191719"/>
                </a:lnTo>
                <a:lnTo>
                  <a:pt x="76124" y="208072"/>
                </a:lnTo>
                <a:lnTo>
                  <a:pt x="72177" y="221041"/>
                </a:lnTo>
                <a:lnTo>
                  <a:pt x="2255" y="223860"/>
                </a:lnTo>
                <a:lnTo>
                  <a:pt x="1692" y="223860"/>
                </a:lnTo>
                <a:lnTo>
                  <a:pt x="0" y="239085"/>
                </a:lnTo>
                <a:lnTo>
                  <a:pt x="6767" y="226680"/>
                </a:lnTo>
                <a:lnTo>
                  <a:pt x="128565" y="227244"/>
                </a:lnTo>
                <a:lnTo>
                  <a:pt x="123490" y="175367"/>
                </a:lnTo>
                <a:lnTo>
                  <a:pt x="131384" y="156759"/>
                </a:lnTo>
                <a:lnTo>
                  <a:pt x="160706" y="153939"/>
                </a:lnTo>
                <a:lnTo>
                  <a:pt x="161834" y="62027"/>
                </a:lnTo>
                <a:lnTo>
                  <a:pt x="262768" y="63718"/>
                </a:lnTo>
                <a:lnTo>
                  <a:pt x="263896" y="9022"/>
                </a:lnTo>
                <a:lnTo>
                  <a:pt x="264460" y="2255"/>
                </a:lnTo>
                <a:lnTo>
                  <a:pt x="264460" y="0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8" name="Freeform: Shape 371">
            <a:extLst>
              <a:ext uri="{FF2B5EF4-FFF2-40B4-BE49-F238E27FC236}">
                <a16:creationId xmlns:a16="http://schemas.microsoft.com/office/drawing/2014/main" id="{83E903BE-38F5-4F2F-9616-BA02DF8F08B9}"/>
              </a:ext>
            </a:extLst>
          </p:cNvPr>
          <p:cNvSpPr/>
          <p:nvPr/>
        </p:nvSpPr>
        <p:spPr>
          <a:xfrm>
            <a:off x="6634520" y="3260741"/>
            <a:ext cx="497227" cy="421379"/>
          </a:xfrm>
          <a:custGeom>
            <a:avLst/>
            <a:gdLst>
              <a:gd name="connsiteX0" fmla="*/ 361447 w 665378"/>
              <a:gd name="connsiteY0" fmla="*/ 109393 h 563880"/>
              <a:gd name="connsiteX1" fmla="*/ 303931 w 665378"/>
              <a:gd name="connsiteY1" fmla="*/ 106573 h 563880"/>
              <a:gd name="connsiteX2" fmla="*/ 209764 w 665378"/>
              <a:gd name="connsiteY2" fmla="*/ 34960 h 563880"/>
              <a:gd name="connsiteX3" fmla="*/ 161834 w 665378"/>
              <a:gd name="connsiteY3" fmla="*/ 9586 h 563880"/>
              <a:gd name="connsiteX4" fmla="*/ 124054 w 665378"/>
              <a:gd name="connsiteY4" fmla="*/ 0 h 563880"/>
              <a:gd name="connsiteX5" fmla="*/ 118979 w 665378"/>
              <a:gd name="connsiteY5" fmla="*/ 5639 h 563880"/>
              <a:gd name="connsiteX6" fmla="*/ 60336 w 665378"/>
              <a:gd name="connsiteY6" fmla="*/ 23119 h 563880"/>
              <a:gd name="connsiteX7" fmla="*/ 94732 w 665378"/>
              <a:gd name="connsiteY7" fmla="*/ 59207 h 563880"/>
              <a:gd name="connsiteX8" fmla="*/ 85146 w 665378"/>
              <a:gd name="connsiteY8" fmla="*/ 64846 h 563880"/>
              <a:gd name="connsiteX9" fmla="*/ 81199 w 665378"/>
              <a:gd name="connsiteY9" fmla="*/ 77251 h 563880"/>
              <a:gd name="connsiteX10" fmla="*/ 58644 w 665378"/>
              <a:gd name="connsiteY10" fmla="*/ 81763 h 563880"/>
              <a:gd name="connsiteX11" fmla="*/ 52441 w 665378"/>
              <a:gd name="connsiteY11" fmla="*/ 94732 h 563880"/>
              <a:gd name="connsiteX12" fmla="*/ 40600 w 665378"/>
              <a:gd name="connsiteY12" fmla="*/ 106009 h 563880"/>
              <a:gd name="connsiteX13" fmla="*/ 6203 w 665378"/>
              <a:gd name="connsiteY13" fmla="*/ 100371 h 563880"/>
              <a:gd name="connsiteX14" fmla="*/ 3383 w 665378"/>
              <a:gd name="connsiteY14" fmla="*/ 114468 h 563880"/>
              <a:gd name="connsiteX15" fmla="*/ 3383 w 665378"/>
              <a:gd name="connsiteY15" fmla="*/ 126873 h 563880"/>
              <a:gd name="connsiteX16" fmla="*/ 0 w 665378"/>
              <a:gd name="connsiteY16" fmla="*/ 146609 h 563880"/>
              <a:gd name="connsiteX17" fmla="*/ 15225 w 665378"/>
              <a:gd name="connsiteY17" fmla="*/ 146609 h 563880"/>
              <a:gd name="connsiteX18" fmla="*/ 33269 w 665378"/>
              <a:gd name="connsiteY18" fmla="*/ 171419 h 563880"/>
              <a:gd name="connsiteX19" fmla="*/ 54132 w 665378"/>
              <a:gd name="connsiteY19" fmla="*/ 200177 h 563880"/>
              <a:gd name="connsiteX20" fmla="*/ 68229 w 665378"/>
              <a:gd name="connsiteY20" fmla="*/ 226680 h 563880"/>
              <a:gd name="connsiteX21" fmla="*/ 77816 w 665378"/>
              <a:gd name="connsiteY21" fmla="*/ 235138 h 563880"/>
              <a:gd name="connsiteX22" fmla="*/ 87401 w 665378"/>
              <a:gd name="connsiteY22" fmla="*/ 253746 h 563880"/>
              <a:gd name="connsiteX23" fmla="*/ 86274 w 665378"/>
              <a:gd name="connsiteY23" fmla="*/ 261640 h 563880"/>
              <a:gd name="connsiteX24" fmla="*/ 98115 w 665378"/>
              <a:gd name="connsiteY24" fmla="*/ 282504 h 563880"/>
              <a:gd name="connsiteX25" fmla="*/ 115032 w 665378"/>
              <a:gd name="connsiteY25" fmla="*/ 289834 h 563880"/>
              <a:gd name="connsiteX26" fmla="*/ 130821 w 665378"/>
              <a:gd name="connsiteY26" fmla="*/ 303931 h 563880"/>
              <a:gd name="connsiteX27" fmla="*/ 151120 w 665378"/>
              <a:gd name="connsiteY27" fmla="*/ 343403 h 563880"/>
              <a:gd name="connsiteX28" fmla="*/ 151120 w 665378"/>
              <a:gd name="connsiteY28" fmla="*/ 364830 h 563880"/>
              <a:gd name="connsiteX29" fmla="*/ 156195 w 665378"/>
              <a:gd name="connsiteY29" fmla="*/ 389641 h 563880"/>
              <a:gd name="connsiteX30" fmla="*/ 178750 w 665378"/>
              <a:gd name="connsiteY30" fmla="*/ 424038 h 563880"/>
              <a:gd name="connsiteX31" fmla="*/ 192847 w 665378"/>
              <a:gd name="connsiteY31" fmla="*/ 429676 h 563880"/>
              <a:gd name="connsiteX32" fmla="*/ 215966 w 665378"/>
              <a:gd name="connsiteY32" fmla="*/ 454487 h 563880"/>
              <a:gd name="connsiteX33" fmla="*/ 226680 w 665378"/>
              <a:gd name="connsiteY33" fmla="*/ 483809 h 563880"/>
              <a:gd name="connsiteX34" fmla="*/ 244724 w 665378"/>
              <a:gd name="connsiteY34" fmla="*/ 513695 h 563880"/>
              <a:gd name="connsiteX35" fmla="*/ 261640 w 665378"/>
              <a:gd name="connsiteY35" fmla="*/ 526664 h 563880"/>
              <a:gd name="connsiteX36" fmla="*/ 265024 w 665378"/>
              <a:gd name="connsiteY36" fmla="*/ 540761 h 563880"/>
              <a:gd name="connsiteX37" fmla="*/ 275174 w 665378"/>
              <a:gd name="connsiteY37" fmla="*/ 551475 h 563880"/>
              <a:gd name="connsiteX38" fmla="*/ 280249 w 665378"/>
              <a:gd name="connsiteY38" fmla="*/ 567263 h 563880"/>
              <a:gd name="connsiteX39" fmla="*/ 293218 w 665378"/>
              <a:gd name="connsiteY39" fmla="*/ 555422 h 563880"/>
              <a:gd name="connsiteX40" fmla="*/ 289271 w 665378"/>
              <a:gd name="connsiteY40" fmla="*/ 540197 h 563880"/>
              <a:gd name="connsiteX41" fmla="*/ 296037 w 665378"/>
              <a:gd name="connsiteY41" fmla="*/ 522717 h 563880"/>
              <a:gd name="connsiteX42" fmla="*/ 309570 w 665378"/>
              <a:gd name="connsiteY42" fmla="*/ 532303 h 563880"/>
              <a:gd name="connsiteX43" fmla="*/ 318028 w 665378"/>
              <a:gd name="connsiteY43" fmla="*/ 528919 h 563880"/>
              <a:gd name="connsiteX44" fmla="*/ 354117 w 665378"/>
              <a:gd name="connsiteY44" fmla="*/ 527792 h 563880"/>
              <a:gd name="connsiteX45" fmla="*/ 359756 w 665378"/>
              <a:gd name="connsiteY45" fmla="*/ 531739 h 563880"/>
              <a:gd name="connsiteX46" fmla="*/ 390205 w 665378"/>
              <a:gd name="connsiteY46" fmla="*/ 535122 h 563880"/>
              <a:gd name="connsiteX47" fmla="*/ 402047 w 665378"/>
              <a:gd name="connsiteY47" fmla="*/ 533431 h 563880"/>
              <a:gd name="connsiteX48" fmla="*/ 411069 w 665378"/>
              <a:gd name="connsiteY48" fmla="*/ 545272 h 563880"/>
              <a:gd name="connsiteX49" fmla="*/ 425166 w 665378"/>
              <a:gd name="connsiteY49" fmla="*/ 539633 h 563880"/>
              <a:gd name="connsiteX50" fmla="*/ 444901 w 665378"/>
              <a:gd name="connsiteY50" fmla="*/ 501853 h 563880"/>
              <a:gd name="connsiteX51" fmla="*/ 473095 w 665378"/>
              <a:gd name="connsiteY51" fmla="*/ 485501 h 563880"/>
              <a:gd name="connsiteX52" fmla="*/ 561624 w 665378"/>
              <a:gd name="connsiteY52" fmla="*/ 471967 h 563880"/>
              <a:gd name="connsiteX53" fmla="*/ 652410 w 665378"/>
              <a:gd name="connsiteY53" fmla="*/ 435879 h 563880"/>
              <a:gd name="connsiteX54" fmla="*/ 667070 w 665378"/>
              <a:gd name="connsiteY54" fmla="*/ 364267 h 563880"/>
              <a:gd name="connsiteX55" fmla="*/ 650718 w 665378"/>
              <a:gd name="connsiteY55" fmla="*/ 338892 h 563880"/>
              <a:gd name="connsiteX56" fmla="*/ 645079 w 665378"/>
              <a:gd name="connsiteY56" fmla="*/ 346222 h 563880"/>
              <a:gd name="connsiteX57" fmla="*/ 550347 w 665378"/>
              <a:gd name="connsiteY57" fmla="*/ 328178 h 563880"/>
              <a:gd name="connsiteX58" fmla="*/ 535686 w 665378"/>
              <a:gd name="connsiteY58" fmla="*/ 292090 h 563880"/>
              <a:gd name="connsiteX59" fmla="*/ 533430 w 665378"/>
              <a:gd name="connsiteY59" fmla="*/ 283632 h 563880"/>
              <a:gd name="connsiteX60" fmla="*/ 526664 w 665378"/>
              <a:gd name="connsiteY60" fmla="*/ 270099 h 563880"/>
              <a:gd name="connsiteX61" fmla="*/ 518206 w 665378"/>
              <a:gd name="connsiteY61" fmla="*/ 272354 h 563880"/>
              <a:gd name="connsiteX62" fmla="*/ 508056 w 665378"/>
              <a:gd name="connsiteY62" fmla="*/ 265588 h 563880"/>
              <a:gd name="connsiteX63" fmla="*/ 502417 w 665378"/>
              <a:gd name="connsiteY63" fmla="*/ 256565 h 563880"/>
              <a:gd name="connsiteX64" fmla="*/ 497343 w 665378"/>
              <a:gd name="connsiteY64" fmla="*/ 244724 h 563880"/>
              <a:gd name="connsiteX65" fmla="*/ 487756 w 665378"/>
              <a:gd name="connsiteY65" fmla="*/ 234574 h 563880"/>
              <a:gd name="connsiteX66" fmla="*/ 482117 w 665378"/>
              <a:gd name="connsiteY66" fmla="*/ 222733 h 563880"/>
              <a:gd name="connsiteX67" fmla="*/ 484373 w 665378"/>
              <a:gd name="connsiteY67" fmla="*/ 210891 h 563880"/>
              <a:gd name="connsiteX68" fmla="*/ 480990 w 665378"/>
              <a:gd name="connsiteY68" fmla="*/ 195666 h 563880"/>
              <a:gd name="connsiteX69" fmla="*/ 458435 w 665378"/>
              <a:gd name="connsiteY69" fmla="*/ 181006 h 563880"/>
              <a:gd name="connsiteX70" fmla="*/ 451668 w 665378"/>
              <a:gd name="connsiteY70" fmla="*/ 168036 h 563880"/>
              <a:gd name="connsiteX71" fmla="*/ 435316 w 665378"/>
              <a:gd name="connsiteY71" fmla="*/ 160142 h 563880"/>
              <a:gd name="connsiteX72" fmla="*/ 420091 w 665378"/>
              <a:gd name="connsiteY72" fmla="*/ 129128 h 563880"/>
              <a:gd name="connsiteX73" fmla="*/ 398664 w 665378"/>
              <a:gd name="connsiteY73" fmla="*/ 130256 h 563880"/>
              <a:gd name="connsiteX74" fmla="*/ 389077 w 665378"/>
              <a:gd name="connsiteY74" fmla="*/ 112776 h 563880"/>
              <a:gd name="connsiteX75" fmla="*/ 361447 w 665378"/>
              <a:gd name="connsiteY75" fmla="*/ 109393 h 5638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</a:cxnLst>
            <a:rect l="l" t="t" r="r" b="b"/>
            <a:pathLst>
              <a:path w="665378" h="563880">
                <a:moveTo>
                  <a:pt x="361447" y="109393"/>
                </a:moveTo>
                <a:lnTo>
                  <a:pt x="303931" y="106573"/>
                </a:lnTo>
                <a:lnTo>
                  <a:pt x="209764" y="34960"/>
                </a:lnTo>
                <a:lnTo>
                  <a:pt x="161834" y="9586"/>
                </a:lnTo>
                <a:lnTo>
                  <a:pt x="124054" y="0"/>
                </a:lnTo>
                <a:lnTo>
                  <a:pt x="118979" y="5639"/>
                </a:lnTo>
                <a:lnTo>
                  <a:pt x="60336" y="23119"/>
                </a:lnTo>
                <a:lnTo>
                  <a:pt x="94732" y="59207"/>
                </a:lnTo>
                <a:lnTo>
                  <a:pt x="85146" y="64846"/>
                </a:lnTo>
                <a:lnTo>
                  <a:pt x="81199" y="77251"/>
                </a:lnTo>
                <a:lnTo>
                  <a:pt x="58644" y="81763"/>
                </a:lnTo>
                <a:lnTo>
                  <a:pt x="52441" y="94732"/>
                </a:lnTo>
                <a:lnTo>
                  <a:pt x="40600" y="106009"/>
                </a:lnTo>
                <a:lnTo>
                  <a:pt x="6203" y="100371"/>
                </a:lnTo>
                <a:lnTo>
                  <a:pt x="3383" y="114468"/>
                </a:lnTo>
                <a:lnTo>
                  <a:pt x="3383" y="126873"/>
                </a:lnTo>
                <a:lnTo>
                  <a:pt x="0" y="146609"/>
                </a:lnTo>
                <a:lnTo>
                  <a:pt x="15225" y="146609"/>
                </a:lnTo>
                <a:lnTo>
                  <a:pt x="33269" y="171419"/>
                </a:lnTo>
                <a:lnTo>
                  <a:pt x="54132" y="200177"/>
                </a:lnTo>
                <a:lnTo>
                  <a:pt x="68229" y="226680"/>
                </a:lnTo>
                <a:lnTo>
                  <a:pt x="77816" y="235138"/>
                </a:lnTo>
                <a:lnTo>
                  <a:pt x="87401" y="253746"/>
                </a:lnTo>
                <a:lnTo>
                  <a:pt x="86274" y="261640"/>
                </a:lnTo>
                <a:lnTo>
                  <a:pt x="98115" y="282504"/>
                </a:lnTo>
                <a:lnTo>
                  <a:pt x="115032" y="289834"/>
                </a:lnTo>
                <a:lnTo>
                  <a:pt x="130821" y="303931"/>
                </a:lnTo>
                <a:lnTo>
                  <a:pt x="151120" y="343403"/>
                </a:lnTo>
                <a:lnTo>
                  <a:pt x="151120" y="364830"/>
                </a:lnTo>
                <a:lnTo>
                  <a:pt x="156195" y="389641"/>
                </a:lnTo>
                <a:lnTo>
                  <a:pt x="178750" y="424038"/>
                </a:lnTo>
                <a:lnTo>
                  <a:pt x="192847" y="429676"/>
                </a:lnTo>
                <a:lnTo>
                  <a:pt x="215966" y="454487"/>
                </a:lnTo>
                <a:lnTo>
                  <a:pt x="226680" y="483809"/>
                </a:lnTo>
                <a:lnTo>
                  <a:pt x="244724" y="513695"/>
                </a:lnTo>
                <a:lnTo>
                  <a:pt x="261640" y="526664"/>
                </a:lnTo>
                <a:lnTo>
                  <a:pt x="265024" y="540761"/>
                </a:lnTo>
                <a:lnTo>
                  <a:pt x="275174" y="551475"/>
                </a:lnTo>
                <a:lnTo>
                  <a:pt x="280249" y="567263"/>
                </a:lnTo>
                <a:lnTo>
                  <a:pt x="293218" y="555422"/>
                </a:lnTo>
                <a:lnTo>
                  <a:pt x="289271" y="540197"/>
                </a:lnTo>
                <a:lnTo>
                  <a:pt x="296037" y="522717"/>
                </a:lnTo>
                <a:lnTo>
                  <a:pt x="309570" y="532303"/>
                </a:lnTo>
                <a:lnTo>
                  <a:pt x="318028" y="528919"/>
                </a:lnTo>
                <a:lnTo>
                  <a:pt x="354117" y="527792"/>
                </a:lnTo>
                <a:lnTo>
                  <a:pt x="359756" y="531739"/>
                </a:lnTo>
                <a:lnTo>
                  <a:pt x="390205" y="535122"/>
                </a:lnTo>
                <a:lnTo>
                  <a:pt x="402047" y="533431"/>
                </a:lnTo>
                <a:lnTo>
                  <a:pt x="411069" y="545272"/>
                </a:lnTo>
                <a:lnTo>
                  <a:pt x="425166" y="539633"/>
                </a:lnTo>
                <a:lnTo>
                  <a:pt x="444901" y="501853"/>
                </a:lnTo>
                <a:lnTo>
                  <a:pt x="473095" y="485501"/>
                </a:lnTo>
                <a:lnTo>
                  <a:pt x="561624" y="471967"/>
                </a:lnTo>
                <a:lnTo>
                  <a:pt x="652410" y="435879"/>
                </a:lnTo>
                <a:lnTo>
                  <a:pt x="667070" y="364267"/>
                </a:lnTo>
                <a:lnTo>
                  <a:pt x="650718" y="338892"/>
                </a:lnTo>
                <a:lnTo>
                  <a:pt x="645079" y="346222"/>
                </a:lnTo>
                <a:lnTo>
                  <a:pt x="550347" y="328178"/>
                </a:lnTo>
                <a:lnTo>
                  <a:pt x="535686" y="292090"/>
                </a:lnTo>
                <a:lnTo>
                  <a:pt x="533430" y="283632"/>
                </a:lnTo>
                <a:lnTo>
                  <a:pt x="526664" y="270099"/>
                </a:lnTo>
                <a:lnTo>
                  <a:pt x="518206" y="272354"/>
                </a:lnTo>
                <a:lnTo>
                  <a:pt x="508056" y="265588"/>
                </a:lnTo>
                <a:lnTo>
                  <a:pt x="502417" y="256565"/>
                </a:lnTo>
                <a:lnTo>
                  <a:pt x="497343" y="244724"/>
                </a:lnTo>
                <a:lnTo>
                  <a:pt x="487756" y="234574"/>
                </a:lnTo>
                <a:lnTo>
                  <a:pt x="482117" y="222733"/>
                </a:lnTo>
                <a:lnTo>
                  <a:pt x="484373" y="210891"/>
                </a:lnTo>
                <a:lnTo>
                  <a:pt x="480990" y="195666"/>
                </a:lnTo>
                <a:lnTo>
                  <a:pt x="458435" y="181006"/>
                </a:lnTo>
                <a:lnTo>
                  <a:pt x="451668" y="168036"/>
                </a:lnTo>
                <a:lnTo>
                  <a:pt x="435316" y="160142"/>
                </a:lnTo>
                <a:lnTo>
                  <a:pt x="420091" y="129128"/>
                </a:lnTo>
                <a:lnTo>
                  <a:pt x="398664" y="130256"/>
                </a:lnTo>
                <a:lnTo>
                  <a:pt x="389077" y="112776"/>
                </a:lnTo>
                <a:lnTo>
                  <a:pt x="361447" y="109393"/>
                </a:lnTo>
                <a:close/>
              </a:path>
            </a:pathLst>
          </a:custGeom>
          <a:solidFill>
            <a:srgbClr val="27236D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9" name="Freeform: Shape 372">
            <a:extLst>
              <a:ext uri="{FF2B5EF4-FFF2-40B4-BE49-F238E27FC236}">
                <a16:creationId xmlns:a16="http://schemas.microsoft.com/office/drawing/2014/main" id="{8D5B33F4-755E-4531-9A67-55A50BAC2B13}"/>
              </a:ext>
            </a:extLst>
          </p:cNvPr>
          <p:cNvSpPr/>
          <p:nvPr/>
        </p:nvSpPr>
        <p:spPr>
          <a:xfrm>
            <a:off x="6358516" y="3532953"/>
            <a:ext cx="379241" cy="358172"/>
          </a:xfrm>
          <a:custGeom>
            <a:avLst/>
            <a:gdLst>
              <a:gd name="connsiteX0" fmla="*/ 460690 w 507492"/>
              <a:gd name="connsiteY0" fmla="*/ 204688 h 479298"/>
              <a:gd name="connsiteX1" fmla="*/ 462945 w 507492"/>
              <a:gd name="connsiteY1" fmla="*/ 181005 h 479298"/>
              <a:gd name="connsiteX2" fmla="*/ 471968 w 507492"/>
              <a:gd name="connsiteY2" fmla="*/ 169728 h 479298"/>
              <a:gd name="connsiteX3" fmla="*/ 494523 w 507492"/>
              <a:gd name="connsiteY3" fmla="*/ 164089 h 479298"/>
              <a:gd name="connsiteX4" fmla="*/ 509184 w 507492"/>
              <a:gd name="connsiteY4" fmla="*/ 143789 h 479298"/>
              <a:gd name="connsiteX5" fmla="*/ 491704 w 507492"/>
              <a:gd name="connsiteY5" fmla="*/ 130256 h 479298"/>
              <a:gd name="connsiteX6" fmla="*/ 479298 w 507492"/>
              <a:gd name="connsiteY6" fmla="*/ 121234 h 479298"/>
              <a:gd name="connsiteX7" fmla="*/ 465201 w 507492"/>
              <a:gd name="connsiteY7" fmla="*/ 78379 h 479298"/>
              <a:gd name="connsiteX8" fmla="*/ 458998 w 507492"/>
              <a:gd name="connsiteY8" fmla="*/ 41727 h 479298"/>
              <a:gd name="connsiteX9" fmla="*/ 465201 w 507492"/>
              <a:gd name="connsiteY9" fmla="*/ 34960 h 479298"/>
              <a:gd name="connsiteX10" fmla="*/ 453360 w 507492"/>
              <a:gd name="connsiteY10" fmla="*/ 0 h 479298"/>
              <a:gd name="connsiteX11" fmla="*/ 330434 w 507492"/>
              <a:gd name="connsiteY11" fmla="*/ 0 h 479298"/>
              <a:gd name="connsiteX12" fmla="*/ 209764 w 507492"/>
              <a:gd name="connsiteY12" fmla="*/ 0 h 479298"/>
              <a:gd name="connsiteX13" fmla="*/ 85146 w 507492"/>
              <a:gd name="connsiteY13" fmla="*/ 0 h 479298"/>
              <a:gd name="connsiteX14" fmla="*/ 87965 w 507492"/>
              <a:gd name="connsiteY14" fmla="*/ 71613 h 479298"/>
              <a:gd name="connsiteX15" fmla="*/ 52441 w 507492"/>
              <a:gd name="connsiteY15" fmla="*/ 71613 h 479298"/>
              <a:gd name="connsiteX16" fmla="*/ 52441 w 507492"/>
              <a:gd name="connsiteY16" fmla="*/ 86837 h 479298"/>
              <a:gd name="connsiteX17" fmla="*/ 58644 w 507492"/>
              <a:gd name="connsiteY17" fmla="*/ 228935 h 479298"/>
              <a:gd name="connsiteX18" fmla="*/ 31577 w 507492"/>
              <a:gd name="connsiteY18" fmla="*/ 226680 h 479298"/>
              <a:gd name="connsiteX19" fmla="*/ 18045 w 507492"/>
              <a:gd name="connsiteY19" fmla="*/ 253182 h 479298"/>
              <a:gd name="connsiteX20" fmla="*/ 10150 w 507492"/>
              <a:gd name="connsiteY20" fmla="*/ 275173 h 479298"/>
              <a:gd name="connsiteX21" fmla="*/ 16916 w 507492"/>
              <a:gd name="connsiteY21" fmla="*/ 283632 h 479298"/>
              <a:gd name="connsiteX22" fmla="*/ 6767 w 507492"/>
              <a:gd name="connsiteY22" fmla="*/ 294345 h 479298"/>
              <a:gd name="connsiteX23" fmla="*/ 10714 w 507492"/>
              <a:gd name="connsiteY23" fmla="*/ 309570 h 479298"/>
              <a:gd name="connsiteX24" fmla="*/ 2819 w 507492"/>
              <a:gd name="connsiteY24" fmla="*/ 324231 h 479298"/>
              <a:gd name="connsiteX25" fmla="*/ 0 w 507492"/>
              <a:gd name="connsiteY25" fmla="*/ 337764 h 479298"/>
              <a:gd name="connsiteX26" fmla="*/ 11278 w 507492"/>
              <a:gd name="connsiteY26" fmla="*/ 335509 h 479298"/>
              <a:gd name="connsiteX27" fmla="*/ 18045 w 507492"/>
              <a:gd name="connsiteY27" fmla="*/ 349606 h 479298"/>
              <a:gd name="connsiteX28" fmla="*/ 18608 w 507492"/>
              <a:gd name="connsiteY28" fmla="*/ 370469 h 479298"/>
              <a:gd name="connsiteX29" fmla="*/ 30450 w 507492"/>
              <a:gd name="connsiteY29" fmla="*/ 380619 h 479298"/>
              <a:gd name="connsiteX30" fmla="*/ 30450 w 507492"/>
              <a:gd name="connsiteY30" fmla="*/ 389641 h 479298"/>
              <a:gd name="connsiteX31" fmla="*/ 34397 w 507492"/>
              <a:gd name="connsiteY31" fmla="*/ 404866 h 479298"/>
              <a:gd name="connsiteX32" fmla="*/ 53005 w 507492"/>
              <a:gd name="connsiteY32" fmla="*/ 427421 h 479298"/>
              <a:gd name="connsiteX33" fmla="*/ 53005 w 507492"/>
              <a:gd name="connsiteY33" fmla="*/ 442082 h 479298"/>
              <a:gd name="connsiteX34" fmla="*/ 48494 w 507492"/>
              <a:gd name="connsiteY34" fmla="*/ 456743 h 479298"/>
              <a:gd name="connsiteX35" fmla="*/ 50185 w 507492"/>
              <a:gd name="connsiteY35" fmla="*/ 468020 h 479298"/>
              <a:gd name="connsiteX36" fmla="*/ 61463 w 507492"/>
              <a:gd name="connsiteY36" fmla="*/ 478170 h 479298"/>
              <a:gd name="connsiteX37" fmla="*/ 64282 w 507492"/>
              <a:gd name="connsiteY37" fmla="*/ 479862 h 479298"/>
              <a:gd name="connsiteX38" fmla="*/ 73868 w 507492"/>
              <a:gd name="connsiteY38" fmla="*/ 475915 h 479298"/>
              <a:gd name="connsiteX39" fmla="*/ 84582 w 507492"/>
              <a:gd name="connsiteY39" fmla="*/ 469148 h 479298"/>
              <a:gd name="connsiteX40" fmla="*/ 91913 w 507492"/>
              <a:gd name="connsiteY40" fmla="*/ 437007 h 479298"/>
              <a:gd name="connsiteX41" fmla="*/ 100371 w 507492"/>
              <a:gd name="connsiteY41" fmla="*/ 420654 h 479298"/>
              <a:gd name="connsiteX42" fmla="*/ 122926 w 507492"/>
              <a:gd name="connsiteY42" fmla="*/ 415579 h 479298"/>
              <a:gd name="connsiteX43" fmla="*/ 128565 w 507492"/>
              <a:gd name="connsiteY43" fmla="*/ 425729 h 479298"/>
              <a:gd name="connsiteX44" fmla="*/ 145481 w 507492"/>
              <a:gd name="connsiteY44" fmla="*/ 446593 h 479298"/>
              <a:gd name="connsiteX45" fmla="*/ 153940 w 507492"/>
              <a:gd name="connsiteY45" fmla="*/ 449412 h 479298"/>
              <a:gd name="connsiteX46" fmla="*/ 165217 w 507492"/>
              <a:gd name="connsiteY46" fmla="*/ 443210 h 479298"/>
              <a:gd name="connsiteX47" fmla="*/ 188336 w 507492"/>
              <a:gd name="connsiteY47" fmla="*/ 444901 h 479298"/>
              <a:gd name="connsiteX48" fmla="*/ 192847 w 507492"/>
              <a:gd name="connsiteY48" fmla="*/ 452232 h 479298"/>
              <a:gd name="connsiteX49" fmla="*/ 223861 w 507492"/>
              <a:gd name="connsiteY49" fmla="*/ 452232 h 479298"/>
              <a:gd name="connsiteX50" fmla="*/ 224988 w 507492"/>
              <a:gd name="connsiteY50" fmla="*/ 444901 h 479298"/>
              <a:gd name="connsiteX51" fmla="*/ 241341 w 507492"/>
              <a:gd name="connsiteY51" fmla="*/ 438135 h 479298"/>
              <a:gd name="connsiteX52" fmla="*/ 244160 w 507492"/>
              <a:gd name="connsiteY52" fmla="*/ 427421 h 479298"/>
              <a:gd name="connsiteX53" fmla="*/ 256002 w 507492"/>
              <a:gd name="connsiteY53" fmla="*/ 420091 h 479298"/>
              <a:gd name="connsiteX54" fmla="*/ 283068 w 507492"/>
              <a:gd name="connsiteY54" fmla="*/ 440954 h 479298"/>
              <a:gd name="connsiteX55" fmla="*/ 298856 w 507492"/>
              <a:gd name="connsiteY55" fmla="*/ 437007 h 479298"/>
              <a:gd name="connsiteX56" fmla="*/ 314082 w 507492"/>
              <a:gd name="connsiteY56" fmla="*/ 411632 h 479298"/>
              <a:gd name="connsiteX57" fmla="*/ 330998 w 507492"/>
              <a:gd name="connsiteY57" fmla="*/ 391897 h 479298"/>
              <a:gd name="connsiteX58" fmla="*/ 327614 w 507492"/>
              <a:gd name="connsiteY58" fmla="*/ 369905 h 479298"/>
              <a:gd name="connsiteX59" fmla="*/ 319720 w 507492"/>
              <a:gd name="connsiteY59" fmla="*/ 359755 h 479298"/>
              <a:gd name="connsiteX60" fmla="*/ 338892 w 507492"/>
              <a:gd name="connsiteY60" fmla="*/ 358064 h 479298"/>
              <a:gd name="connsiteX61" fmla="*/ 340584 w 507492"/>
              <a:gd name="connsiteY61" fmla="*/ 349606 h 479298"/>
              <a:gd name="connsiteX62" fmla="*/ 355244 w 507492"/>
              <a:gd name="connsiteY62" fmla="*/ 352425 h 479298"/>
              <a:gd name="connsiteX63" fmla="*/ 352425 w 507492"/>
              <a:gd name="connsiteY63" fmla="*/ 378927 h 479298"/>
              <a:gd name="connsiteX64" fmla="*/ 356936 w 507492"/>
              <a:gd name="connsiteY64" fmla="*/ 404866 h 479298"/>
              <a:gd name="connsiteX65" fmla="*/ 373289 w 507492"/>
              <a:gd name="connsiteY65" fmla="*/ 418963 h 479298"/>
              <a:gd name="connsiteX66" fmla="*/ 377236 w 507492"/>
              <a:gd name="connsiteY66" fmla="*/ 431368 h 479298"/>
              <a:gd name="connsiteX67" fmla="*/ 377236 w 507492"/>
              <a:gd name="connsiteY67" fmla="*/ 448848 h 479298"/>
              <a:gd name="connsiteX68" fmla="*/ 381747 w 507492"/>
              <a:gd name="connsiteY68" fmla="*/ 449412 h 479298"/>
              <a:gd name="connsiteX69" fmla="*/ 381747 w 507492"/>
              <a:gd name="connsiteY69" fmla="*/ 445465 h 479298"/>
              <a:gd name="connsiteX70" fmla="*/ 389641 w 507492"/>
              <a:gd name="connsiteY70" fmla="*/ 407685 h 479298"/>
              <a:gd name="connsiteX71" fmla="*/ 404302 w 507492"/>
              <a:gd name="connsiteY71" fmla="*/ 397535 h 479298"/>
              <a:gd name="connsiteX72" fmla="*/ 407122 w 507492"/>
              <a:gd name="connsiteY72" fmla="*/ 382875 h 479298"/>
              <a:gd name="connsiteX73" fmla="*/ 420091 w 507492"/>
              <a:gd name="connsiteY73" fmla="*/ 355808 h 479298"/>
              <a:gd name="connsiteX74" fmla="*/ 438135 w 507492"/>
              <a:gd name="connsiteY74" fmla="*/ 337764 h 479298"/>
              <a:gd name="connsiteX75" fmla="*/ 449977 w 507492"/>
              <a:gd name="connsiteY75" fmla="*/ 302803 h 479298"/>
              <a:gd name="connsiteX76" fmla="*/ 453923 w 507492"/>
              <a:gd name="connsiteY76" fmla="*/ 271790 h 479298"/>
              <a:gd name="connsiteX77" fmla="*/ 449977 w 507492"/>
              <a:gd name="connsiteY77" fmla="*/ 257693 h 479298"/>
              <a:gd name="connsiteX78" fmla="*/ 460690 w 507492"/>
              <a:gd name="connsiteY78" fmla="*/ 204688 h 4792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</a:cxnLst>
            <a:rect l="l" t="t" r="r" b="b"/>
            <a:pathLst>
              <a:path w="507492" h="479298">
                <a:moveTo>
                  <a:pt x="460690" y="204688"/>
                </a:moveTo>
                <a:lnTo>
                  <a:pt x="462945" y="181005"/>
                </a:lnTo>
                <a:lnTo>
                  <a:pt x="471968" y="169728"/>
                </a:lnTo>
                <a:lnTo>
                  <a:pt x="494523" y="164089"/>
                </a:lnTo>
                <a:lnTo>
                  <a:pt x="509184" y="143789"/>
                </a:lnTo>
                <a:lnTo>
                  <a:pt x="491704" y="130256"/>
                </a:lnTo>
                <a:lnTo>
                  <a:pt x="479298" y="121234"/>
                </a:lnTo>
                <a:lnTo>
                  <a:pt x="465201" y="78379"/>
                </a:lnTo>
                <a:lnTo>
                  <a:pt x="458998" y="41727"/>
                </a:lnTo>
                <a:lnTo>
                  <a:pt x="465201" y="34960"/>
                </a:lnTo>
                <a:lnTo>
                  <a:pt x="453360" y="0"/>
                </a:lnTo>
                <a:lnTo>
                  <a:pt x="330434" y="0"/>
                </a:lnTo>
                <a:lnTo>
                  <a:pt x="209764" y="0"/>
                </a:lnTo>
                <a:lnTo>
                  <a:pt x="85146" y="0"/>
                </a:lnTo>
                <a:lnTo>
                  <a:pt x="87965" y="71613"/>
                </a:lnTo>
                <a:lnTo>
                  <a:pt x="52441" y="71613"/>
                </a:lnTo>
                <a:lnTo>
                  <a:pt x="52441" y="86837"/>
                </a:lnTo>
                <a:lnTo>
                  <a:pt x="58644" y="228935"/>
                </a:lnTo>
                <a:lnTo>
                  <a:pt x="31577" y="226680"/>
                </a:lnTo>
                <a:lnTo>
                  <a:pt x="18045" y="253182"/>
                </a:lnTo>
                <a:lnTo>
                  <a:pt x="10150" y="275173"/>
                </a:lnTo>
                <a:lnTo>
                  <a:pt x="16916" y="283632"/>
                </a:lnTo>
                <a:lnTo>
                  <a:pt x="6767" y="294345"/>
                </a:lnTo>
                <a:lnTo>
                  <a:pt x="10714" y="309570"/>
                </a:lnTo>
                <a:lnTo>
                  <a:pt x="2819" y="324231"/>
                </a:lnTo>
                <a:lnTo>
                  <a:pt x="0" y="337764"/>
                </a:lnTo>
                <a:lnTo>
                  <a:pt x="11278" y="335509"/>
                </a:lnTo>
                <a:lnTo>
                  <a:pt x="18045" y="349606"/>
                </a:lnTo>
                <a:lnTo>
                  <a:pt x="18608" y="370469"/>
                </a:lnTo>
                <a:lnTo>
                  <a:pt x="30450" y="380619"/>
                </a:lnTo>
                <a:lnTo>
                  <a:pt x="30450" y="389641"/>
                </a:lnTo>
                <a:lnTo>
                  <a:pt x="34397" y="404866"/>
                </a:lnTo>
                <a:lnTo>
                  <a:pt x="53005" y="427421"/>
                </a:lnTo>
                <a:lnTo>
                  <a:pt x="53005" y="442082"/>
                </a:lnTo>
                <a:lnTo>
                  <a:pt x="48494" y="456743"/>
                </a:lnTo>
                <a:lnTo>
                  <a:pt x="50185" y="468020"/>
                </a:lnTo>
                <a:lnTo>
                  <a:pt x="61463" y="478170"/>
                </a:lnTo>
                <a:lnTo>
                  <a:pt x="64282" y="479862"/>
                </a:lnTo>
                <a:lnTo>
                  <a:pt x="73868" y="475915"/>
                </a:lnTo>
                <a:lnTo>
                  <a:pt x="84582" y="469148"/>
                </a:lnTo>
                <a:lnTo>
                  <a:pt x="91913" y="437007"/>
                </a:lnTo>
                <a:lnTo>
                  <a:pt x="100371" y="420654"/>
                </a:lnTo>
                <a:lnTo>
                  <a:pt x="122926" y="415579"/>
                </a:lnTo>
                <a:lnTo>
                  <a:pt x="128565" y="425729"/>
                </a:lnTo>
                <a:lnTo>
                  <a:pt x="145481" y="446593"/>
                </a:lnTo>
                <a:lnTo>
                  <a:pt x="153940" y="449412"/>
                </a:lnTo>
                <a:lnTo>
                  <a:pt x="165217" y="443210"/>
                </a:lnTo>
                <a:lnTo>
                  <a:pt x="188336" y="444901"/>
                </a:lnTo>
                <a:lnTo>
                  <a:pt x="192847" y="452232"/>
                </a:lnTo>
                <a:lnTo>
                  <a:pt x="223861" y="452232"/>
                </a:lnTo>
                <a:lnTo>
                  <a:pt x="224988" y="444901"/>
                </a:lnTo>
                <a:lnTo>
                  <a:pt x="241341" y="438135"/>
                </a:lnTo>
                <a:lnTo>
                  <a:pt x="244160" y="427421"/>
                </a:lnTo>
                <a:lnTo>
                  <a:pt x="256002" y="420091"/>
                </a:lnTo>
                <a:lnTo>
                  <a:pt x="283068" y="440954"/>
                </a:lnTo>
                <a:lnTo>
                  <a:pt x="298856" y="437007"/>
                </a:lnTo>
                <a:lnTo>
                  <a:pt x="314082" y="411632"/>
                </a:lnTo>
                <a:lnTo>
                  <a:pt x="330998" y="391897"/>
                </a:lnTo>
                <a:lnTo>
                  <a:pt x="327614" y="369905"/>
                </a:lnTo>
                <a:lnTo>
                  <a:pt x="319720" y="359755"/>
                </a:lnTo>
                <a:lnTo>
                  <a:pt x="338892" y="358064"/>
                </a:lnTo>
                <a:lnTo>
                  <a:pt x="340584" y="349606"/>
                </a:lnTo>
                <a:lnTo>
                  <a:pt x="355244" y="352425"/>
                </a:lnTo>
                <a:lnTo>
                  <a:pt x="352425" y="378927"/>
                </a:lnTo>
                <a:lnTo>
                  <a:pt x="356936" y="404866"/>
                </a:lnTo>
                <a:lnTo>
                  <a:pt x="373289" y="418963"/>
                </a:lnTo>
                <a:lnTo>
                  <a:pt x="377236" y="431368"/>
                </a:lnTo>
                <a:lnTo>
                  <a:pt x="377236" y="448848"/>
                </a:lnTo>
                <a:lnTo>
                  <a:pt x="381747" y="449412"/>
                </a:lnTo>
                <a:lnTo>
                  <a:pt x="381747" y="445465"/>
                </a:lnTo>
                <a:lnTo>
                  <a:pt x="389641" y="407685"/>
                </a:lnTo>
                <a:lnTo>
                  <a:pt x="404302" y="397535"/>
                </a:lnTo>
                <a:lnTo>
                  <a:pt x="407122" y="382875"/>
                </a:lnTo>
                <a:lnTo>
                  <a:pt x="420091" y="355808"/>
                </a:lnTo>
                <a:lnTo>
                  <a:pt x="438135" y="337764"/>
                </a:lnTo>
                <a:lnTo>
                  <a:pt x="449977" y="302803"/>
                </a:lnTo>
                <a:lnTo>
                  <a:pt x="453923" y="271790"/>
                </a:lnTo>
                <a:lnTo>
                  <a:pt x="449977" y="257693"/>
                </a:lnTo>
                <a:lnTo>
                  <a:pt x="460690" y="204688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0" name="Freeform: Shape 373">
            <a:extLst>
              <a:ext uri="{FF2B5EF4-FFF2-40B4-BE49-F238E27FC236}">
                <a16:creationId xmlns:a16="http://schemas.microsoft.com/office/drawing/2014/main" id="{B8E4E266-F0F5-4E7F-BC53-CD5031D13201}"/>
              </a:ext>
            </a:extLst>
          </p:cNvPr>
          <p:cNvSpPr/>
          <p:nvPr/>
        </p:nvSpPr>
        <p:spPr>
          <a:xfrm>
            <a:off x="6406554" y="3794206"/>
            <a:ext cx="269682" cy="231758"/>
          </a:xfrm>
          <a:custGeom>
            <a:avLst/>
            <a:gdLst>
              <a:gd name="connsiteX0" fmla="*/ 312953 w 360883"/>
              <a:gd name="connsiteY0" fmla="*/ 81763 h 310134"/>
              <a:gd name="connsiteX1" fmla="*/ 309007 w 360883"/>
              <a:gd name="connsiteY1" fmla="*/ 69357 h 310134"/>
              <a:gd name="connsiteX2" fmla="*/ 292654 w 360883"/>
              <a:gd name="connsiteY2" fmla="*/ 55260 h 310134"/>
              <a:gd name="connsiteX3" fmla="*/ 288143 w 360883"/>
              <a:gd name="connsiteY3" fmla="*/ 29322 h 310134"/>
              <a:gd name="connsiteX4" fmla="*/ 290962 w 360883"/>
              <a:gd name="connsiteY4" fmla="*/ 2819 h 310134"/>
              <a:gd name="connsiteX5" fmla="*/ 276301 w 360883"/>
              <a:gd name="connsiteY5" fmla="*/ 0 h 310134"/>
              <a:gd name="connsiteX6" fmla="*/ 274609 w 360883"/>
              <a:gd name="connsiteY6" fmla="*/ 8458 h 310134"/>
              <a:gd name="connsiteX7" fmla="*/ 255438 w 360883"/>
              <a:gd name="connsiteY7" fmla="*/ 10150 h 310134"/>
              <a:gd name="connsiteX8" fmla="*/ 263332 w 360883"/>
              <a:gd name="connsiteY8" fmla="*/ 20300 h 310134"/>
              <a:gd name="connsiteX9" fmla="*/ 266716 w 360883"/>
              <a:gd name="connsiteY9" fmla="*/ 42291 h 310134"/>
              <a:gd name="connsiteX10" fmla="*/ 249799 w 360883"/>
              <a:gd name="connsiteY10" fmla="*/ 62027 h 310134"/>
              <a:gd name="connsiteX11" fmla="*/ 234574 w 360883"/>
              <a:gd name="connsiteY11" fmla="*/ 87401 h 310134"/>
              <a:gd name="connsiteX12" fmla="*/ 218786 w 360883"/>
              <a:gd name="connsiteY12" fmla="*/ 91348 h 310134"/>
              <a:gd name="connsiteX13" fmla="*/ 191719 w 360883"/>
              <a:gd name="connsiteY13" fmla="*/ 70485 h 310134"/>
              <a:gd name="connsiteX14" fmla="*/ 179878 w 360883"/>
              <a:gd name="connsiteY14" fmla="*/ 77815 h 310134"/>
              <a:gd name="connsiteX15" fmla="*/ 177058 w 360883"/>
              <a:gd name="connsiteY15" fmla="*/ 88529 h 310134"/>
              <a:gd name="connsiteX16" fmla="*/ 160706 w 360883"/>
              <a:gd name="connsiteY16" fmla="*/ 95296 h 310134"/>
              <a:gd name="connsiteX17" fmla="*/ 159578 w 360883"/>
              <a:gd name="connsiteY17" fmla="*/ 102626 h 310134"/>
              <a:gd name="connsiteX18" fmla="*/ 128565 w 360883"/>
              <a:gd name="connsiteY18" fmla="*/ 102626 h 310134"/>
              <a:gd name="connsiteX19" fmla="*/ 124054 w 360883"/>
              <a:gd name="connsiteY19" fmla="*/ 95296 h 310134"/>
              <a:gd name="connsiteX20" fmla="*/ 100935 w 360883"/>
              <a:gd name="connsiteY20" fmla="*/ 93604 h 310134"/>
              <a:gd name="connsiteX21" fmla="*/ 89657 w 360883"/>
              <a:gd name="connsiteY21" fmla="*/ 99807 h 310134"/>
              <a:gd name="connsiteX22" fmla="*/ 81199 w 360883"/>
              <a:gd name="connsiteY22" fmla="*/ 96987 h 310134"/>
              <a:gd name="connsiteX23" fmla="*/ 64282 w 360883"/>
              <a:gd name="connsiteY23" fmla="*/ 76124 h 310134"/>
              <a:gd name="connsiteX24" fmla="*/ 58644 w 360883"/>
              <a:gd name="connsiteY24" fmla="*/ 65974 h 310134"/>
              <a:gd name="connsiteX25" fmla="*/ 36088 w 360883"/>
              <a:gd name="connsiteY25" fmla="*/ 71049 h 310134"/>
              <a:gd name="connsiteX26" fmla="*/ 27630 w 360883"/>
              <a:gd name="connsiteY26" fmla="*/ 87401 h 310134"/>
              <a:gd name="connsiteX27" fmla="*/ 20300 w 360883"/>
              <a:gd name="connsiteY27" fmla="*/ 119543 h 310134"/>
              <a:gd name="connsiteX28" fmla="*/ 9586 w 360883"/>
              <a:gd name="connsiteY28" fmla="*/ 126309 h 310134"/>
              <a:gd name="connsiteX29" fmla="*/ 0 w 360883"/>
              <a:gd name="connsiteY29" fmla="*/ 130256 h 310134"/>
              <a:gd name="connsiteX30" fmla="*/ 21428 w 360883"/>
              <a:gd name="connsiteY30" fmla="*/ 144353 h 310134"/>
              <a:gd name="connsiteX31" fmla="*/ 38908 w 360883"/>
              <a:gd name="connsiteY31" fmla="*/ 159014 h 310134"/>
              <a:gd name="connsiteX32" fmla="*/ 39472 w 360883"/>
              <a:gd name="connsiteY32" fmla="*/ 170292 h 310134"/>
              <a:gd name="connsiteX33" fmla="*/ 60899 w 360883"/>
              <a:gd name="connsiteY33" fmla="*/ 189464 h 310134"/>
              <a:gd name="connsiteX34" fmla="*/ 74432 w 360883"/>
              <a:gd name="connsiteY34" fmla="*/ 204688 h 310134"/>
              <a:gd name="connsiteX35" fmla="*/ 82890 w 360883"/>
              <a:gd name="connsiteY35" fmla="*/ 226116 h 310134"/>
              <a:gd name="connsiteX36" fmla="*/ 106573 w 360883"/>
              <a:gd name="connsiteY36" fmla="*/ 240213 h 310134"/>
              <a:gd name="connsiteX37" fmla="*/ 111649 w 360883"/>
              <a:gd name="connsiteY37" fmla="*/ 252054 h 310134"/>
              <a:gd name="connsiteX38" fmla="*/ 131384 w 360883"/>
              <a:gd name="connsiteY38" fmla="*/ 281376 h 310134"/>
              <a:gd name="connsiteX39" fmla="*/ 145481 w 360883"/>
              <a:gd name="connsiteY39" fmla="*/ 285887 h 310134"/>
              <a:gd name="connsiteX40" fmla="*/ 153940 w 360883"/>
              <a:gd name="connsiteY40" fmla="*/ 279684 h 310134"/>
              <a:gd name="connsiteX41" fmla="*/ 168600 w 360883"/>
              <a:gd name="connsiteY41" fmla="*/ 281940 h 310134"/>
              <a:gd name="connsiteX42" fmla="*/ 186080 w 360883"/>
              <a:gd name="connsiteY42" fmla="*/ 274610 h 310134"/>
              <a:gd name="connsiteX43" fmla="*/ 193975 w 360883"/>
              <a:gd name="connsiteY43" fmla="*/ 289834 h 310134"/>
              <a:gd name="connsiteX44" fmla="*/ 222169 w 360883"/>
              <a:gd name="connsiteY44" fmla="*/ 313517 h 310134"/>
              <a:gd name="connsiteX45" fmla="*/ 222169 w 360883"/>
              <a:gd name="connsiteY45" fmla="*/ 313517 h 310134"/>
              <a:gd name="connsiteX46" fmla="*/ 235138 w 360883"/>
              <a:gd name="connsiteY46" fmla="*/ 303931 h 310134"/>
              <a:gd name="connsiteX47" fmla="*/ 254873 w 360883"/>
              <a:gd name="connsiteY47" fmla="*/ 311826 h 310134"/>
              <a:gd name="connsiteX48" fmla="*/ 280248 w 360883"/>
              <a:gd name="connsiteY48" fmla="*/ 303367 h 310134"/>
              <a:gd name="connsiteX49" fmla="*/ 302803 w 360883"/>
              <a:gd name="connsiteY49" fmla="*/ 303931 h 310134"/>
              <a:gd name="connsiteX50" fmla="*/ 321975 w 360883"/>
              <a:gd name="connsiteY50" fmla="*/ 287015 h 310134"/>
              <a:gd name="connsiteX51" fmla="*/ 341147 w 360883"/>
              <a:gd name="connsiteY51" fmla="*/ 265587 h 310134"/>
              <a:gd name="connsiteX52" fmla="*/ 362575 w 360883"/>
              <a:gd name="connsiteY52" fmla="*/ 241904 h 310134"/>
              <a:gd name="connsiteX53" fmla="*/ 342839 w 360883"/>
              <a:gd name="connsiteY53" fmla="*/ 202997 h 310134"/>
              <a:gd name="connsiteX54" fmla="*/ 328178 w 360883"/>
              <a:gd name="connsiteY54" fmla="*/ 194539 h 310134"/>
              <a:gd name="connsiteX55" fmla="*/ 322539 w 360883"/>
              <a:gd name="connsiteY55" fmla="*/ 180442 h 310134"/>
              <a:gd name="connsiteX56" fmla="*/ 306187 w 360883"/>
              <a:gd name="connsiteY56" fmla="*/ 162961 h 310134"/>
              <a:gd name="connsiteX57" fmla="*/ 287015 w 360883"/>
              <a:gd name="connsiteY57" fmla="*/ 160142 h 310134"/>
              <a:gd name="connsiteX58" fmla="*/ 297165 w 360883"/>
              <a:gd name="connsiteY58" fmla="*/ 139842 h 310134"/>
              <a:gd name="connsiteX59" fmla="*/ 314081 w 360883"/>
              <a:gd name="connsiteY59" fmla="*/ 139278 h 310134"/>
              <a:gd name="connsiteX60" fmla="*/ 318592 w 360883"/>
              <a:gd name="connsiteY60" fmla="*/ 128001 h 310134"/>
              <a:gd name="connsiteX61" fmla="*/ 317465 w 360883"/>
              <a:gd name="connsiteY61" fmla="*/ 99807 h 310134"/>
              <a:gd name="connsiteX62" fmla="*/ 312953 w 360883"/>
              <a:gd name="connsiteY62" fmla="*/ 99243 h 310134"/>
              <a:gd name="connsiteX63" fmla="*/ 312953 w 360883"/>
              <a:gd name="connsiteY63" fmla="*/ 81763 h 310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</a:cxnLst>
            <a:rect l="l" t="t" r="r" b="b"/>
            <a:pathLst>
              <a:path w="360883" h="310134">
                <a:moveTo>
                  <a:pt x="312953" y="81763"/>
                </a:moveTo>
                <a:lnTo>
                  <a:pt x="309007" y="69357"/>
                </a:lnTo>
                <a:lnTo>
                  <a:pt x="292654" y="55260"/>
                </a:lnTo>
                <a:lnTo>
                  <a:pt x="288143" y="29322"/>
                </a:lnTo>
                <a:lnTo>
                  <a:pt x="290962" y="2819"/>
                </a:lnTo>
                <a:lnTo>
                  <a:pt x="276301" y="0"/>
                </a:lnTo>
                <a:lnTo>
                  <a:pt x="274609" y="8458"/>
                </a:lnTo>
                <a:lnTo>
                  <a:pt x="255438" y="10150"/>
                </a:lnTo>
                <a:lnTo>
                  <a:pt x="263332" y="20300"/>
                </a:lnTo>
                <a:lnTo>
                  <a:pt x="266716" y="42291"/>
                </a:lnTo>
                <a:lnTo>
                  <a:pt x="249799" y="62027"/>
                </a:lnTo>
                <a:lnTo>
                  <a:pt x="234574" y="87401"/>
                </a:lnTo>
                <a:lnTo>
                  <a:pt x="218786" y="91348"/>
                </a:lnTo>
                <a:lnTo>
                  <a:pt x="191719" y="70485"/>
                </a:lnTo>
                <a:lnTo>
                  <a:pt x="179878" y="77815"/>
                </a:lnTo>
                <a:lnTo>
                  <a:pt x="177058" y="88529"/>
                </a:lnTo>
                <a:lnTo>
                  <a:pt x="160706" y="95296"/>
                </a:lnTo>
                <a:lnTo>
                  <a:pt x="159578" y="102626"/>
                </a:lnTo>
                <a:lnTo>
                  <a:pt x="128565" y="102626"/>
                </a:lnTo>
                <a:lnTo>
                  <a:pt x="124054" y="95296"/>
                </a:lnTo>
                <a:lnTo>
                  <a:pt x="100935" y="93604"/>
                </a:lnTo>
                <a:lnTo>
                  <a:pt x="89657" y="99807"/>
                </a:lnTo>
                <a:lnTo>
                  <a:pt x="81199" y="96987"/>
                </a:lnTo>
                <a:lnTo>
                  <a:pt x="64282" y="76124"/>
                </a:lnTo>
                <a:lnTo>
                  <a:pt x="58644" y="65974"/>
                </a:lnTo>
                <a:lnTo>
                  <a:pt x="36088" y="71049"/>
                </a:lnTo>
                <a:lnTo>
                  <a:pt x="27630" y="87401"/>
                </a:lnTo>
                <a:lnTo>
                  <a:pt x="20300" y="119543"/>
                </a:lnTo>
                <a:lnTo>
                  <a:pt x="9586" y="126309"/>
                </a:lnTo>
                <a:lnTo>
                  <a:pt x="0" y="130256"/>
                </a:lnTo>
                <a:lnTo>
                  <a:pt x="21428" y="144353"/>
                </a:lnTo>
                <a:lnTo>
                  <a:pt x="38908" y="159014"/>
                </a:lnTo>
                <a:lnTo>
                  <a:pt x="39472" y="170292"/>
                </a:lnTo>
                <a:lnTo>
                  <a:pt x="60899" y="189464"/>
                </a:lnTo>
                <a:lnTo>
                  <a:pt x="74432" y="204688"/>
                </a:lnTo>
                <a:lnTo>
                  <a:pt x="82890" y="226116"/>
                </a:lnTo>
                <a:lnTo>
                  <a:pt x="106573" y="240213"/>
                </a:lnTo>
                <a:lnTo>
                  <a:pt x="111649" y="252054"/>
                </a:lnTo>
                <a:lnTo>
                  <a:pt x="131384" y="281376"/>
                </a:lnTo>
                <a:lnTo>
                  <a:pt x="145481" y="285887"/>
                </a:lnTo>
                <a:lnTo>
                  <a:pt x="153940" y="279684"/>
                </a:lnTo>
                <a:lnTo>
                  <a:pt x="168600" y="281940"/>
                </a:lnTo>
                <a:lnTo>
                  <a:pt x="186080" y="274610"/>
                </a:lnTo>
                <a:lnTo>
                  <a:pt x="193975" y="289834"/>
                </a:lnTo>
                <a:lnTo>
                  <a:pt x="222169" y="313517"/>
                </a:lnTo>
                <a:lnTo>
                  <a:pt x="222169" y="313517"/>
                </a:lnTo>
                <a:lnTo>
                  <a:pt x="235138" y="303931"/>
                </a:lnTo>
                <a:lnTo>
                  <a:pt x="254873" y="311826"/>
                </a:lnTo>
                <a:lnTo>
                  <a:pt x="280248" y="303367"/>
                </a:lnTo>
                <a:lnTo>
                  <a:pt x="302803" y="303931"/>
                </a:lnTo>
                <a:lnTo>
                  <a:pt x="321975" y="287015"/>
                </a:lnTo>
                <a:lnTo>
                  <a:pt x="341147" y="265587"/>
                </a:lnTo>
                <a:lnTo>
                  <a:pt x="362575" y="241904"/>
                </a:lnTo>
                <a:lnTo>
                  <a:pt x="342839" y="202997"/>
                </a:lnTo>
                <a:lnTo>
                  <a:pt x="328178" y="194539"/>
                </a:lnTo>
                <a:lnTo>
                  <a:pt x="322539" y="180442"/>
                </a:lnTo>
                <a:lnTo>
                  <a:pt x="306187" y="162961"/>
                </a:lnTo>
                <a:lnTo>
                  <a:pt x="287015" y="160142"/>
                </a:lnTo>
                <a:lnTo>
                  <a:pt x="297165" y="139842"/>
                </a:lnTo>
                <a:lnTo>
                  <a:pt x="314081" y="139278"/>
                </a:lnTo>
                <a:lnTo>
                  <a:pt x="318592" y="128001"/>
                </a:lnTo>
                <a:lnTo>
                  <a:pt x="317465" y="99807"/>
                </a:lnTo>
                <a:lnTo>
                  <a:pt x="312953" y="99243"/>
                </a:lnTo>
                <a:lnTo>
                  <a:pt x="312953" y="81763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1" name="Freeform: Shape 374">
            <a:extLst>
              <a:ext uri="{FF2B5EF4-FFF2-40B4-BE49-F238E27FC236}">
                <a16:creationId xmlns:a16="http://schemas.microsoft.com/office/drawing/2014/main" id="{22EA8DA4-6338-4791-92D0-7A8FC1B602DF}"/>
              </a:ext>
            </a:extLst>
          </p:cNvPr>
          <p:cNvSpPr/>
          <p:nvPr/>
        </p:nvSpPr>
        <p:spPr>
          <a:xfrm>
            <a:off x="5429377" y="3677906"/>
            <a:ext cx="143269" cy="113772"/>
          </a:xfrm>
          <a:custGeom>
            <a:avLst/>
            <a:gdLst>
              <a:gd name="connsiteX0" fmla="*/ 170856 w 191719"/>
              <a:gd name="connsiteY0" fmla="*/ 71049 h 152247"/>
              <a:gd name="connsiteX1" fmla="*/ 150556 w 191719"/>
              <a:gd name="connsiteY1" fmla="*/ 46238 h 152247"/>
              <a:gd name="connsiteX2" fmla="*/ 132512 w 191719"/>
              <a:gd name="connsiteY2" fmla="*/ 19736 h 152247"/>
              <a:gd name="connsiteX3" fmla="*/ 111649 w 191719"/>
              <a:gd name="connsiteY3" fmla="*/ 10150 h 152247"/>
              <a:gd name="connsiteX4" fmla="*/ 96987 w 191719"/>
              <a:gd name="connsiteY4" fmla="*/ 0 h 152247"/>
              <a:gd name="connsiteX5" fmla="*/ 79507 w 191719"/>
              <a:gd name="connsiteY5" fmla="*/ 0 h 152247"/>
              <a:gd name="connsiteX6" fmla="*/ 63719 w 191719"/>
              <a:gd name="connsiteY6" fmla="*/ 7894 h 152247"/>
              <a:gd name="connsiteX7" fmla="*/ 48494 w 191719"/>
              <a:gd name="connsiteY7" fmla="*/ 5075 h 152247"/>
              <a:gd name="connsiteX8" fmla="*/ 37216 w 191719"/>
              <a:gd name="connsiteY8" fmla="*/ 16352 h 152247"/>
              <a:gd name="connsiteX9" fmla="*/ 29886 w 191719"/>
              <a:gd name="connsiteY9" fmla="*/ 34960 h 152247"/>
              <a:gd name="connsiteX10" fmla="*/ 14097 w 191719"/>
              <a:gd name="connsiteY10" fmla="*/ 59771 h 152247"/>
              <a:gd name="connsiteX11" fmla="*/ 0 w 191719"/>
              <a:gd name="connsiteY11" fmla="*/ 66538 h 152247"/>
              <a:gd name="connsiteX12" fmla="*/ 15225 w 191719"/>
              <a:gd name="connsiteY12" fmla="*/ 79507 h 152247"/>
              <a:gd name="connsiteX13" fmla="*/ 27630 w 191719"/>
              <a:gd name="connsiteY13" fmla="*/ 107701 h 152247"/>
              <a:gd name="connsiteX14" fmla="*/ 62027 w 191719"/>
              <a:gd name="connsiteY14" fmla="*/ 106573 h 152247"/>
              <a:gd name="connsiteX15" fmla="*/ 69358 w 191719"/>
              <a:gd name="connsiteY15" fmla="*/ 98115 h 152247"/>
              <a:gd name="connsiteX16" fmla="*/ 79507 w 191719"/>
              <a:gd name="connsiteY16" fmla="*/ 97551 h 152247"/>
              <a:gd name="connsiteX17" fmla="*/ 91349 w 191719"/>
              <a:gd name="connsiteY17" fmla="*/ 106009 h 152247"/>
              <a:gd name="connsiteX18" fmla="*/ 101498 w 191719"/>
              <a:gd name="connsiteY18" fmla="*/ 106573 h 152247"/>
              <a:gd name="connsiteX19" fmla="*/ 111649 w 191719"/>
              <a:gd name="connsiteY19" fmla="*/ 100371 h 152247"/>
              <a:gd name="connsiteX20" fmla="*/ 117851 w 191719"/>
              <a:gd name="connsiteY20" fmla="*/ 110521 h 152247"/>
              <a:gd name="connsiteX21" fmla="*/ 104318 w 191719"/>
              <a:gd name="connsiteY21" fmla="*/ 118979 h 152247"/>
              <a:gd name="connsiteX22" fmla="*/ 90785 w 191719"/>
              <a:gd name="connsiteY22" fmla="*/ 118415 h 152247"/>
              <a:gd name="connsiteX23" fmla="*/ 77252 w 191719"/>
              <a:gd name="connsiteY23" fmla="*/ 110521 h 152247"/>
              <a:gd name="connsiteX24" fmla="*/ 65410 w 191719"/>
              <a:gd name="connsiteY24" fmla="*/ 118979 h 152247"/>
              <a:gd name="connsiteX25" fmla="*/ 59771 w 191719"/>
              <a:gd name="connsiteY25" fmla="*/ 118979 h 152247"/>
              <a:gd name="connsiteX26" fmla="*/ 51877 w 191719"/>
              <a:gd name="connsiteY26" fmla="*/ 124054 h 152247"/>
              <a:gd name="connsiteX27" fmla="*/ 23683 w 191719"/>
              <a:gd name="connsiteY27" fmla="*/ 123490 h 152247"/>
              <a:gd name="connsiteX28" fmla="*/ 28194 w 191719"/>
              <a:gd name="connsiteY28" fmla="*/ 151120 h 152247"/>
              <a:gd name="connsiteX29" fmla="*/ 45110 w 191719"/>
              <a:gd name="connsiteY29" fmla="*/ 144917 h 152247"/>
              <a:gd name="connsiteX30" fmla="*/ 55261 w 191719"/>
              <a:gd name="connsiteY30" fmla="*/ 146045 h 152247"/>
              <a:gd name="connsiteX31" fmla="*/ 63719 w 191719"/>
              <a:gd name="connsiteY31" fmla="*/ 142098 h 152247"/>
              <a:gd name="connsiteX32" fmla="*/ 121798 w 191719"/>
              <a:gd name="connsiteY32" fmla="*/ 143789 h 152247"/>
              <a:gd name="connsiteX33" fmla="*/ 137023 w 191719"/>
              <a:gd name="connsiteY33" fmla="*/ 144353 h 152247"/>
              <a:gd name="connsiteX34" fmla="*/ 159578 w 191719"/>
              <a:gd name="connsiteY34" fmla="*/ 152812 h 152247"/>
              <a:gd name="connsiteX35" fmla="*/ 166909 w 191719"/>
              <a:gd name="connsiteY35" fmla="*/ 152248 h 152247"/>
              <a:gd name="connsiteX36" fmla="*/ 169164 w 191719"/>
              <a:gd name="connsiteY36" fmla="*/ 148300 h 152247"/>
              <a:gd name="connsiteX37" fmla="*/ 186080 w 191719"/>
              <a:gd name="connsiteY37" fmla="*/ 151120 h 152247"/>
              <a:gd name="connsiteX38" fmla="*/ 190592 w 191719"/>
              <a:gd name="connsiteY38" fmla="*/ 148864 h 152247"/>
              <a:gd name="connsiteX39" fmla="*/ 192283 w 191719"/>
              <a:gd name="connsiteY39" fmla="*/ 137587 h 152247"/>
              <a:gd name="connsiteX40" fmla="*/ 190028 w 191719"/>
              <a:gd name="connsiteY40" fmla="*/ 124054 h 152247"/>
              <a:gd name="connsiteX41" fmla="*/ 178186 w 191719"/>
              <a:gd name="connsiteY41" fmla="*/ 113904 h 152247"/>
              <a:gd name="connsiteX42" fmla="*/ 171983 w 191719"/>
              <a:gd name="connsiteY42" fmla="*/ 93040 h 152247"/>
              <a:gd name="connsiteX43" fmla="*/ 170856 w 191719"/>
              <a:gd name="connsiteY43" fmla="*/ 71049 h 1522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191719" h="152247">
                <a:moveTo>
                  <a:pt x="170856" y="71049"/>
                </a:moveTo>
                <a:lnTo>
                  <a:pt x="150556" y="46238"/>
                </a:lnTo>
                <a:lnTo>
                  <a:pt x="132512" y="19736"/>
                </a:lnTo>
                <a:lnTo>
                  <a:pt x="111649" y="10150"/>
                </a:lnTo>
                <a:lnTo>
                  <a:pt x="96987" y="0"/>
                </a:lnTo>
                <a:lnTo>
                  <a:pt x="79507" y="0"/>
                </a:lnTo>
                <a:lnTo>
                  <a:pt x="63719" y="7894"/>
                </a:lnTo>
                <a:lnTo>
                  <a:pt x="48494" y="5075"/>
                </a:lnTo>
                <a:lnTo>
                  <a:pt x="37216" y="16352"/>
                </a:lnTo>
                <a:lnTo>
                  <a:pt x="29886" y="34960"/>
                </a:lnTo>
                <a:lnTo>
                  <a:pt x="14097" y="59771"/>
                </a:lnTo>
                <a:lnTo>
                  <a:pt x="0" y="66538"/>
                </a:lnTo>
                <a:lnTo>
                  <a:pt x="15225" y="79507"/>
                </a:lnTo>
                <a:lnTo>
                  <a:pt x="27630" y="107701"/>
                </a:lnTo>
                <a:lnTo>
                  <a:pt x="62027" y="106573"/>
                </a:lnTo>
                <a:lnTo>
                  <a:pt x="69358" y="98115"/>
                </a:lnTo>
                <a:lnTo>
                  <a:pt x="79507" y="97551"/>
                </a:lnTo>
                <a:lnTo>
                  <a:pt x="91349" y="106009"/>
                </a:lnTo>
                <a:lnTo>
                  <a:pt x="101498" y="106573"/>
                </a:lnTo>
                <a:lnTo>
                  <a:pt x="111649" y="100371"/>
                </a:lnTo>
                <a:lnTo>
                  <a:pt x="117851" y="110521"/>
                </a:lnTo>
                <a:lnTo>
                  <a:pt x="104318" y="118979"/>
                </a:lnTo>
                <a:lnTo>
                  <a:pt x="90785" y="118415"/>
                </a:lnTo>
                <a:lnTo>
                  <a:pt x="77252" y="110521"/>
                </a:lnTo>
                <a:lnTo>
                  <a:pt x="65410" y="118979"/>
                </a:lnTo>
                <a:lnTo>
                  <a:pt x="59771" y="118979"/>
                </a:lnTo>
                <a:lnTo>
                  <a:pt x="51877" y="124054"/>
                </a:lnTo>
                <a:lnTo>
                  <a:pt x="23683" y="123490"/>
                </a:lnTo>
                <a:lnTo>
                  <a:pt x="28194" y="151120"/>
                </a:lnTo>
                <a:lnTo>
                  <a:pt x="45110" y="144917"/>
                </a:lnTo>
                <a:lnTo>
                  <a:pt x="55261" y="146045"/>
                </a:lnTo>
                <a:lnTo>
                  <a:pt x="63719" y="142098"/>
                </a:lnTo>
                <a:lnTo>
                  <a:pt x="121798" y="143789"/>
                </a:lnTo>
                <a:lnTo>
                  <a:pt x="137023" y="144353"/>
                </a:lnTo>
                <a:lnTo>
                  <a:pt x="159578" y="152812"/>
                </a:lnTo>
                <a:lnTo>
                  <a:pt x="166909" y="152248"/>
                </a:lnTo>
                <a:lnTo>
                  <a:pt x="169164" y="148300"/>
                </a:lnTo>
                <a:lnTo>
                  <a:pt x="186080" y="151120"/>
                </a:lnTo>
                <a:lnTo>
                  <a:pt x="190592" y="148864"/>
                </a:lnTo>
                <a:lnTo>
                  <a:pt x="192283" y="137587"/>
                </a:lnTo>
                <a:lnTo>
                  <a:pt x="190028" y="124054"/>
                </a:lnTo>
                <a:lnTo>
                  <a:pt x="178186" y="113904"/>
                </a:lnTo>
                <a:lnTo>
                  <a:pt x="171983" y="93040"/>
                </a:lnTo>
                <a:lnTo>
                  <a:pt x="170856" y="71049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2" name="Freeform: Shape 375">
            <a:extLst>
              <a:ext uri="{FF2B5EF4-FFF2-40B4-BE49-F238E27FC236}">
                <a16:creationId xmlns:a16="http://schemas.microsoft.com/office/drawing/2014/main" id="{3B742EAE-C56C-4A56-9F3D-7A1B0EA34C6C}"/>
              </a:ext>
            </a:extLst>
          </p:cNvPr>
          <p:cNvSpPr/>
          <p:nvPr/>
        </p:nvSpPr>
        <p:spPr>
          <a:xfrm>
            <a:off x="5530087" y="3853200"/>
            <a:ext cx="67421" cy="84276"/>
          </a:xfrm>
          <a:custGeom>
            <a:avLst/>
            <a:gdLst>
              <a:gd name="connsiteX0" fmla="*/ 95296 w 90220"/>
              <a:gd name="connsiteY0" fmla="*/ 59207 h 112776"/>
              <a:gd name="connsiteX1" fmla="*/ 86838 w 90220"/>
              <a:gd name="connsiteY1" fmla="*/ 60899 h 112776"/>
              <a:gd name="connsiteX2" fmla="*/ 86838 w 90220"/>
              <a:gd name="connsiteY2" fmla="*/ 47930 h 112776"/>
              <a:gd name="connsiteX3" fmla="*/ 81763 w 90220"/>
              <a:gd name="connsiteY3" fmla="*/ 38344 h 112776"/>
              <a:gd name="connsiteX4" fmla="*/ 82890 w 90220"/>
              <a:gd name="connsiteY4" fmla="*/ 28194 h 112776"/>
              <a:gd name="connsiteX5" fmla="*/ 76124 w 90220"/>
              <a:gd name="connsiteY5" fmla="*/ 12969 h 112776"/>
              <a:gd name="connsiteX6" fmla="*/ 67666 w 90220"/>
              <a:gd name="connsiteY6" fmla="*/ 0 h 112776"/>
              <a:gd name="connsiteX7" fmla="*/ 42291 w 90220"/>
              <a:gd name="connsiteY7" fmla="*/ 0 h 112776"/>
              <a:gd name="connsiteX8" fmla="*/ 34961 w 90220"/>
              <a:gd name="connsiteY8" fmla="*/ 6766 h 112776"/>
              <a:gd name="connsiteX9" fmla="*/ 26502 w 90220"/>
              <a:gd name="connsiteY9" fmla="*/ 7894 h 112776"/>
              <a:gd name="connsiteX10" fmla="*/ 20864 w 90220"/>
              <a:gd name="connsiteY10" fmla="*/ 15789 h 112776"/>
              <a:gd name="connsiteX11" fmla="*/ 16916 w 90220"/>
              <a:gd name="connsiteY11" fmla="*/ 25375 h 112776"/>
              <a:gd name="connsiteX12" fmla="*/ 0 w 90220"/>
              <a:gd name="connsiteY12" fmla="*/ 41163 h 112776"/>
              <a:gd name="connsiteX13" fmla="*/ 3947 w 90220"/>
              <a:gd name="connsiteY13" fmla="*/ 67666 h 112776"/>
              <a:gd name="connsiteX14" fmla="*/ 9022 w 90220"/>
              <a:gd name="connsiteY14" fmla="*/ 80635 h 112776"/>
              <a:gd name="connsiteX15" fmla="*/ 25375 w 90220"/>
              <a:gd name="connsiteY15" fmla="*/ 100371 h 112776"/>
              <a:gd name="connsiteX16" fmla="*/ 48494 w 90220"/>
              <a:gd name="connsiteY16" fmla="*/ 114468 h 112776"/>
              <a:gd name="connsiteX17" fmla="*/ 56952 w 90220"/>
              <a:gd name="connsiteY17" fmla="*/ 117287 h 112776"/>
              <a:gd name="connsiteX18" fmla="*/ 64282 w 90220"/>
              <a:gd name="connsiteY18" fmla="*/ 106009 h 112776"/>
              <a:gd name="connsiteX19" fmla="*/ 65974 w 90220"/>
              <a:gd name="connsiteY19" fmla="*/ 95296 h 112776"/>
              <a:gd name="connsiteX20" fmla="*/ 80635 w 90220"/>
              <a:gd name="connsiteY20" fmla="*/ 76124 h 112776"/>
              <a:gd name="connsiteX21" fmla="*/ 95296 w 90220"/>
              <a:gd name="connsiteY21" fmla="*/ 59207 h 1127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90220" h="112776">
                <a:moveTo>
                  <a:pt x="95296" y="59207"/>
                </a:moveTo>
                <a:lnTo>
                  <a:pt x="86838" y="60899"/>
                </a:lnTo>
                <a:lnTo>
                  <a:pt x="86838" y="47930"/>
                </a:lnTo>
                <a:lnTo>
                  <a:pt x="81763" y="38344"/>
                </a:lnTo>
                <a:lnTo>
                  <a:pt x="82890" y="28194"/>
                </a:lnTo>
                <a:lnTo>
                  <a:pt x="76124" y="12969"/>
                </a:lnTo>
                <a:lnTo>
                  <a:pt x="67666" y="0"/>
                </a:lnTo>
                <a:lnTo>
                  <a:pt x="42291" y="0"/>
                </a:lnTo>
                <a:lnTo>
                  <a:pt x="34961" y="6766"/>
                </a:lnTo>
                <a:lnTo>
                  <a:pt x="26502" y="7894"/>
                </a:lnTo>
                <a:lnTo>
                  <a:pt x="20864" y="15789"/>
                </a:lnTo>
                <a:lnTo>
                  <a:pt x="16916" y="25375"/>
                </a:lnTo>
                <a:lnTo>
                  <a:pt x="0" y="41163"/>
                </a:lnTo>
                <a:lnTo>
                  <a:pt x="3947" y="67666"/>
                </a:lnTo>
                <a:lnTo>
                  <a:pt x="9022" y="80635"/>
                </a:lnTo>
                <a:lnTo>
                  <a:pt x="25375" y="100371"/>
                </a:lnTo>
                <a:lnTo>
                  <a:pt x="48494" y="114468"/>
                </a:lnTo>
                <a:lnTo>
                  <a:pt x="56952" y="117287"/>
                </a:lnTo>
                <a:lnTo>
                  <a:pt x="64282" y="106009"/>
                </a:lnTo>
                <a:lnTo>
                  <a:pt x="65974" y="95296"/>
                </a:lnTo>
                <a:lnTo>
                  <a:pt x="80635" y="76124"/>
                </a:lnTo>
                <a:lnTo>
                  <a:pt x="95296" y="59207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3" name="Freeform: Shape 376">
            <a:extLst>
              <a:ext uri="{FF2B5EF4-FFF2-40B4-BE49-F238E27FC236}">
                <a16:creationId xmlns:a16="http://schemas.microsoft.com/office/drawing/2014/main" id="{346E9B0F-8948-4CD5-9697-D5CE21C1C105}"/>
              </a:ext>
            </a:extLst>
          </p:cNvPr>
          <p:cNvSpPr/>
          <p:nvPr/>
        </p:nvSpPr>
        <p:spPr>
          <a:xfrm>
            <a:off x="3727007" y="3736057"/>
            <a:ext cx="54779" cy="33710"/>
          </a:xfrm>
          <a:custGeom>
            <a:avLst/>
            <a:gdLst>
              <a:gd name="connsiteX0" fmla="*/ 71049 w 73304"/>
              <a:gd name="connsiteY0" fmla="*/ 37216 h 45110"/>
              <a:gd name="connsiteX1" fmla="*/ 74432 w 73304"/>
              <a:gd name="connsiteY1" fmla="*/ 23119 h 45110"/>
              <a:gd name="connsiteX2" fmla="*/ 70485 w 73304"/>
              <a:gd name="connsiteY2" fmla="*/ 19172 h 45110"/>
              <a:gd name="connsiteX3" fmla="*/ 64282 w 73304"/>
              <a:gd name="connsiteY3" fmla="*/ 16352 h 45110"/>
              <a:gd name="connsiteX4" fmla="*/ 50185 w 73304"/>
              <a:gd name="connsiteY4" fmla="*/ 20864 h 45110"/>
              <a:gd name="connsiteX5" fmla="*/ 49621 w 73304"/>
              <a:gd name="connsiteY5" fmla="*/ 15789 h 45110"/>
              <a:gd name="connsiteX6" fmla="*/ 40599 w 73304"/>
              <a:gd name="connsiteY6" fmla="*/ 10150 h 45110"/>
              <a:gd name="connsiteX7" fmla="*/ 34397 w 73304"/>
              <a:gd name="connsiteY7" fmla="*/ 2819 h 45110"/>
              <a:gd name="connsiteX8" fmla="*/ 25939 w 73304"/>
              <a:gd name="connsiteY8" fmla="*/ 0 h 45110"/>
              <a:gd name="connsiteX9" fmla="*/ 18044 w 73304"/>
              <a:gd name="connsiteY9" fmla="*/ 2255 h 45110"/>
              <a:gd name="connsiteX10" fmla="*/ 19172 w 73304"/>
              <a:gd name="connsiteY10" fmla="*/ 6203 h 45110"/>
              <a:gd name="connsiteX11" fmla="*/ 12969 w 73304"/>
              <a:gd name="connsiteY11" fmla="*/ 10150 h 45110"/>
              <a:gd name="connsiteX12" fmla="*/ 1128 w 73304"/>
              <a:gd name="connsiteY12" fmla="*/ 19172 h 45110"/>
              <a:gd name="connsiteX13" fmla="*/ 0 w 73304"/>
              <a:gd name="connsiteY13" fmla="*/ 24811 h 45110"/>
              <a:gd name="connsiteX14" fmla="*/ 7894 w 73304"/>
              <a:gd name="connsiteY14" fmla="*/ 32141 h 45110"/>
              <a:gd name="connsiteX15" fmla="*/ 25375 w 73304"/>
              <a:gd name="connsiteY15" fmla="*/ 34397 h 45110"/>
              <a:gd name="connsiteX16" fmla="*/ 37780 w 73304"/>
              <a:gd name="connsiteY16" fmla="*/ 41727 h 45110"/>
              <a:gd name="connsiteX17" fmla="*/ 48494 w 73304"/>
              <a:gd name="connsiteY17" fmla="*/ 45110 h 45110"/>
              <a:gd name="connsiteX18" fmla="*/ 67102 w 73304"/>
              <a:gd name="connsiteY18" fmla="*/ 45674 h 45110"/>
              <a:gd name="connsiteX19" fmla="*/ 71049 w 73304"/>
              <a:gd name="connsiteY19" fmla="*/ 37216 h 451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73304" h="45110">
                <a:moveTo>
                  <a:pt x="71049" y="37216"/>
                </a:moveTo>
                <a:lnTo>
                  <a:pt x="74432" y="23119"/>
                </a:lnTo>
                <a:lnTo>
                  <a:pt x="70485" y="19172"/>
                </a:lnTo>
                <a:lnTo>
                  <a:pt x="64282" y="16352"/>
                </a:lnTo>
                <a:lnTo>
                  <a:pt x="50185" y="20864"/>
                </a:lnTo>
                <a:lnTo>
                  <a:pt x="49621" y="15789"/>
                </a:lnTo>
                <a:lnTo>
                  <a:pt x="40599" y="10150"/>
                </a:lnTo>
                <a:lnTo>
                  <a:pt x="34397" y="2819"/>
                </a:lnTo>
                <a:lnTo>
                  <a:pt x="25939" y="0"/>
                </a:lnTo>
                <a:lnTo>
                  <a:pt x="18044" y="2255"/>
                </a:lnTo>
                <a:lnTo>
                  <a:pt x="19172" y="6203"/>
                </a:lnTo>
                <a:lnTo>
                  <a:pt x="12969" y="10150"/>
                </a:lnTo>
                <a:lnTo>
                  <a:pt x="1128" y="19172"/>
                </a:lnTo>
                <a:lnTo>
                  <a:pt x="0" y="24811"/>
                </a:lnTo>
                <a:lnTo>
                  <a:pt x="7894" y="32141"/>
                </a:lnTo>
                <a:lnTo>
                  <a:pt x="25375" y="34397"/>
                </a:lnTo>
                <a:lnTo>
                  <a:pt x="37780" y="41727"/>
                </a:lnTo>
                <a:lnTo>
                  <a:pt x="48494" y="45110"/>
                </a:lnTo>
                <a:lnTo>
                  <a:pt x="67102" y="45674"/>
                </a:lnTo>
                <a:lnTo>
                  <a:pt x="71049" y="37216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4" name="Freeform: Shape 377">
            <a:extLst>
              <a:ext uri="{FF2B5EF4-FFF2-40B4-BE49-F238E27FC236}">
                <a16:creationId xmlns:a16="http://schemas.microsoft.com/office/drawing/2014/main" id="{4692B2BA-F536-4DDF-918A-5FB0B154CF61}"/>
              </a:ext>
            </a:extLst>
          </p:cNvPr>
          <p:cNvSpPr/>
          <p:nvPr/>
        </p:nvSpPr>
        <p:spPr>
          <a:xfrm>
            <a:off x="6240109" y="2887821"/>
            <a:ext cx="92704" cy="101131"/>
          </a:xfrm>
          <a:custGeom>
            <a:avLst/>
            <a:gdLst>
              <a:gd name="connsiteX0" fmla="*/ 77816 w 124053"/>
              <a:gd name="connsiteY0" fmla="*/ 34397 h 135331"/>
              <a:gd name="connsiteX1" fmla="*/ 59771 w 124053"/>
              <a:gd name="connsiteY1" fmla="*/ 25939 h 135331"/>
              <a:gd name="connsiteX2" fmla="*/ 55261 w 124053"/>
              <a:gd name="connsiteY2" fmla="*/ 15225 h 135331"/>
              <a:gd name="connsiteX3" fmla="*/ 38908 w 124053"/>
              <a:gd name="connsiteY3" fmla="*/ 1128 h 135331"/>
              <a:gd name="connsiteX4" fmla="*/ 20863 w 124053"/>
              <a:gd name="connsiteY4" fmla="*/ 0 h 135331"/>
              <a:gd name="connsiteX5" fmla="*/ 0 w 124053"/>
              <a:gd name="connsiteY5" fmla="*/ 9022 h 135331"/>
              <a:gd name="connsiteX6" fmla="*/ 0 w 124053"/>
              <a:gd name="connsiteY6" fmla="*/ 9022 h 135331"/>
              <a:gd name="connsiteX7" fmla="*/ 8458 w 124053"/>
              <a:gd name="connsiteY7" fmla="*/ 22555 h 135331"/>
              <a:gd name="connsiteX8" fmla="*/ 18044 w 124053"/>
              <a:gd name="connsiteY8" fmla="*/ 32705 h 135331"/>
              <a:gd name="connsiteX9" fmla="*/ 8458 w 124053"/>
              <a:gd name="connsiteY9" fmla="*/ 45674 h 135331"/>
              <a:gd name="connsiteX10" fmla="*/ 8458 w 124053"/>
              <a:gd name="connsiteY10" fmla="*/ 45674 h 135331"/>
              <a:gd name="connsiteX11" fmla="*/ 18608 w 124053"/>
              <a:gd name="connsiteY11" fmla="*/ 45674 h 135331"/>
              <a:gd name="connsiteX12" fmla="*/ 12970 w 124053"/>
              <a:gd name="connsiteY12" fmla="*/ 60899 h 135331"/>
              <a:gd name="connsiteX13" fmla="*/ 28194 w 124053"/>
              <a:gd name="connsiteY13" fmla="*/ 73868 h 135331"/>
              <a:gd name="connsiteX14" fmla="*/ 25375 w 124053"/>
              <a:gd name="connsiteY14" fmla="*/ 90221 h 135331"/>
              <a:gd name="connsiteX15" fmla="*/ 18608 w 124053"/>
              <a:gd name="connsiteY15" fmla="*/ 91912 h 135331"/>
              <a:gd name="connsiteX16" fmla="*/ 27067 w 124053"/>
              <a:gd name="connsiteY16" fmla="*/ 98115 h 135331"/>
              <a:gd name="connsiteX17" fmla="*/ 31577 w 124053"/>
              <a:gd name="connsiteY17" fmla="*/ 102626 h 135331"/>
              <a:gd name="connsiteX18" fmla="*/ 41727 w 124053"/>
              <a:gd name="connsiteY18" fmla="*/ 106573 h 135331"/>
              <a:gd name="connsiteX19" fmla="*/ 53005 w 124053"/>
              <a:gd name="connsiteY19" fmla="*/ 113340 h 135331"/>
              <a:gd name="connsiteX20" fmla="*/ 50749 w 124053"/>
              <a:gd name="connsiteY20" fmla="*/ 116723 h 135331"/>
              <a:gd name="connsiteX21" fmla="*/ 57515 w 124053"/>
              <a:gd name="connsiteY21" fmla="*/ 113904 h 135331"/>
              <a:gd name="connsiteX22" fmla="*/ 60335 w 124053"/>
              <a:gd name="connsiteY22" fmla="*/ 102626 h 135331"/>
              <a:gd name="connsiteX23" fmla="*/ 65410 w 124053"/>
              <a:gd name="connsiteY23" fmla="*/ 100371 h 135331"/>
              <a:gd name="connsiteX24" fmla="*/ 69921 w 124053"/>
              <a:gd name="connsiteY24" fmla="*/ 105445 h 135331"/>
              <a:gd name="connsiteX25" fmla="*/ 75560 w 124053"/>
              <a:gd name="connsiteY25" fmla="*/ 107701 h 135331"/>
              <a:gd name="connsiteX26" fmla="*/ 80071 w 124053"/>
              <a:gd name="connsiteY26" fmla="*/ 113340 h 135331"/>
              <a:gd name="connsiteX27" fmla="*/ 84582 w 124053"/>
              <a:gd name="connsiteY27" fmla="*/ 115031 h 135331"/>
              <a:gd name="connsiteX28" fmla="*/ 90785 w 124053"/>
              <a:gd name="connsiteY28" fmla="*/ 121234 h 135331"/>
              <a:gd name="connsiteX29" fmla="*/ 95296 w 124053"/>
              <a:gd name="connsiteY29" fmla="*/ 121234 h 135331"/>
              <a:gd name="connsiteX30" fmla="*/ 92476 w 124053"/>
              <a:gd name="connsiteY30" fmla="*/ 129692 h 135331"/>
              <a:gd name="connsiteX31" fmla="*/ 89657 w 124053"/>
              <a:gd name="connsiteY31" fmla="*/ 133639 h 135331"/>
              <a:gd name="connsiteX32" fmla="*/ 90785 w 124053"/>
              <a:gd name="connsiteY32" fmla="*/ 136459 h 135331"/>
              <a:gd name="connsiteX33" fmla="*/ 100371 w 124053"/>
              <a:gd name="connsiteY33" fmla="*/ 134203 h 135331"/>
              <a:gd name="connsiteX34" fmla="*/ 113903 w 124053"/>
              <a:gd name="connsiteY34" fmla="*/ 133639 h 135331"/>
              <a:gd name="connsiteX35" fmla="*/ 117851 w 124053"/>
              <a:gd name="connsiteY35" fmla="*/ 128565 h 135331"/>
              <a:gd name="connsiteX36" fmla="*/ 114468 w 124053"/>
              <a:gd name="connsiteY36" fmla="*/ 124618 h 135331"/>
              <a:gd name="connsiteX37" fmla="*/ 118415 w 124053"/>
              <a:gd name="connsiteY37" fmla="*/ 113340 h 135331"/>
              <a:gd name="connsiteX38" fmla="*/ 128000 w 124053"/>
              <a:gd name="connsiteY38" fmla="*/ 102626 h 135331"/>
              <a:gd name="connsiteX39" fmla="*/ 112212 w 124053"/>
              <a:gd name="connsiteY39" fmla="*/ 87965 h 135331"/>
              <a:gd name="connsiteX40" fmla="*/ 108265 w 124053"/>
              <a:gd name="connsiteY40" fmla="*/ 74996 h 135331"/>
              <a:gd name="connsiteX41" fmla="*/ 114468 w 124053"/>
              <a:gd name="connsiteY41" fmla="*/ 67102 h 135331"/>
              <a:gd name="connsiteX42" fmla="*/ 108829 w 124053"/>
              <a:gd name="connsiteY42" fmla="*/ 61463 h 135331"/>
              <a:gd name="connsiteX43" fmla="*/ 115032 w 124053"/>
              <a:gd name="connsiteY43" fmla="*/ 55260 h 135331"/>
              <a:gd name="connsiteX44" fmla="*/ 107137 w 124053"/>
              <a:gd name="connsiteY44" fmla="*/ 51313 h 135331"/>
              <a:gd name="connsiteX45" fmla="*/ 99243 w 124053"/>
              <a:gd name="connsiteY45" fmla="*/ 58643 h 135331"/>
              <a:gd name="connsiteX46" fmla="*/ 81763 w 124053"/>
              <a:gd name="connsiteY46" fmla="*/ 48494 h 135331"/>
              <a:gd name="connsiteX47" fmla="*/ 77816 w 124053"/>
              <a:gd name="connsiteY47" fmla="*/ 34397 h 1353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124053" h="135331">
                <a:moveTo>
                  <a:pt x="77816" y="34397"/>
                </a:moveTo>
                <a:lnTo>
                  <a:pt x="59771" y="25939"/>
                </a:lnTo>
                <a:lnTo>
                  <a:pt x="55261" y="15225"/>
                </a:lnTo>
                <a:lnTo>
                  <a:pt x="38908" y="1128"/>
                </a:lnTo>
                <a:lnTo>
                  <a:pt x="20863" y="0"/>
                </a:lnTo>
                <a:lnTo>
                  <a:pt x="0" y="9022"/>
                </a:lnTo>
                <a:lnTo>
                  <a:pt x="0" y="9022"/>
                </a:lnTo>
                <a:lnTo>
                  <a:pt x="8458" y="22555"/>
                </a:lnTo>
                <a:lnTo>
                  <a:pt x="18044" y="32705"/>
                </a:lnTo>
                <a:lnTo>
                  <a:pt x="8458" y="45674"/>
                </a:lnTo>
                <a:lnTo>
                  <a:pt x="8458" y="45674"/>
                </a:lnTo>
                <a:lnTo>
                  <a:pt x="18608" y="45674"/>
                </a:lnTo>
                <a:lnTo>
                  <a:pt x="12970" y="60899"/>
                </a:lnTo>
                <a:lnTo>
                  <a:pt x="28194" y="73868"/>
                </a:lnTo>
                <a:lnTo>
                  <a:pt x="25375" y="90221"/>
                </a:lnTo>
                <a:lnTo>
                  <a:pt x="18608" y="91912"/>
                </a:lnTo>
                <a:lnTo>
                  <a:pt x="27067" y="98115"/>
                </a:lnTo>
                <a:lnTo>
                  <a:pt x="31577" y="102626"/>
                </a:lnTo>
                <a:lnTo>
                  <a:pt x="41727" y="106573"/>
                </a:lnTo>
                <a:lnTo>
                  <a:pt x="53005" y="113340"/>
                </a:lnTo>
                <a:lnTo>
                  <a:pt x="50749" y="116723"/>
                </a:lnTo>
                <a:lnTo>
                  <a:pt x="57515" y="113904"/>
                </a:lnTo>
                <a:lnTo>
                  <a:pt x="60335" y="102626"/>
                </a:lnTo>
                <a:lnTo>
                  <a:pt x="65410" y="100371"/>
                </a:lnTo>
                <a:lnTo>
                  <a:pt x="69921" y="105445"/>
                </a:lnTo>
                <a:lnTo>
                  <a:pt x="75560" y="107701"/>
                </a:lnTo>
                <a:lnTo>
                  <a:pt x="80071" y="113340"/>
                </a:lnTo>
                <a:lnTo>
                  <a:pt x="84582" y="115031"/>
                </a:lnTo>
                <a:lnTo>
                  <a:pt x="90785" y="121234"/>
                </a:lnTo>
                <a:lnTo>
                  <a:pt x="95296" y="121234"/>
                </a:lnTo>
                <a:lnTo>
                  <a:pt x="92476" y="129692"/>
                </a:lnTo>
                <a:lnTo>
                  <a:pt x="89657" y="133639"/>
                </a:lnTo>
                <a:lnTo>
                  <a:pt x="90785" y="136459"/>
                </a:lnTo>
                <a:lnTo>
                  <a:pt x="100371" y="134203"/>
                </a:lnTo>
                <a:lnTo>
                  <a:pt x="113903" y="133639"/>
                </a:lnTo>
                <a:lnTo>
                  <a:pt x="117851" y="128565"/>
                </a:lnTo>
                <a:lnTo>
                  <a:pt x="114468" y="124618"/>
                </a:lnTo>
                <a:lnTo>
                  <a:pt x="118415" y="113340"/>
                </a:lnTo>
                <a:lnTo>
                  <a:pt x="128000" y="102626"/>
                </a:lnTo>
                <a:lnTo>
                  <a:pt x="112212" y="87965"/>
                </a:lnTo>
                <a:lnTo>
                  <a:pt x="108265" y="74996"/>
                </a:lnTo>
                <a:lnTo>
                  <a:pt x="114468" y="67102"/>
                </a:lnTo>
                <a:lnTo>
                  <a:pt x="108829" y="61463"/>
                </a:lnTo>
                <a:lnTo>
                  <a:pt x="115032" y="55260"/>
                </a:lnTo>
                <a:lnTo>
                  <a:pt x="107137" y="51313"/>
                </a:lnTo>
                <a:lnTo>
                  <a:pt x="99243" y="58643"/>
                </a:lnTo>
                <a:lnTo>
                  <a:pt x="81763" y="48494"/>
                </a:lnTo>
                <a:lnTo>
                  <a:pt x="77816" y="34397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5" name="Freeform: Shape 378">
            <a:extLst>
              <a:ext uri="{FF2B5EF4-FFF2-40B4-BE49-F238E27FC236}">
                <a16:creationId xmlns:a16="http://schemas.microsoft.com/office/drawing/2014/main" id="{D4DE7B69-A2E3-4691-AE17-F04CE0B3F20F}"/>
              </a:ext>
            </a:extLst>
          </p:cNvPr>
          <p:cNvSpPr/>
          <p:nvPr/>
        </p:nvSpPr>
        <p:spPr>
          <a:xfrm>
            <a:off x="4469476" y="3961072"/>
            <a:ext cx="96917" cy="109559"/>
          </a:xfrm>
          <a:custGeom>
            <a:avLst/>
            <a:gdLst>
              <a:gd name="connsiteX0" fmla="*/ 96987 w 129692"/>
              <a:gd name="connsiteY0" fmla="*/ 0 h 146608"/>
              <a:gd name="connsiteX1" fmla="*/ 71049 w 129692"/>
              <a:gd name="connsiteY1" fmla="*/ 2819 h 146608"/>
              <a:gd name="connsiteX2" fmla="*/ 67666 w 129692"/>
              <a:gd name="connsiteY2" fmla="*/ 9022 h 146608"/>
              <a:gd name="connsiteX3" fmla="*/ 29886 w 129692"/>
              <a:gd name="connsiteY3" fmla="*/ 2256 h 146608"/>
              <a:gd name="connsiteX4" fmla="*/ 24247 w 129692"/>
              <a:gd name="connsiteY4" fmla="*/ 34397 h 146608"/>
              <a:gd name="connsiteX5" fmla="*/ 4511 w 129692"/>
              <a:gd name="connsiteY5" fmla="*/ 43419 h 146608"/>
              <a:gd name="connsiteX6" fmla="*/ 6203 w 129692"/>
              <a:gd name="connsiteY6" fmla="*/ 51877 h 146608"/>
              <a:gd name="connsiteX7" fmla="*/ 0 w 129692"/>
              <a:gd name="connsiteY7" fmla="*/ 70485 h 146608"/>
              <a:gd name="connsiteX8" fmla="*/ 13533 w 129692"/>
              <a:gd name="connsiteY8" fmla="*/ 96424 h 146608"/>
              <a:gd name="connsiteX9" fmla="*/ 23683 w 129692"/>
              <a:gd name="connsiteY9" fmla="*/ 96987 h 146608"/>
              <a:gd name="connsiteX10" fmla="*/ 27630 w 129692"/>
              <a:gd name="connsiteY10" fmla="*/ 116723 h 146608"/>
              <a:gd name="connsiteX11" fmla="*/ 46238 w 129692"/>
              <a:gd name="connsiteY11" fmla="*/ 148300 h 146608"/>
              <a:gd name="connsiteX12" fmla="*/ 63718 w 129692"/>
              <a:gd name="connsiteY12" fmla="*/ 151120 h 146608"/>
              <a:gd name="connsiteX13" fmla="*/ 66538 w 129692"/>
              <a:gd name="connsiteY13" fmla="*/ 143789 h 146608"/>
              <a:gd name="connsiteX14" fmla="*/ 61463 w 129692"/>
              <a:gd name="connsiteY14" fmla="*/ 136459 h 146608"/>
              <a:gd name="connsiteX15" fmla="*/ 64282 w 129692"/>
              <a:gd name="connsiteY15" fmla="*/ 126309 h 146608"/>
              <a:gd name="connsiteX16" fmla="*/ 77252 w 129692"/>
              <a:gd name="connsiteY16" fmla="*/ 129692 h 146608"/>
              <a:gd name="connsiteX17" fmla="*/ 92476 w 129692"/>
              <a:gd name="connsiteY17" fmla="*/ 125745 h 146608"/>
              <a:gd name="connsiteX18" fmla="*/ 110521 w 129692"/>
              <a:gd name="connsiteY18" fmla="*/ 133640 h 146608"/>
              <a:gd name="connsiteX19" fmla="*/ 118415 w 129692"/>
              <a:gd name="connsiteY19" fmla="*/ 118415 h 146608"/>
              <a:gd name="connsiteX20" fmla="*/ 121798 w 129692"/>
              <a:gd name="connsiteY20" fmla="*/ 102062 h 146608"/>
              <a:gd name="connsiteX21" fmla="*/ 127437 w 129692"/>
              <a:gd name="connsiteY21" fmla="*/ 86274 h 146608"/>
              <a:gd name="connsiteX22" fmla="*/ 115595 w 129692"/>
              <a:gd name="connsiteY22" fmla="*/ 65410 h 146608"/>
              <a:gd name="connsiteX23" fmla="*/ 113340 w 129692"/>
              <a:gd name="connsiteY23" fmla="*/ 40599 h 146608"/>
              <a:gd name="connsiteX24" fmla="*/ 130820 w 129692"/>
              <a:gd name="connsiteY24" fmla="*/ 9586 h 146608"/>
              <a:gd name="connsiteX25" fmla="*/ 96987 w 129692"/>
              <a:gd name="connsiteY25" fmla="*/ 0 h 1466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129692" h="146608">
                <a:moveTo>
                  <a:pt x="96987" y="0"/>
                </a:moveTo>
                <a:lnTo>
                  <a:pt x="71049" y="2819"/>
                </a:lnTo>
                <a:lnTo>
                  <a:pt x="67666" y="9022"/>
                </a:lnTo>
                <a:lnTo>
                  <a:pt x="29886" y="2256"/>
                </a:lnTo>
                <a:lnTo>
                  <a:pt x="24247" y="34397"/>
                </a:lnTo>
                <a:lnTo>
                  <a:pt x="4511" y="43419"/>
                </a:lnTo>
                <a:lnTo>
                  <a:pt x="6203" y="51877"/>
                </a:lnTo>
                <a:lnTo>
                  <a:pt x="0" y="70485"/>
                </a:lnTo>
                <a:lnTo>
                  <a:pt x="13533" y="96424"/>
                </a:lnTo>
                <a:lnTo>
                  <a:pt x="23683" y="96987"/>
                </a:lnTo>
                <a:lnTo>
                  <a:pt x="27630" y="116723"/>
                </a:lnTo>
                <a:lnTo>
                  <a:pt x="46238" y="148300"/>
                </a:lnTo>
                <a:lnTo>
                  <a:pt x="63718" y="151120"/>
                </a:lnTo>
                <a:lnTo>
                  <a:pt x="66538" y="143789"/>
                </a:lnTo>
                <a:lnTo>
                  <a:pt x="61463" y="136459"/>
                </a:lnTo>
                <a:lnTo>
                  <a:pt x="64282" y="126309"/>
                </a:lnTo>
                <a:lnTo>
                  <a:pt x="77252" y="129692"/>
                </a:lnTo>
                <a:lnTo>
                  <a:pt x="92476" y="125745"/>
                </a:lnTo>
                <a:lnTo>
                  <a:pt x="110521" y="133640"/>
                </a:lnTo>
                <a:lnTo>
                  <a:pt x="118415" y="118415"/>
                </a:lnTo>
                <a:lnTo>
                  <a:pt x="121798" y="102062"/>
                </a:lnTo>
                <a:lnTo>
                  <a:pt x="127437" y="86274"/>
                </a:lnTo>
                <a:lnTo>
                  <a:pt x="115595" y="65410"/>
                </a:lnTo>
                <a:lnTo>
                  <a:pt x="113340" y="40599"/>
                </a:lnTo>
                <a:lnTo>
                  <a:pt x="130820" y="9586"/>
                </a:lnTo>
                <a:lnTo>
                  <a:pt x="96987" y="0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6" name="Freeform: Shape 379">
            <a:extLst>
              <a:ext uri="{FF2B5EF4-FFF2-40B4-BE49-F238E27FC236}">
                <a16:creationId xmlns:a16="http://schemas.microsoft.com/office/drawing/2014/main" id="{1D8D2101-B7EA-452A-BB6A-530616AB9A17}"/>
              </a:ext>
            </a:extLst>
          </p:cNvPr>
          <p:cNvSpPr/>
          <p:nvPr/>
        </p:nvSpPr>
        <p:spPr>
          <a:xfrm>
            <a:off x="6193336" y="2798490"/>
            <a:ext cx="113772" cy="46352"/>
          </a:xfrm>
          <a:custGeom>
            <a:avLst/>
            <a:gdLst>
              <a:gd name="connsiteX0" fmla="*/ 155067 w 152247"/>
              <a:gd name="connsiteY0" fmla="*/ 16916 h 62026"/>
              <a:gd name="connsiteX1" fmla="*/ 127437 w 152247"/>
              <a:gd name="connsiteY1" fmla="*/ 3947 h 62026"/>
              <a:gd name="connsiteX2" fmla="*/ 108265 w 152247"/>
              <a:gd name="connsiteY2" fmla="*/ 8458 h 62026"/>
              <a:gd name="connsiteX3" fmla="*/ 94731 w 152247"/>
              <a:gd name="connsiteY3" fmla="*/ 5075 h 62026"/>
              <a:gd name="connsiteX4" fmla="*/ 78943 w 152247"/>
              <a:gd name="connsiteY4" fmla="*/ 12405 h 62026"/>
              <a:gd name="connsiteX5" fmla="*/ 63718 w 152247"/>
              <a:gd name="connsiteY5" fmla="*/ 0 h 62026"/>
              <a:gd name="connsiteX6" fmla="*/ 53005 w 152247"/>
              <a:gd name="connsiteY6" fmla="*/ 5075 h 62026"/>
              <a:gd name="connsiteX7" fmla="*/ 51313 w 152247"/>
              <a:gd name="connsiteY7" fmla="*/ 2819 h 62026"/>
              <a:gd name="connsiteX8" fmla="*/ 42855 w 152247"/>
              <a:gd name="connsiteY8" fmla="*/ 2819 h 62026"/>
              <a:gd name="connsiteX9" fmla="*/ 39472 w 152247"/>
              <a:gd name="connsiteY9" fmla="*/ 9022 h 62026"/>
              <a:gd name="connsiteX10" fmla="*/ 33269 w 152247"/>
              <a:gd name="connsiteY10" fmla="*/ 10714 h 62026"/>
              <a:gd name="connsiteX11" fmla="*/ 32141 w 152247"/>
              <a:gd name="connsiteY11" fmla="*/ 18608 h 62026"/>
              <a:gd name="connsiteX12" fmla="*/ 27066 w 152247"/>
              <a:gd name="connsiteY12" fmla="*/ 20300 h 62026"/>
              <a:gd name="connsiteX13" fmla="*/ 26502 w 152247"/>
              <a:gd name="connsiteY13" fmla="*/ 23683 h 62026"/>
              <a:gd name="connsiteX14" fmla="*/ 17480 w 152247"/>
              <a:gd name="connsiteY14" fmla="*/ 27066 h 62026"/>
              <a:gd name="connsiteX15" fmla="*/ 5075 w 152247"/>
              <a:gd name="connsiteY15" fmla="*/ 26502 h 62026"/>
              <a:gd name="connsiteX16" fmla="*/ 1691 w 152247"/>
              <a:gd name="connsiteY16" fmla="*/ 34397 h 62026"/>
              <a:gd name="connsiteX17" fmla="*/ 0 w 152247"/>
              <a:gd name="connsiteY17" fmla="*/ 38908 h 62026"/>
              <a:gd name="connsiteX18" fmla="*/ 3947 w 152247"/>
              <a:gd name="connsiteY18" fmla="*/ 50749 h 62026"/>
              <a:gd name="connsiteX19" fmla="*/ 18608 w 152247"/>
              <a:gd name="connsiteY19" fmla="*/ 59771 h 62026"/>
              <a:gd name="connsiteX20" fmla="*/ 29321 w 152247"/>
              <a:gd name="connsiteY20" fmla="*/ 63719 h 62026"/>
              <a:gd name="connsiteX21" fmla="*/ 52440 w 152247"/>
              <a:gd name="connsiteY21" fmla="*/ 59207 h 62026"/>
              <a:gd name="connsiteX22" fmla="*/ 54132 w 152247"/>
              <a:gd name="connsiteY22" fmla="*/ 52441 h 62026"/>
              <a:gd name="connsiteX23" fmla="*/ 64846 w 152247"/>
              <a:gd name="connsiteY23" fmla="*/ 51313 h 62026"/>
              <a:gd name="connsiteX24" fmla="*/ 77815 w 152247"/>
              <a:gd name="connsiteY24" fmla="*/ 45674 h 62026"/>
              <a:gd name="connsiteX25" fmla="*/ 81199 w 152247"/>
              <a:gd name="connsiteY25" fmla="*/ 47930 h 62026"/>
              <a:gd name="connsiteX26" fmla="*/ 93604 w 152247"/>
              <a:gd name="connsiteY26" fmla="*/ 43983 h 62026"/>
              <a:gd name="connsiteX27" fmla="*/ 99243 w 152247"/>
              <a:gd name="connsiteY27" fmla="*/ 35525 h 62026"/>
              <a:gd name="connsiteX28" fmla="*/ 108265 w 152247"/>
              <a:gd name="connsiteY28" fmla="*/ 33269 h 62026"/>
              <a:gd name="connsiteX29" fmla="*/ 139278 w 152247"/>
              <a:gd name="connsiteY29" fmla="*/ 43983 h 62026"/>
              <a:gd name="connsiteX30" fmla="*/ 144917 w 152247"/>
              <a:gd name="connsiteY30" fmla="*/ 40599 h 62026"/>
              <a:gd name="connsiteX31" fmla="*/ 148864 w 152247"/>
              <a:gd name="connsiteY31" fmla="*/ 26502 h 62026"/>
              <a:gd name="connsiteX32" fmla="*/ 155067 w 152247"/>
              <a:gd name="connsiteY32" fmla="*/ 16916 h 620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152247" h="62026">
                <a:moveTo>
                  <a:pt x="155067" y="16916"/>
                </a:moveTo>
                <a:lnTo>
                  <a:pt x="127437" y="3947"/>
                </a:lnTo>
                <a:lnTo>
                  <a:pt x="108265" y="8458"/>
                </a:lnTo>
                <a:lnTo>
                  <a:pt x="94731" y="5075"/>
                </a:lnTo>
                <a:lnTo>
                  <a:pt x="78943" y="12405"/>
                </a:lnTo>
                <a:lnTo>
                  <a:pt x="63718" y="0"/>
                </a:lnTo>
                <a:lnTo>
                  <a:pt x="53005" y="5075"/>
                </a:lnTo>
                <a:lnTo>
                  <a:pt x="51313" y="2819"/>
                </a:lnTo>
                <a:lnTo>
                  <a:pt x="42855" y="2819"/>
                </a:lnTo>
                <a:lnTo>
                  <a:pt x="39472" y="9022"/>
                </a:lnTo>
                <a:lnTo>
                  <a:pt x="33269" y="10714"/>
                </a:lnTo>
                <a:lnTo>
                  <a:pt x="32141" y="18608"/>
                </a:lnTo>
                <a:lnTo>
                  <a:pt x="27066" y="20300"/>
                </a:lnTo>
                <a:lnTo>
                  <a:pt x="26502" y="23683"/>
                </a:lnTo>
                <a:lnTo>
                  <a:pt x="17480" y="27066"/>
                </a:lnTo>
                <a:lnTo>
                  <a:pt x="5075" y="26502"/>
                </a:lnTo>
                <a:lnTo>
                  <a:pt x="1691" y="34397"/>
                </a:lnTo>
                <a:lnTo>
                  <a:pt x="0" y="38908"/>
                </a:lnTo>
                <a:lnTo>
                  <a:pt x="3947" y="50749"/>
                </a:lnTo>
                <a:lnTo>
                  <a:pt x="18608" y="59771"/>
                </a:lnTo>
                <a:lnTo>
                  <a:pt x="29321" y="63719"/>
                </a:lnTo>
                <a:lnTo>
                  <a:pt x="52440" y="59207"/>
                </a:lnTo>
                <a:lnTo>
                  <a:pt x="54132" y="52441"/>
                </a:lnTo>
                <a:lnTo>
                  <a:pt x="64846" y="51313"/>
                </a:lnTo>
                <a:lnTo>
                  <a:pt x="77815" y="45674"/>
                </a:lnTo>
                <a:lnTo>
                  <a:pt x="81199" y="47930"/>
                </a:lnTo>
                <a:lnTo>
                  <a:pt x="93604" y="43983"/>
                </a:lnTo>
                <a:lnTo>
                  <a:pt x="99243" y="35525"/>
                </a:lnTo>
                <a:lnTo>
                  <a:pt x="108265" y="33269"/>
                </a:lnTo>
                <a:lnTo>
                  <a:pt x="139278" y="43983"/>
                </a:lnTo>
                <a:lnTo>
                  <a:pt x="144917" y="40599"/>
                </a:lnTo>
                <a:lnTo>
                  <a:pt x="148864" y="26502"/>
                </a:lnTo>
                <a:lnTo>
                  <a:pt x="155067" y="16916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7" name="Freeform: Shape 380">
            <a:extLst>
              <a:ext uri="{FF2B5EF4-FFF2-40B4-BE49-F238E27FC236}">
                <a16:creationId xmlns:a16="http://schemas.microsoft.com/office/drawing/2014/main" id="{C7F25AA9-75F6-42B6-A53F-1C34478F0232}"/>
              </a:ext>
            </a:extLst>
          </p:cNvPr>
          <p:cNvSpPr/>
          <p:nvPr/>
        </p:nvSpPr>
        <p:spPr>
          <a:xfrm>
            <a:off x="6131816" y="2869701"/>
            <a:ext cx="58993" cy="33710"/>
          </a:xfrm>
          <a:custGeom>
            <a:avLst/>
            <a:gdLst>
              <a:gd name="connsiteX0" fmla="*/ 79507 w 78943"/>
              <a:gd name="connsiteY0" fmla="*/ 12405 h 45110"/>
              <a:gd name="connsiteX1" fmla="*/ 72740 w 78943"/>
              <a:gd name="connsiteY1" fmla="*/ 564 h 45110"/>
              <a:gd name="connsiteX2" fmla="*/ 68229 w 78943"/>
              <a:gd name="connsiteY2" fmla="*/ 0 h 45110"/>
              <a:gd name="connsiteX3" fmla="*/ 63154 w 78943"/>
              <a:gd name="connsiteY3" fmla="*/ 6203 h 45110"/>
              <a:gd name="connsiteX4" fmla="*/ 38907 w 78943"/>
              <a:gd name="connsiteY4" fmla="*/ 6767 h 45110"/>
              <a:gd name="connsiteX5" fmla="*/ 25375 w 78943"/>
              <a:gd name="connsiteY5" fmla="*/ 14661 h 45110"/>
              <a:gd name="connsiteX6" fmla="*/ 1691 w 78943"/>
              <a:gd name="connsiteY6" fmla="*/ 12405 h 45110"/>
              <a:gd name="connsiteX7" fmla="*/ 0 w 78943"/>
              <a:gd name="connsiteY7" fmla="*/ 29322 h 45110"/>
              <a:gd name="connsiteX8" fmla="*/ 7894 w 78943"/>
              <a:gd name="connsiteY8" fmla="*/ 44547 h 45110"/>
              <a:gd name="connsiteX9" fmla="*/ 1691 w 78943"/>
              <a:gd name="connsiteY9" fmla="*/ 47366 h 45110"/>
              <a:gd name="connsiteX10" fmla="*/ 21427 w 78943"/>
              <a:gd name="connsiteY10" fmla="*/ 48494 h 45110"/>
              <a:gd name="connsiteX11" fmla="*/ 25938 w 78943"/>
              <a:gd name="connsiteY11" fmla="*/ 42855 h 45110"/>
              <a:gd name="connsiteX12" fmla="*/ 36088 w 78943"/>
              <a:gd name="connsiteY12" fmla="*/ 48494 h 45110"/>
              <a:gd name="connsiteX13" fmla="*/ 47365 w 78943"/>
              <a:gd name="connsiteY13" fmla="*/ 49058 h 45110"/>
              <a:gd name="connsiteX14" fmla="*/ 46238 w 78943"/>
              <a:gd name="connsiteY14" fmla="*/ 39472 h 45110"/>
              <a:gd name="connsiteX15" fmla="*/ 55824 w 78943"/>
              <a:gd name="connsiteY15" fmla="*/ 36088 h 45110"/>
              <a:gd name="connsiteX16" fmla="*/ 57515 w 78943"/>
              <a:gd name="connsiteY16" fmla="*/ 21991 h 45110"/>
              <a:gd name="connsiteX17" fmla="*/ 79507 w 78943"/>
              <a:gd name="connsiteY17" fmla="*/ 12405 h 451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78943" h="45110">
                <a:moveTo>
                  <a:pt x="79507" y="12405"/>
                </a:moveTo>
                <a:lnTo>
                  <a:pt x="72740" y="564"/>
                </a:lnTo>
                <a:lnTo>
                  <a:pt x="68229" y="0"/>
                </a:lnTo>
                <a:lnTo>
                  <a:pt x="63154" y="6203"/>
                </a:lnTo>
                <a:lnTo>
                  <a:pt x="38907" y="6767"/>
                </a:lnTo>
                <a:lnTo>
                  <a:pt x="25375" y="14661"/>
                </a:lnTo>
                <a:lnTo>
                  <a:pt x="1691" y="12405"/>
                </a:lnTo>
                <a:lnTo>
                  <a:pt x="0" y="29322"/>
                </a:lnTo>
                <a:lnTo>
                  <a:pt x="7894" y="44547"/>
                </a:lnTo>
                <a:lnTo>
                  <a:pt x="1691" y="47366"/>
                </a:lnTo>
                <a:lnTo>
                  <a:pt x="21427" y="48494"/>
                </a:lnTo>
                <a:lnTo>
                  <a:pt x="25938" y="42855"/>
                </a:lnTo>
                <a:lnTo>
                  <a:pt x="36088" y="48494"/>
                </a:lnTo>
                <a:lnTo>
                  <a:pt x="47365" y="49058"/>
                </a:lnTo>
                <a:lnTo>
                  <a:pt x="46238" y="39472"/>
                </a:lnTo>
                <a:lnTo>
                  <a:pt x="55824" y="36088"/>
                </a:lnTo>
                <a:lnTo>
                  <a:pt x="57515" y="21991"/>
                </a:lnTo>
                <a:lnTo>
                  <a:pt x="79507" y="12405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8" name="Freeform: Shape 381">
            <a:extLst>
              <a:ext uri="{FF2B5EF4-FFF2-40B4-BE49-F238E27FC236}">
                <a16:creationId xmlns:a16="http://schemas.microsoft.com/office/drawing/2014/main" id="{C5182864-538E-4F1A-A863-CD6823F00A10}"/>
              </a:ext>
            </a:extLst>
          </p:cNvPr>
          <p:cNvSpPr/>
          <p:nvPr/>
        </p:nvSpPr>
        <p:spPr>
          <a:xfrm>
            <a:off x="6053439" y="2318959"/>
            <a:ext cx="214903" cy="328675"/>
          </a:xfrm>
          <a:custGeom>
            <a:avLst/>
            <a:gdLst>
              <a:gd name="connsiteX0" fmla="*/ 287579 w 287578"/>
              <a:gd name="connsiteY0" fmla="*/ 95860 h 439826"/>
              <a:gd name="connsiteX1" fmla="*/ 276866 w 287578"/>
              <a:gd name="connsiteY1" fmla="*/ 83454 h 439826"/>
              <a:gd name="connsiteX2" fmla="*/ 267279 w 287578"/>
              <a:gd name="connsiteY2" fmla="*/ 36088 h 439826"/>
              <a:gd name="connsiteX3" fmla="*/ 226680 w 287578"/>
              <a:gd name="connsiteY3" fmla="*/ 15225 h 439826"/>
              <a:gd name="connsiteX4" fmla="*/ 193411 w 287578"/>
              <a:gd name="connsiteY4" fmla="*/ 0 h 439826"/>
              <a:gd name="connsiteX5" fmla="*/ 179314 w 287578"/>
              <a:gd name="connsiteY5" fmla="*/ 1692 h 439826"/>
              <a:gd name="connsiteX6" fmla="*/ 179314 w 287578"/>
              <a:gd name="connsiteY6" fmla="*/ 21427 h 439826"/>
              <a:gd name="connsiteX7" fmla="*/ 134767 w 287578"/>
              <a:gd name="connsiteY7" fmla="*/ 16352 h 439826"/>
              <a:gd name="connsiteX8" fmla="*/ 131384 w 287578"/>
              <a:gd name="connsiteY8" fmla="*/ 33833 h 439826"/>
              <a:gd name="connsiteX9" fmla="*/ 108829 w 287578"/>
              <a:gd name="connsiteY9" fmla="*/ 33269 h 439826"/>
              <a:gd name="connsiteX10" fmla="*/ 96424 w 287578"/>
              <a:gd name="connsiteY10" fmla="*/ 55260 h 439826"/>
              <a:gd name="connsiteX11" fmla="*/ 77252 w 287578"/>
              <a:gd name="connsiteY11" fmla="*/ 89657 h 439826"/>
              <a:gd name="connsiteX12" fmla="*/ 45110 w 287578"/>
              <a:gd name="connsiteY12" fmla="*/ 134203 h 439826"/>
              <a:gd name="connsiteX13" fmla="*/ 55261 w 287578"/>
              <a:gd name="connsiteY13" fmla="*/ 144917 h 439826"/>
              <a:gd name="connsiteX14" fmla="*/ 47930 w 287578"/>
              <a:gd name="connsiteY14" fmla="*/ 157322 h 439826"/>
              <a:gd name="connsiteX15" fmla="*/ 23683 w 287578"/>
              <a:gd name="connsiteY15" fmla="*/ 156759 h 439826"/>
              <a:gd name="connsiteX16" fmla="*/ 10714 w 287578"/>
              <a:gd name="connsiteY16" fmla="*/ 186644 h 439826"/>
              <a:gd name="connsiteX17" fmla="*/ 16353 w 287578"/>
              <a:gd name="connsiteY17" fmla="*/ 229499 h 439826"/>
              <a:gd name="connsiteX18" fmla="*/ 33833 w 287578"/>
              <a:gd name="connsiteY18" fmla="*/ 245852 h 439826"/>
              <a:gd name="connsiteX19" fmla="*/ 28758 w 287578"/>
              <a:gd name="connsiteY19" fmla="*/ 284759 h 439826"/>
              <a:gd name="connsiteX20" fmla="*/ 9586 w 287578"/>
              <a:gd name="connsiteY20" fmla="*/ 307315 h 439826"/>
              <a:gd name="connsiteX21" fmla="*/ 0 w 287578"/>
              <a:gd name="connsiteY21" fmla="*/ 325923 h 439826"/>
              <a:gd name="connsiteX22" fmla="*/ 23683 w 287578"/>
              <a:gd name="connsiteY22" fmla="*/ 373289 h 439826"/>
              <a:gd name="connsiteX23" fmla="*/ 48494 w 287578"/>
              <a:gd name="connsiteY23" fmla="*/ 411069 h 439826"/>
              <a:gd name="connsiteX24" fmla="*/ 59772 w 287578"/>
              <a:gd name="connsiteY24" fmla="*/ 443210 h 439826"/>
              <a:gd name="connsiteX25" fmla="*/ 89657 w 287578"/>
              <a:gd name="connsiteY25" fmla="*/ 441518 h 439826"/>
              <a:gd name="connsiteX26" fmla="*/ 102063 w 287578"/>
              <a:gd name="connsiteY26" fmla="*/ 415016 h 439826"/>
              <a:gd name="connsiteX27" fmla="*/ 134204 w 287578"/>
              <a:gd name="connsiteY27" fmla="*/ 417835 h 439826"/>
              <a:gd name="connsiteX28" fmla="*/ 145481 w 287578"/>
              <a:gd name="connsiteY28" fmla="*/ 386822 h 439826"/>
              <a:gd name="connsiteX29" fmla="*/ 148864 w 287578"/>
              <a:gd name="connsiteY29" fmla="*/ 330434 h 439826"/>
              <a:gd name="connsiteX30" fmla="*/ 174803 w 287578"/>
              <a:gd name="connsiteY30" fmla="*/ 323103 h 439826"/>
              <a:gd name="connsiteX31" fmla="*/ 193411 w 287578"/>
              <a:gd name="connsiteY31" fmla="*/ 285887 h 439826"/>
              <a:gd name="connsiteX32" fmla="*/ 166345 w 287578"/>
              <a:gd name="connsiteY32" fmla="*/ 267279 h 439826"/>
              <a:gd name="connsiteX33" fmla="*/ 146045 w 287578"/>
              <a:gd name="connsiteY33" fmla="*/ 244724 h 439826"/>
              <a:gd name="connsiteX34" fmla="*/ 157886 w 287578"/>
              <a:gd name="connsiteY34" fmla="*/ 199050 h 439826"/>
              <a:gd name="connsiteX35" fmla="*/ 201306 w 287578"/>
              <a:gd name="connsiteY35" fmla="*/ 171419 h 439826"/>
              <a:gd name="connsiteX36" fmla="*/ 235702 w 287578"/>
              <a:gd name="connsiteY36" fmla="*/ 146045 h 439826"/>
              <a:gd name="connsiteX37" fmla="*/ 228936 w 287578"/>
              <a:gd name="connsiteY37" fmla="*/ 126309 h 439826"/>
              <a:gd name="connsiteX38" fmla="*/ 248107 w 287578"/>
              <a:gd name="connsiteY38" fmla="*/ 104318 h 439826"/>
              <a:gd name="connsiteX39" fmla="*/ 287579 w 287578"/>
              <a:gd name="connsiteY39" fmla="*/ 95860 h 439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287578" h="439826">
                <a:moveTo>
                  <a:pt x="287579" y="95860"/>
                </a:moveTo>
                <a:lnTo>
                  <a:pt x="276866" y="83454"/>
                </a:lnTo>
                <a:lnTo>
                  <a:pt x="267279" y="36088"/>
                </a:lnTo>
                <a:lnTo>
                  <a:pt x="226680" y="15225"/>
                </a:lnTo>
                <a:lnTo>
                  <a:pt x="193411" y="0"/>
                </a:lnTo>
                <a:lnTo>
                  <a:pt x="179314" y="1692"/>
                </a:lnTo>
                <a:lnTo>
                  <a:pt x="179314" y="21427"/>
                </a:lnTo>
                <a:lnTo>
                  <a:pt x="134767" y="16352"/>
                </a:lnTo>
                <a:lnTo>
                  <a:pt x="131384" y="33833"/>
                </a:lnTo>
                <a:lnTo>
                  <a:pt x="108829" y="33269"/>
                </a:lnTo>
                <a:lnTo>
                  <a:pt x="96424" y="55260"/>
                </a:lnTo>
                <a:lnTo>
                  <a:pt x="77252" y="89657"/>
                </a:lnTo>
                <a:lnTo>
                  <a:pt x="45110" y="134203"/>
                </a:lnTo>
                <a:lnTo>
                  <a:pt x="55261" y="144917"/>
                </a:lnTo>
                <a:lnTo>
                  <a:pt x="47930" y="157322"/>
                </a:lnTo>
                <a:lnTo>
                  <a:pt x="23683" y="156759"/>
                </a:lnTo>
                <a:lnTo>
                  <a:pt x="10714" y="186644"/>
                </a:lnTo>
                <a:lnTo>
                  <a:pt x="16353" y="229499"/>
                </a:lnTo>
                <a:lnTo>
                  <a:pt x="33833" y="245852"/>
                </a:lnTo>
                <a:lnTo>
                  <a:pt x="28758" y="284759"/>
                </a:lnTo>
                <a:lnTo>
                  <a:pt x="9586" y="307315"/>
                </a:lnTo>
                <a:lnTo>
                  <a:pt x="0" y="325923"/>
                </a:lnTo>
                <a:lnTo>
                  <a:pt x="23683" y="373289"/>
                </a:lnTo>
                <a:lnTo>
                  <a:pt x="48494" y="411069"/>
                </a:lnTo>
                <a:lnTo>
                  <a:pt x="59772" y="443210"/>
                </a:lnTo>
                <a:lnTo>
                  <a:pt x="89657" y="441518"/>
                </a:lnTo>
                <a:lnTo>
                  <a:pt x="102063" y="415016"/>
                </a:lnTo>
                <a:lnTo>
                  <a:pt x="134204" y="417835"/>
                </a:lnTo>
                <a:lnTo>
                  <a:pt x="145481" y="386822"/>
                </a:lnTo>
                <a:lnTo>
                  <a:pt x="148864" y="330434"/>
                </a:lnTo>
                <a:lnTo>
                  <a:pt x="174803" y="323103"/>
                </a:lnTo>
                <a:lnTo>
                  <a:pt x="193411" y="285887"/>
                </a:lnTo>
                <a:lnTo>
                  <a:pt x="166345" y="267279"/>
                </a:lnTo>
                <a:lnTo>
                  <a:pt x="146045" y="244724"/>
                </a:lnTo>
                <a:lnTo>
                  <a:pt x="157886" y="199050"/>
                </a:lnTo>
                <a:lnTo>
                  <a:pt x="201306" y="171419"/>
                </a:lnTo>
                <a:lnTo>
                  <a:pt x="235702" y="146045"/>
                </a:lnTo>
                <a:lnTo>
                  <a:pt x="228936" y="126309"/>
                </a:lnTo>
                <a:lnTo>
                  <a:pt x="248107" y="104318"/>
                </a:lnTo>
                <a:lnTo>
                  <a:pt x="287579" y="95860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9" name="Freeform: Shape 382">
            <a:extLst>
              <a:ext uri="{FF2B5EF4-FFF2-40B4-BE49-F238E27FC236}">
                <a16:creationId xmlns:a16="http://schemas.microsoft.com/office/drawing/2014/main" id="{E4B17E86-5135-4CAD-A4CA-5732327E4DE0}"/>
              </a:ext>
            </a:extLst>
          </p:cNvPr>
          <p:cNvSpPr/>
          <p:nvPr/>
        </p:nvSpPr>
        <p:spPr>
          <a:xfrm>
            <a:off x="6546874" y="4810573"/>
            <a:ext cx="29497" cy="42138"/>
          </a:xfrm>
          <a:custGeom>
            <a:avLst/>
            <a:gdLst>
              <a:gd name="connsiteX0" fmla="*/ 37780 w 39471"/>
              <a:gd name="connsiteY0" fmla="*/ 6766 h 56388"/>
              <a:gd name="connsiteX1" fmla="*/ 22555 w 39471"/>
              <a:gd name="connsiteY1" fmla="*/ 0 h 56388"/>
              <a:gd name="connsiteX2" fmla="*/ 13533 w 39471"/>
              <a:gd name="connsiteY2" fmla="*/ 2819 h 56388"/>
              <a:gd name="connsiteX3" fmla="*/ 9586 w 39471"/>
              <a:gd name="connsiteY3" fmla="*/ 12969 h 56388"/>
              <a:gd name="connsiteX4" fmla="*/ 564 w 39471"/>
              <a:gd name="connsiteY4" fmla="*/ 26502 h 56388"/>
              <a:gd name="connsiteX5" fmla="*/ 0 w 39471"/>
              <a:gd name="connsiteY5" fmla="*/ 38908 h 56388"/>
              <a:gd name="connsiteX6" fmla="*/ 16916 w 39471"/>
              <a:gd name="connsiteY6" fmla="*/ 58643 h 56388"/>
              <a:gd name="connsiteX7" fmla="*/ 35524 w 39471"/>
              <a:gd name="connsiteY7" fmla="*/ 54696 h 56388"/>
              <a:gd name="connsiteX8" fmla="*/ 42855 w 39471"/>
              <a:gd name="connsiteY8" fmla="*/ 38908 h 56388"/>
              <a:gd name="connsiteX9" fmla="*/ 41163 w 39471"/>
              <a:gd name="connsiteY9" fmla="*/ 23119 h 56388"/>
              <a:gd name="connsiteX10" fmla="*/ 37780 w 39471"/>
              <a:gd name="connsiteY10" fmla="*/ 6766 h 56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9471" h="56388">
                <a:moveTo>
                  <a:pt x="37780" y="6766"/>
                </a:moveTo>
                <a:lnTo>
                  <a:pt x="22555" y="0"/>
                </a:lnTo>
                <a:lnTo>
                  <a:pt x="13533" y="2819"/>
                </a:lnTo>
                <a:lnTo>
                  <a:pt x="9586" y="12969"/>
                </a:lnTo>
                <a:lnTo>
                  <a:pt x="564" y="26502"/>
                </a:lnTo>
                <a:lnTo>
                  <a:pt x="0" y="38908"/>
                </a:lnTo>
                <a:lnTo>
                  <a:pt x="16916" y="58643"/>
                </a:lnTo>
                <a:lnTo>
                  <a:pt x="35524" y="54696"/>
                </a:lnTo>
                <a:lnTo>
                  <a:pt x="42855" y="38908"/>
                </a:lnTo>
                <a:lnTo>
                  <a:pt x="41163" y="23119"/>
                </a:lnTo>
                <a:lnTo>
                  <a:pt x="37780" y="6766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0" name="Freeform: Shape 383">
            <a:extLst>
              <a:ext uri="{FF2B5EF4-FFF2-40B4-BE49-F238E27FC236}">
                <a16:creationId xmlns:a16="http://schemas.microsoft.com/office/drawing/2014/main" id="{BA20F7C7-90D2-4DE3-88BB-573360E5FDCF}"/>
              </a:ext>
            </a:extLst>
          </p:cNvPr>
          <p:cNvSpPr/>
          <p:nvPr/>
        </p:nvSpPr>
        <p:spPr>
          <a:xfrm>
            <a:off x="6642947" y="3123372"/>
            <a:ext cx="134842" cy="130628"/>
          </a:xfrm>
          <a:custGeom>
            <a:avLst/>
            <a:gdLst>
              <a:gd name="connsiteX0" fmla="*/ 95296 w 180441"/>
              <a:gd name="connsiteY0" fmla="*/ 140406 h 174802"/>
              <a:gd name="connsiteX1" fmla="*/ 157323 w 180441"/>
              <a:gd name="connsiteY1" fmla="*/ 102626 h 174802"/>
              <a:gd name="connsiteX2" fmla="*/ 162398 w 180441"/>
              <a:gd name="connsiteY2" fmla="*/ 58643 h 174802"/>
              <a:gd name="connsiteX3" fmla="*/ 155631 w 180441"/>
              <a:gd name="connsiteY3" fmla="*/ 32141 h 174802"/>
              <a:gd name="connsiteX4" fmla="*/ 170856 w 180441"/>
              <a:gd name="connsiteY4" fmla="*/ 23119 h 174802"/>
              <a:gd name="connsiteX5" fmla="*/ 182697 w 180441"/>
              <a:gd name="connsiteY5" fmla="*/ 0 h 174802"/>
              <a:gd name="connsiteX6" fmla="*/ 149428 w 180441"/>
              <a:gd name="connsiteY6" fmla="*/ 6203 h 174802"/>
              <a:gd name="connsiteX7" fmla="*/ 133640 w 180441"/>
              <a:gd name="connsiteY7" fmla="*/ 5075 h 174802"/>
              <a:gd name="connsiteX8" fmla="*/ 101498 w 180441"/>
              <a:gd name="connsiteY8" fmla="*/ 19172 h 174802"/>
              <a:gd name="connsiteX9" fmla="*/ 77252 w 180441"/>
              <a:gd name="connsiteY9" fmla="*/ 19172 h 174802"/>
              <a:gd name="connsiteX10" fmla="*/ 60336 w 180441"/>
              <a:gd name="connsiteY10" fmla="*/ 12405 h 174802"/>
              <a:gd name="connsiteX11" fmla="*/ 29322 w 180441"/>
              <a:gd name="connsiteY11" fmla="*/ 22555 h 174802"/>
              <a:gd name="connsiteX12" fmla="*/ 18608 w 180441"/>
              <a:gd name="connsiteY12" fmla="*/ 15225 h 174802"/>
              <a:gd name="connsiteX13" fmla="*/ 19172 w 180441"/>
              <a:gd name="connsiteY13" fmla="*/ 35524 h 174802"/>
              <a:gd name="connsiteX14" fmla="*/ 12406 w 180441"/>
              <a:gd name="connsiteY14" fmla="*/ 43983 h 174802"/>
              <a:gd name="connsiteX15" fmla="*/ 5639 w 180441"/>
              <a:gd name="connsiteY15" fmla="*/ 51877 h 174802"/>
              <a:gd name="connsiteX16" fmla="*/ 0 w 180441"/>
              <a:gd name="connsiteY16" fmla="*/ 66538 h 174802"/>
              <a:gd name="connsiteX17" fmla="*/ 6203 w 180441"/>
              <a:gd name="connsiteY17" fmla="*/ 94732 h 174802"/>
              <a:gd name="connsiteX18" fmla="*/ 19736 w 180441"/>
              <a:gd name="connsiteY18" fmla="*/ 96424 h 174802"/>
              <a:gd name="connsiteX19" fmla="*/ 26503 w 180441"/>
              <a:gd name="connsiteY19" fmla="*/ 110521 h 174802"/>
              <a:gd name="connsiteX20" fmla="*/ 11841 w 180441"/>
              <a:gd name="connsiteY20" fmla="*/ 124054 h 174802"/>
              <a:gd name="connsiteX21" fmla="*/ 6767 w 180441"/>
              <a:gd name="connsiteY21" fmla="*/ 143789 h 174802"/>
              <a:gd name="connsiteX22" fmla="*/ 8458 w 180441"/>
              <a:gd name="connsiteY22" fmla="*/ 158450 h 174802"/>
              <a:gd name="connsiteX23" fmla="*/ 5075 w 180441"/>
              <a:gd name="connsiteY23" fmla="*/ 164089 h 174802"/>
              <a:gd name="connsiteX24" fmla="*/ 5639 w 180441"/>
              <a:gd name="connsiteY24" fmla="*/ 164089 h 174802"/>
              <a:gd name="connsiteX25" fmla="*/ 41164 w 180441"/>
              <a:gd name="connsiteY25" fmla="*/ 178186 h 174802"/>
              <a:gd name="connsiteX26" fmla="*/ 95296 w 180441"/>
              <a:gd name="connsiteY26" fmla="*/ 140406 h 174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180441" h="174802">
                <a:moveTo>
                  <a:pt x="95296" y="140406"/>
                </a:moveTo>
                <a:lnTo>
                  <a:pt x="157323" y="102626"/>
                </a:lnTo>
                <a:lnTo>
                  <a:pt x="162398" y="58643"/>
                </a:lnTo>
                <a:lnTo>
                  <a:pt x="155631" y="32141"/>
                </a:lnTo>
                <a:lnTo>
                  <a:pt x="170856" y="23119"/>
                </a:lnTo>
                <a:lnTo>
                  <a:pt x="182697" y="0"/>
                </a:lnTo>
                <a:lnTo>
                  <a:pt x="149428" y="6203"/>
                </a:lnTo>
                <a:lnTo>
                  <a:pt x="133640" y="5075"/>
                </a:lnTo>
                <a:lnTo>
                  <a:pt x="101498" y="19172"/>
                </a:lnTo>
                <a:lnTo>
                  <a:pt x="77252" y="19172"/>
                </a:lnTo>
                <a:lnTo>
                  <a:pt x="60336" y="12405"/>
                </a:lnTo>
                <a:lnTo>
                  <a:pt x="29322" y="22555"/>
                </a:lnTo>
                <a:lnTo>
                  <a:pt x="18608" y="15225"/>
                </a:lnTo>
                <a:lnTo>
                  <a:pt x="19172" y="35524"/>
                </a:lnTo>
                <a:lnTo>
                  <a:pt x="12406" y="43983"/>
                </a:lnTo>
                <a:lnTo>
                  <a:pt x="5639" y="51877"/>
                </a:lnTo>
                <a:lnTo>
                  <a:pt x="0" y="66538"/>
                </a:lnTo>
                <a:lnTo>
                  <a:pt x="6203" y="94732"/>
                </a:lnTo>
                <a:lnTo>
                  <a:pt x="19736" y="96424"/>
                </a:lnTo>
                <a:lnTo>
                  <a:pt x="26503" y="110521"/>
                </a:lnTo>
                <a:lnTo>
                  <a:pt x="11841" y="124054"/>
                </a:lnTo>
                <a:lnTo>
                  <a:pt x="6767" y="143789"/>
                </a:lnTo>
                <a:lnTo>
                  <a:pt x="8458" y="158450"/>
                </a:lnTo>
                <a:lnTo>
                  <a:pt x="5075" y="164089"/>
                </a:lnTo>
                <a:lnTo>
                  <a:pt x="5639" y="164089"/>
                </a:lnTo>
                <a:lnTo>
                  <a:pt x="41164" y="178186"/>
                </a:lnTo>
                <a:lnTo>
                  <a:pt x="95296" y="140406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1" name="Freeform: Shape 384">
            <a:extLst>
              <a:ext uri="{FF2B5EF4-FFF2-40B4-BE49-F238E27FC236}">
                <a16:creationId xmlns:a16="http://schemas.microsoft.com/office/drawing/2014/main" id="{2D84D212-40A5-44DF-85FE-1AB5429E536F}"/>
              </a:ext>
            </a:extLst>
          </p:cNvPr>
          <p:cNvSpPr/>
          <p:nvPr/>
        </p:nvSpPr>
        <p:spPr>
          <a:xfrm>
            <a:off x="6160469" y="3495028"/>
            <a:ext cx="240186" cy="425593"/>
          </a:xfrm>
          <a:custGeom>
            <a:avLst/>
            <a:gdLst>
              <a:gd name="connsiteX0" fmla="*/ 317465 w 321411"/>
              <a:gd name="connsiteY0" fmla="*/ 137587 h 569518"/>
              <a:gd name="connsiteX1" fmla="*/ 191155 w 321411"/>
              <a:gd name="connsiteY1" fmla="*/ 68793 h 569518"/>
              <a:gd name="connsiteX2" fmla="*/ 65410 w 321411"/>
              <a:gd name="connsiteY2" fmla="*/ 0 h 569518"/>
              <a:gd name="connsiteX3" fmla="*/ 34961 w 321411"/>
              <a:gd name="connsiteY3" fmla="*/ 19736 h 569518"/>
              <a:gd name="connsiteX4" fmla="*/ 43983 w 321411"/>
              <a:gd name="connsiteY4" fmla="*/ 75560 h 569518"/>
              <a:gd name="connsiteX5" fmla="*/ 55261 w 321411"/>
              <a:gd name="connsiteY5" fmla="*/ 84582 h 569518"/>
              <a:gd name="connsiteX6" fmla="*/ 56388 w 321411"/>
              <a:gd name="connsiteY6" fmla="*/ 96423 h 569518"/>
              <a:gd name="connsiteX7" fmla="*/ 69358 w 321411"/>
              <a:gd name="connsiteY7" fmla="*/ 108829 h 569518"/>
              <a:gd name="connsiteX8" fmla="*/ 63155 w 321411"/>
              <a:gd name="connsiteY8" fmla="*/ 124054 h 569518"/>
              <a:gd name="connsiteX9" fmla="*/ 53005 w 321411"/>
              <a:gd name="connsiteY9" fmla="*/ 196794 h 569518"/>
              <a:gd name="connsiteX10" fmla="*/ 51877 w 321411"/>
              <a:gd name="connsiteY10" fmla="*/ 243596 h 569518"/>
              <a:gd name="connsiteX11" fmla="*/ 12970 w 321411"/>
              <a:gd name="connsiteY11" fmla="*/ 277429 h 569518"/>
              <a:gd name="connsiteX12" fmla="*/ 0 w 321411"/>
              <a:gd name="connsiteY12" fmla="*/ 324795 h 569518"/>
              <a:gd name="connsiteX13" fmla="*/ 13533 w 321411"/>
              <a:gd name="connsiteY13" fmla="*/ 337764 h 569518"/>
              <a:gd name="connsiteX14" fmla="*/ 13533 w 321411"/>
              <a:gd name="connsiteY14" fmla="*/ 360883 h 569518"/>
              <a:gd name="connsiteX15" fmla="*/ 33833 w 321411"/>
              <a:gd name="connsiteY15" fmla="*/ 362011 h 569518"/>
              <a:gd name="connsiteX16" fmla="*/ 31013 w 321411"/>
              <a:gd name="connsiteY16" fmla="*/ 378363 h 569518"/>
              <a:gd name="connsiteX17" fmla="*/ 43419 w 321411"/>
              <a:gd name="connsiteY17" fmla="*/ 401482 h 569518"/>
              <a:gd name="connsiteX18" fmla="*/ 46239 w 321411"/>
              <a:gd name="connsiteY18" fmla="*/ 425166 h 569518"/>
              <a:gd name="connsiteX19" fmla="*/ 45110 w 321411"/>
              <a:gd name="connsiteY19" fmla="*/ 449412 h 569518"/>
              <a:gd name="connsiteX20" fmla="*/ 62591 w 321411"/>
              <a:gd name="connsiteY20" fmla="*/ 482117 h 569518"/>
              <a:gd name="connsiteX21" fmla="*/ 45110 w 321411"/>
              <a:gd name="connsiteY21" fmla="*/ 481554 h 569518"/>
              <a:gd name="connsiteX22" fmla="*/ 36088 w 321411"/>
              <a:gd name="connsiteY22" fmla="*/ 483809 h 569518"/>
              <a:gd name="connsiteX23" fmla="*/ 21991 w 321411"/>
              <a:gd name="connsiteY23" fmla="*/ 480426 h 569518"/>
              <a:gd name="connsiteX24" fmla="*/ 15225 w 321411"/>
              <a:gd name="connsiteY24" fmla="*/ 497342 h 569518"/>
              <a:gd name="connsiteX25" fmla="*/ 33833 w 321411"/>
              <a:gd name="connsiteY25" fmla="*/ 518206 h 569518"/>
              <a:gd name="connsiteX26" fmla="*/ 47930 w 321411"/>
              <a:gd name="connsiteY26" fmla="*/ 524408 h 569518"/>
              <a:gd name="connsiteX27" fmla="*/ 52441 w 321411"/>
              <a:gd name="connsiteY27" fmla="*/ 539069 h 569518"/>
              <a:gd name="connsiteX28" fmla="*/ 62591 w 321411"/>
              <a:gd name="connsiteY28" fmla="*/ 563880 h 569518"/>
              <a:gd name="connsiteX29" fmla="*/ 57516 w 321411"/>
              <a:gd name="connsiteY29" fmla="*/ 573466 h 569518"/>
              <a:gd name="connsiteX30" fmla="*/ 84018 w 321411"/>
              <a:gd name="connsiteY30" fmla="*/ 571210 h 569518"/>
              <a:gd name="connsiteX31" fmla="*/ 89657 w 321411"/>
              <a:gd name="connsiteY31" fmla="*/ 561624 h 569518"/>
              <a:gd name="connsiteX32" fmla="*/ 94732 w 321411"/>
              <a:gd name="connsiteY32" fmla="*/ 562752 h 569518"/>
              <a:gd name="connsiteX33" fmla="*/ 102627 w 321411"/>
              <a:gd name="connsiteY33" fmla="*/ 570647 h 569518"/>
              <a:gd name="connsiteX34" fmla="*/ 142662 w 321411"/>
              <a:gd name="connsiteY34" fmla="*/ 557113 h 569518"/>
              <a:gd name="connsiteX35" fmla="*/ 155631 w 321411"/>
              <a:gd name="connsiteY35" fmla="*/ 543016 h 569518"/>
              <a:gd name="connsiteX36" fmla="*/ 171983 w 321411"/>
              <a:gd name="connsiteY36" fmla="*/ 530611 h 569518"/>
              <a:gd name="connsiteX37" fmla="*/ 168600 w 321411"/>
              <a:gd name="connsiteY37" fmla="*/ 517642 h 569518"/>
              <a:gd name="connsiteX38" fmla="*/ 177622 w 321411"/>
              <a:gd name="connsiteY38" fmla="*/ 514259 h 569518"/>
              <a:gd name="connsiteX39" fmla="*/ 208072 w 321411"/>
              <a:gd name="connsiteY39" fmla="*/ 516514 h 569518"/>
              <a:gd name="connsiteX40" fmla="*/ 237393 w 321411"/>
              <a:gd name="connsiteY40" fmla="*/ 500161 h 569518"/>
              <a:gd name="connsiteX41" fmla="*/ 259949 w 321411"/>
              <a:gd name="connsiteY41" fmla="*/ 460690 h 569518"/>
              <a:gd name="connsiteX42" fmla="*/ 275737 w 321411"/>
              <a:gd name="connsiteY42" fmla="*/ 446593 h 569518"/>
              <a:gd name="connsiteX43" fmla="*/ 295473 w 321411"/>
              <a:gd name="connsiteY43" fmla="*/ 440390 h 569518"/>
              <a:gd name="connsiteX44" fmla="*/ 295473 w 321411"/>
              <a:gd name="connsiteY44" fmla="*/ 431368 h 569518"/>
              <a:gd name="connsiteX45" fmla="*/ 283632 w 321411"/>
              <a:gd name="connsiteY45" fmla="*/ 421218 h 569518"/>
              <a:gd name="connsiteX46" fmla="*/ 283068 w 321411"/>
              <a:gd name="connsiteY46" fmla="*/ 400355 h 569518"/>
              <a:gd name="connsiteX47" fmla="*/ 276301 w 321411"/>
              <a:gd name="connsiteY47" fmla="*/ 386258 h 569518"/>
              <a:gd name="connsiteX48" fmla="*/ 265024 w 321411"/>
              <a:gd name="connsiteY48" fmla="*/ 388513 h 569518"/>
              <a:gd name="connsiteX49" fmla="*/ 267843 w 321411"/>
              <a:gd name="connsiteY49" fmla="*/ 374980 h 569518"/>
              <a:gd name="connsiteX50" fmla="*/ 275737 w 321411"/>
              <a:gd name="connsiteY50" fmla="*/ 360319 h 569518"/>
              <a:gd name="connsiteX51" fmla="*/ 271791 w 321411"/>
              <a:gd name="connsiteY51" fmla="*/ 345094 h 569518"/>
              <a:gd name="connsiteX52" fmla="*/ 281940 w 321411"/>
              <a:gd name="connsiteY52" fmla="*/ 334381 h 569518"/>
              <a:gd name="connsiteX53" fmla="*/ 275174 w 321411"/>
              <a:gd name="connsiteY53" fmla="*/ 325923 h 569518"/>
              <a:gd name="connsiteX54" fmla="*/ 283068 w 321411"/>
              <a:gd name="connsiteY54" fmla="*/ 303931 h 569518"/>
              <a:gd name="connsiteX55" fmla="*/ 296601 w 321411"/>
              <a:gd name="connsiteY55" fmla="*/ 277429 h 569518"/>
              <a:gd name="connsiteX56" fmla="*/ 323667 w 321411"/>
              <a:gd name="connsiteY56" fmla="*/ 279684 h 569518"/>
              <a:gd name="connsiteX57" fmla="*/ 317465 w 321411"/>
              <a:gd name="connsiteY57" fmla="*/ 137587 h 5695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321411" h="569518">
                <a:moveTo>
                  <a:pt x="317465" y="137587"/>
                </a:moveTo>
                <a:lnTo>
                  <a:pt x="191155" y="68793"/>
                </a:lnTo>
                <a:lnTo>
                  <a:pt x="65410" y="0"/>
                </a:lnTo>
                <a:lnTo>
                  <a:pt x="34961" y="19736"/>
                </a:lnTo>
                <a:lnTo>
                  <a:pt x="43983" y="75560"/>
                </a:lnTo>
                <a:lnTo>
                  <a:pt x="55261" y="84582"/>
                </a:lnTo>
                <a:lnTo>
                  <a:pt x="56388" y="96423"/>
                </a:lnTo>
                <a:lnTo>
                  <a:pt x="69358" y="108829"/>
                </a:lnTo>
                <a:lnTo>
                  <a:pt x="63155" y="124054"/>
                </a:lnTo>
                <a:lnTo>
                  <a:pt x="53005" y="196794"/>
                </a:lnTo>
                <a:lnTo>
                  <a:pt x="51877" y="243596"/>
                </a:lnTo>
                <a:lnTo>
                  <a:pt x="12970" y="277429"/>
                </a:lnTo>
                <a:lnTo>
                  <a:pt x="0" y="324795"/>
                </a:lnTo>
                <a:lnTo>
                  <a:pt x="13533" y="337764"/>
                </a:lnTo>
                <a:lnTo>
                  <a:pt x="13533" y="360883"/>
                </a:lnTo>
                <a:lnTo>
                  <a:pt x="33833" y="362011"/>
                </a:lnTo>
                <a:lnTo>
                  <a:pt x="31013" y="378363"/>
                </a:lnTo>
                <a:lnTo>
                  <a:pt x="43419" y="401482"/>
                </a:lnTo>
                <a:lnTo>
                  <a:pt x="46239" y="425166"/>
                </a:lnTo>
                <a:lnTo>
                  <a:pt x="45110" y="449412"/>
                </a:lnTo>
                <a:lnTo>
                  <a:pt x="62591" y="482117"/>
                </a:lnTo>
                <a:lnTo>
                  <a:pt x="45110" y="481554"/>
                </a:lnTo>
                <a:lnTo>
                  <a:pt x="36088" y="483809"/>
                </a:lnTo>
                <a:lnTo>
                  <a:pt x="21991" y="480426"/>
                </a:lnTo>
                <a:lnTo>
                  <a:pt x="15225" y="497342"/>
                </a:lnTo>
                <a:lnTo>
                  <a:pt x="33833" y="518206"/>
                </a:lnTo>
                <a:lnTo>
                  <a:pt x="47930" y="524408"/>
                </a:lnTo>
                <a:lnTo>
                  <a:pt x="52441" y="539069"/>
                </a:lnTo>
                <a:lnTo>
                  <a:pt x="62591" y="563880"/>
                </a:lnTo>
                <a:lnTo>
                  <a:pt x="57516" y="573466"/>
                </a:lnTo>
                <a:lnTo>
                  <a:pt x="84018" y="571210"/>
                </a:lnTo>
                <a:lnTo>
                  <a:pt x="89657" y="561624"/>
                </a:lnTo>
                <a:lnTo>
                  <a:pt x="94732" y="562752"/>
                </a:lnTo>
                <a:lnTo>
                  <a:pt x="102627" y="570647"/>
                </a:lnTo>
                <a:lnTo>
                  <a:pt x="142662" y="557113"/>
                </a:lnTo>
                <a:lnTo>
                  <a:pt x="155631" y="543016"/>
                </a:lnTo>
                <a:lnTo>
                  <a:pt x="171983" y="530611"/>
                </a:lnTo>
                <a:lnTo>
                  <a:pt x="168600" y="517642"/>
                </a:lnTo>
                <a:lnTo>
                  <a:pt x="177622" y="514259"/>
                </a:lnTo>
                <a:lnTo>
                  <a:pt x="208072" y="516514"/>
                </a:lnTo>
                <a:lnTo>
                  <a:pt x="237393" y="500161"/>
                </a:lnTo>
                <a:lnTo>
                  <a:pt x="259949" y="460690"/>
                </a:lnTo>
                <a:lnTo>
                  <a:pt x="275737" y="446593"/>
                </a:lnTo>
                <a:lnTo>
                  <a:pt x="295473" y="440390"/>
                </a:lnTo>
                <a:lnTo>
                  <a:pt x="295473" y="431368"/>
                </a:lnTo>
                <a:lnTo>
                  <a:pt x="283632" y="421218"/>
                </a:lnTo>
                <a:lnTo>
                  <a:pt x="283068" y="400355"/>
                </a:lnTo>
                <a:lnTo>
                  <a:pt x="276301" y="386258"/>
                </a:lnTo>
                <a:lnTo>
                  <a:pt x="265024" y="388513"/>
                </a:lnTo>
                <a:lnTo>
                  <a:pt x="267843" y="374980"/>
                </a:lnTo>
                <a:lnTo>
                  <a:pt x="275737" y="360319"/>
                </a:lnTo>
                <a:lnTo>
                  <a:pt x="271791" y="345094"/>
                </a:lnTo>
                <a:lnTo>
                  <a:pt x="281940" y="334381"/>
                </a:lnTo>
                <a:lnTo>
                  <a:pt x="275174" y="325923"/>
                </a:lnTo>
                <a:lnTo>
                  <a:pt x="283068" y="303931"/>
                </a:lnTo>
                <a:lnTo>
                  <a:pt x="296601" y="277429"/>
                </a:lnTo>
                <a:lnTo>
                  <a:pt x="323667" y="279684"/>
                </a:lnTo>
                <a:lnTo>
                  <a:pt x="317465" y="137587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2" name="Freeform: Shape 385">
            <a:extLst>
              <a:ext uri="{FF2B5EF4-FFF2-40B4-BE49-F238E27FC236}">
                <a16:creationId xmlns:a16="http://schemas.microsoft.com/office/drawing/2014/main" id="{83B951DE-95D3-4E32-88BC-01A2AAB975DD}"/>
              </a:ext>
            </a:extLst>
          </p:cNvPr>
          <p:cNvSpPr/>
          <p:nvPr/>
        </p:nvSpPr>
        <p:spPr>
          <a:xfrm>
            <a:off x="5841485" y="3827496"/>
            <a:ext cx="42138" cy="134842"/>
          </a:xfrm>
          <a:custGeom>
            <a:avLst/>
            <a:gdLst>
              <a:gd name="connsiteX0" fmla="*/ 29886 w 56388"/>
              <a:gd name="connsiteY0" fmla="*/ 564 h 180441"/>
              <a:gd name="connsiteX1" fmla="*/ 2255 w 56388"/>
              <a:gd name="connsiteY1" fmla="*/ 0 h 180441"/>
              <a:gd name="connsiteX2" fmla="*/ 0 w 56388"/>
              <a:gd name="connsiteY2" fmla="*/ 10714 h 180441"/>
              <a:gd name="connsiteX3" fmla="*/ 13533 w 56388"/>
              <a:gd name="connsiteY3" fmla="*/ 29322 h 180441"/>
              <a:gd name="connsiteX4" fmla="*/ 12969 w 56388"/>
              <a:gd name="connsiteY4" fmla="*/ 55260 h 180441"/>
              <a:gd name="connsiteX5" fmla="*/ 16352 w 56388"/>
              <a:gd name="connsiteY5" fmla="*/ 84018 h 180441"/>
              <a:gd name="connsiteX6" fmla="*/ 24247 w 56388"/>
              <a:gd name="connsiteY6" fmla="*/ 96987 h 180441"/>
              <a:gd name="connsiteX7" fmla="*/ 17480 w 56388"/>
              <a:gd name="connsiteY7" fmla="*/ 129128 h 180441"/>
              <a:gd name="connsiteX8" fmla="*/ 19736 w 56388"/>
              <a:gd name="connsiteY8" fmla="*/ 147173 h 180441"/>
              <a:gd name="connsiteX9" fmla="*/ 28194 w 56388"/>
              <a:gd name="connsiteY9" fmla="*/ 169728 h 180441"/>
              <a:gd name="connsiteX10" fmla="*/ 34960 w 56388"/>
              <a:gd name="connsiteY10" fmla="*/ 182133 h 180441"/>
              <a:gd name="connsiteX11" fmla="*/ 60899 w 56388"/>
              <a:gd name="connsiteY11" fmla="*/ 174803 h 180441"/>
              <a:gd name="connsiteX12" fmla="*/ 53005 w 56388"/>
              <a:gd name="connsiteY12" fmla="*/ 149992 h 180441"/>
              <a:gd name="connsiteX13" fmla="*/ 54132 w 56388"/>
              <a:gd name="connsiteY13" fmla="*/ 67665 h 180441"/>
              <a:gd name="connsiteX14" fmla="*/ 47930 w 56388"/>
              <a:gd name="connsiteY14" fmla="*/ 60335 h 180441"/>
              <a:gd name="connsiteX15" fmla="*/ 46802 w 56388"/>
              <a:gd name="connsiteY15" fmla="*/ 42855 h 180441"/>
              <a:gd name="connsiteX16" fmla="*/ 35524 w 56388"/>
              <a:gd name="connsiteY16" fmla="*/ 29886 h 180441"/>
              <a:gd name="connsiteX17" fmla="*/ 25938 w 56388"/>
              <a:gd name="connsiteY17" fmla="*/ 19172 h 180441"/>
              <a:gd name="connsiteX18" fmla="*/ 29886 w 56388"/>
              <a:gd name="connsiteY18" fmla="*/ 564 h 180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56388" h="180441">
                <a:moveTo>
                  <a:pt x="29886" y="564"/>
                </a:moveTo>
                <a:lnTo>
                  <a:pt x="2255" y="0"/>
                </a:lnTo>
                <a:lnTo>
                  <a:pt x="0" y="10714"/>
                </a:lnTo>
                <a:lnTo>
                  <a:pt x="13533" y="29322"/>
                </a:lnTo>
                <a:lnTo>
                  <a:pt x="12969" y="55260"/>
                </a:lnTo>
                <a:lnTo>
                  <a:pt x="16352" y="84018"/>
                </a:lnTo>
                <a:lnTo>
                  <a:pt x="24247" y="96987"/>
                </a:lnTo>
                <a:lnTo>
                  <a:pt x="17480" y="129128"/>
                </a:lnTo>
                <a:lnTo>
                  <a:pt x="19736" y="147173"/>
                </a:lnTo>
                <a:lnTo>
                  <a:pt x="28194" y="169728"/>
                </a:lnTo>
                <a:lnTo>
                  <a:pt x="34960" y="182133"/>
                </a:lnTo>
                <a:lnTo>
                  <a:pt x="60899" y="174803"/>
                </a:lnTo>
                <a:lnTo>
                  <a:pt x="53005" y="149992"/>
                </a:lnTo>
                <a:lnTo>
                  <a:pt x="54132" y="67665"/>
                </a:lnTo>
                <a:lnTo>
                  <a:pt x="47930" y="60335"/>
                </a:lnTo>
                <a:lnTo>
                  <a:pt x="46802" y="42855"/>
                </a:lnTo>
                <a:lnTo>
                  <a:pt x="35524" y="29886"/>
                </a:lnTo>
                <a:lnTo>
                  <a:pt x="25938" y="19172"/>
                </a:lnTo>
                <a:lnTo>
                  <a:pt x="29886" y="564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3" name="Freeform: Shape 386">
            <a:extLst>
              <a:ext uri="{FF2B5EF4-FFF2-40B4-BE49-F238E27FC236}">
                <a16:creationId xmlns:a16="http://schemas.microsoft.com/office/drawing/2014/main" id="{06711CE9-3515-405D-B99D-0E781E0EF808}"/>
              </a:ext>
            </a:extLst>
          </p:cNvPr>
          <p:cNvSpPr/>
          <p:nvPr/>
        </p:nvSpPr>
        <p:spPr>
          <a:xfrm>
            <a:off x="8113559" y="3575511"/>
            <a:ext cx="202261" cy="391882"/>
          </a:xfrm>
          <a:custGeom>
            <a:avLst/>
            <a:gdLst>
              <a:gd name="connsiteX0" fmla="*/ 265587 w 270662"/>
              <a:gd name="connsiteY0" fmla="*/ 220477 h 524408"/>
              <a:gd name="connsiteX1" fmla="*/ 274046 w 270662"/>
              <a:gd name="connsiteY1" fmla="*/ 204125 h 524408"/>
              <a:gd name="connsiteX2" fmla="*/ 271226 w 270662"/>
              <a:gd name="connsiteY2" fmla="*/ 173675 h 524408"/>
              <a:gd name="connsiteX3" fmla="*/ 241905 w 270662"/>
              <a:gd name="connsiteY3" fmla="*/ 142662 h 524408"/>
              <a:gd name="connsiteX4" fmla="*/ 234574 w 270662"/>
              <a:gd name="connsiteY4" fmla="*/ 107137 h 524408"/>
              <a:gd name="connsiteX5" fmla="*/ 206944 w 270662"/>
              <a:gd name="connsiteY5" fmla="*/ 77816 h 524408"/>
              <a:gd name="connsiteX6" fmla="*/ 182697 w 270662"/>
              <a:gd name="connsiteY6" fmla="*/ 75560 h 524408"/>
              <a:gd name="connsiteX7" fmla="*/ 178186 w 270662"/>
              <a:gd name="connsiteY7" fmla="*/ 87965 h 524408"/>
              <a:gd name="connsiteX8" fmla="*/ 160142 w 270662"/>
              <a:gd name="connsiteY8" fmla="*/ 89093 h 524408"/>
              <a:gd name="connsiteX9" fmla="*/ 149992 w 270662"/>
              <a:gd name="connsiteY9" fmla="*/ 82327 h 524408"/>
              <a:gd name="connsiteX10" fmla="*/ 120107 w 270662"/>
              <a:gd name="connsiteY10" fmla="*/ 103754 h 524408"/>
              <a:gd name="connsiteX11" fmla="*/ 114468 w 270662"/>
              <a:gd name="connsiteY11" fmla="*/ 71613 h 524408"/>
              <a:gd name="connsiteX12" fmla="*/ 116724 w 270662"/>
              <a:gd name="connsiteY12" fmla="*/ 33833 h 524408"/>
              <a:gd name="connsiteX13" fmla="*/ 95296 w 270662"/>
              <a:gd name="connsiteY13" fmla="*/ 32141 h 524408"/>
              <a:gd name="connsiteX14" fmla="*/ 90221 w 270662"/>
              <a:gd name="connsiteY14" fmla="*/ 10714 h 524408"/>
              <a:gd name="connsiteX15" fmla="*/ 75560 w 270662"/>
              <a:gd name="connsiteY15" fmla="*/ 0 h 524408"/>
              <a:gd name="connsiteX16" fmla="*/ 58644 w 270662"/>
              <a:gd name="connsiteY16" fmla="*/ 7894 h 524408"/>
              <a:gd name="connsiteX17" fmla="*/ 42855 w 270662"/>
              <a:gd name="connsiteY17" fmla="*/ 23683 h 524408"/>
              <a:gd name="connsiteX18" fmla="*/ 20864 w 270662"/>
              <a:gd name="connsiteY18" fmla="*/ 25375 h 524408"/>
              <a:gd name="connsiteX19" fmla="*/ 12406 w 270662"/>
              <a:gd name="connsiteY19" fmla="*/ 64282 h 524408"/>
              <a:gd name="connsiteX20" fmla="*/ 0 w 270662"/>
              <a:gd name="connsiteY20" fmla="*/ 70485 h 524408"/>
              <a:gd name="connsiteX21" fmla="*/ 19736 w 270662"/>
              <a:gd name="connsiteY21" fmla="*/ 102062 h 524408"/>
              <a:gd name="connsiteX22" fmla="*/ 42855 w 270662"/>
              <a:gd name="connsiteY22" fmla="*/ 128001 h 524408"/>
              <a:gd name="connsiteX23" fmla="*/ 59207 w 270662"/>
              <a:gd name="connsiteY23" fmla="*/ 151684 h 524408"/>
              <a:gd name="connsiteX24" fmla="*/ 51313 w 270662"/>
              <a:gd name="connsiteY24" fmla="*/ 183261 h 524408"/>
              <a:gd name="connsiteX25" fmla="*/ 41727 w 270662"/>
              <a:gd name="connsiteY25" fmla="*/ 189464 h 524408"/>
              <a:gd name="connsiteX26" fmla="*/ 51313 w 270662"/>
              <a:gd name="connsiteY26" fmla="*/ 207508 h 524408"/>
              <a:gd name="connsiteX27" fmla="*/ 74996 w 270662"/>
              <a:gd name="connsiteY27" fmla="*/ 236266 h 524408"/>
              <a:gd name="connsiteX28" fmla="*/ 80635 w 270662"/>
              <a:gd name="connsiteY28" fmla="*/ 256002 h 524408"/>
              <a:gd name="connsiteX29" fmla="*/ 81763 w 270662"/>
              <a:gd name="connsiteY29" fmla="*/ 272918 h 524408"/>
              <a:gd name="connsiteX30" fmla="*/ 97552 w 270662"/>
              <a:gd name="connsiteY30" fmla="*/ 305623 h 524408"/>
              <a:gd name="connsiteX31" fmla="*/ 82891 w 270662"/>
              <a:gd name="connsiteY31" fmla="*/ 338892 h 524408"/>
              <a:gd name="connsiteX32" fmla="*/ 70485 w 270662"/>
              <a:gd name="connsiteY32" fmla="*/ 376108 h 524408"/>
              <a:gd name="connsiteX33" fmla="*/ 63155 w 270662"/>
              <a:gd name="connsiteY33" fmla="*/ 410505 h 524408"/>
              <a:gd name="connsiteX34" fmla="*/ 61463 w 270662"/>
              <a:gd name="connsiteY34" fmla="*/ 432496 h 524408"/>
              <a:gd name="connsiteX35" fmla="*/ 68229 w 270662"/>
              <a:gd name="connsiteY35" fmla="*/ 452796 h 524408"/>
              <a:gd name="connsiteX36" fmla="*/ 72177 w 270662"/>
              <a:gd name="connsiteY36" fmla="*/ 431368 h 524408"/>
              <a:gd name="connsiteX37" fmla="*/ 88530 w 270662"/>
              <a:gd name="connsiteY37" fmla="*/ 448849 h 524408"/>
              <a:gd name="connsiteX38" fmla="*/ 106573 w 270662"/>
              <a:gd name="connsiteY38" fmla="*/ 468585 h 524408"/>
              <a:gd name="connsiteX39" fmla="*/ 112776 w 270662"/>
              <a:gd name="connsiteY39" fmla="*/ 486628 h 524408"/>
              <a:gd name="connsiteX40" fmla="*/ 126309 w 270662"/>
              <a:gd name="connsiteY40" fmla="*/ 500162 h 524408"/>
              <a:gd name="connsiteX41" fmla="*/ 131384 w 270662"/>
              <a:gd name="connsiteY41" fmla="*/ 493959 h 524408"/>
              <a:gd name="connsiteX42" fmla="*/ 157886 w 270662"/>
              <a:gd name="connsiteY42" fmla="*/ 509748 h 524408"/>
              <a:gd name="connsiteX43" fmla="*/ 161270 w 270662"/>
              <a:gd name="connsiteY43" fmla="*/ 528356 h 524408"/>
              <a:gd name="connsiteX44" fmla="*/ 182134 w 270662"/>
              <a:gd name="connsiteY44" fmla="*/ 523845 h 524408"/>
              <a:gd name="connsiteX45" fmla="*/ 191719 w 270662"/>
              <a:gd name="connsiteY45" fmla="*/ 509184 h 524408"/>
              <a:gd name="connsiteX46" fmla="*/ 174239 w 270662"/>
              <a:gd name="connsiteY46" fmla="*/ 490576 h 524408"/>
              <a:gd name="connsiteX47" fmla="*/ 155067 w 270662"/>
              <a:gd name="connsiteY47" fmla="*/ 486065 h 524408"/>
              <a:gd name="connsiteX48" fmla="*/ 136459 w 270662"/>
              <a:gd name="connsiteY48" fmla="*/ 465765 h 524408"/>
              <a:gd name="connsiteX49" fmla="*/ 128565 w 270662"/>
              <a:gd name="connsiteY49" fmla="*/ 434752 h 524408"/>
              <a:gd name="connsiteX50" fmla="*/ 113904 w 270662"/>
              <a:gd name="connsiteY50" fmla="*/ 402046 h 524408"/>
              <a:gd name="connsiteX51" fmla="*/ 93040 w 270662"/>
              <a:gd name="connsiteY51" fmla="*/ 400919 h 524408"/>
              <a:gd name="connsiteX52" fmla="*/ 89093 w 270662"/>
              <a:gd name="connsiteY52" fmla="*/ 374980 h 524408"/>
              <a:gd name="connsiteX53" fmla="*/ 96988 w 270662"/>
              <a:gd name="connsiteY53" fmla="*/ 343403 h 524408"/>
              <a:gd name="connsiteX54" fmla="*/ 109393 w 270662"/>
              <a:gd name="connsiteY54" fmla="*/ 290962 h 524408"/>
              <a:gd name="connsiteX55" fmla="*/ 108265 w 270662"/>
              <a:gd name="connsiteY55" fmla="*/ 251491 h 524408"/>
              <a:gd name="connsiteX56" fmla="*/ 135895 w 270662"/>
              <a:gd name="connsiteY56" fmla="*/ 250927 h 524408"/>
              <a:gd name="connsiteX57" fmla="*/ 134204 w 270662"/>
              <a:gd name="connsiteY57" fmla="*/ 279121 h 524408"/>
              <a:gd name="connsiteX58" fmla="*/ 160706 w 270662"/>
              <a:gd name="connsiteY58" fmla="*/ 278557 h 524408"/>
              <a:gd name="connsiteX59" fmla="*/ 190592 w 270662"/>
              <a:gd name="connsiteY59" fmla="*/ 294909 h 524408"/>
              <a:gd name="connsiteX60" fmla="*/ 178750 w 270662"/>
              <a:gd name="connsiteY60" fmla="*/ 251491 h 524408"/>
              <a:gd name="connsiteX61" fmla="*/ 195667 w 270662"/>
              <a:gd name="connsiteY61" fmla="*/ 222169 h 524408"/>
              <a:gd name="connsiteX62" fmla="*/ 235702 w 270662"/>
              <a:gd name="connsiteY62" fmla="*/ 214838 h 524408"/>
              <a:gd name="connsiteX63" fmla="*/ 265587 w 270662"/>
              <a:gd name="connsiteY63" fmla="*/ 220477 h 5244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</a:cxnLst>
            <a:rect l="l" t="t" r="r" b="b"/>
            <a:pathLst>
              <a:path w="270662" h="524408">
                <a:moveTo>
                  <a:pt x="265587" y="220477"/>
                </a:moveTo>
                <a:lnTo>
                  <a:pt x="274046" y="204125"/>
                </a:lnTo>
                <a:lnTo>
                  <a:pt x="271226" y="173675"/>
                </a:lnTo>
                <a:lnTo>
                  <a:pt x="241905" y="142662"/>
                </a:lnTo>
                <a:lnTo>
                  <a:pt x="234574" y="107137"/>
                </a:lnTo>
                <a:lnTo>
                  <a:pt x="206944" y="77816"/>
                </a:lnTo>
                <a:lnTo>
                  <a:pt x="182697" y="75560"/>
                </a:lnTo>
                <a:lnTo>
                  <a:pt x="178186" y="87965"/>
                </a:lnTo>
                <a:lnTo>
                  <a:pt x="160142" y="89093"/>
                </a:lnTo>
                <a:lnTo>
                  <a:pt x="149992" y="82327"/>
                </a:lnTo>
                <a:lnTo>
                  <a:pt x="120107" y="103754"/>
                </a:lnTo>
                <a:lnTo>
                  <a:pt x="114468" y="71613"/>
                </a:lnTo>
                <a:lnTo>
                  <a:pt x="116724" y="33833"/>
                </a:lnTo>
                <a:lnTo>
                  <a:pt x="95296" y="32141"/>
                </a:lnTo>
                <a:lnTo>
                  <a:pt x="90221" y="10714"/>
                </a:lnTo>
                <a:lnTo>
                  <a:pt x="75560" y="0"/>
                </a:lnTo>
                <a:lnTo>
                  <a:pt x="58644" y="7894"/>
                </a:lnTo>
                <a:lnTo>
                  <a:pt x="42855" y="23683"/>
                </a:lnTo>
                <a:lnTo>
                  <a:pt x="20864" y="25375"/>
                </a:lnTo>
                <a:lnTo>
                  <a:pt x="12406" y="64282"/>
                </a:lnTo>
                <a:lnTo>
                  <a:pt x="0" y="70485"/>
                </a:lnTo>
                <a:lnTo>
                  <a:pt x="19736" y="102062"/>
                </a:lnTo>
                <a:lnTo>
                  <a:pt x="42855" y="128001"/>
                </a:lnTo>
                <a:lnTo>
                  <a:pt x="59207" y="151684"/>
                </a:lnTo>
                <a:lnTo>
                  <a:pt x="51313" y="183261"/>
                </a:lnTo>
                <a:lnTo>
                  <a:pt x="41727" y="189464"/>
                </a:lnTo>
                <a:lnTo>
                  <a:pt x="51313" y="207508"/>
                </a:lnTo>
                <a:lnTo>
                  <a:pt x="74996" y="236266"/>
                </a:lnTo>
                <a:lnTo>
                  <a:pt x="80635" y="256002"/>
                </a:lnTo>
                <a:lnTo>
                  <a:pt x="81763" y="272918"/>
                </a:lnTo>
                <a:lnTo>
                  <a:pt x="97552" y="305623"/>
                </a:lnTo>
                <a:lnTo>
                  <a:pt x="82891" y="338892"/>
                </a:lnTo>
                <a:lnTo>
                  <a:pt x="70485" y="376108"/>
                </a:lnTo>
                <a:lnTo>
                  <a:pt x="63155" y="410505"/>
                </a:lnTo>
                <a:lnTo>
                  <a:pt x="61463" y="432496"/>
                </a:lnTo>
                <a:lnTo>
                  <a:pt x="68229" y="452796"/>
                </a:lnTo>
                <a:lnTo>
                  <a:pt x="72177" y="431368"/>
                </a:lnTo>
                <a:lnTo>
                  <a:pt x="88530" y="448849"/>
                </a:lnTo>
                <a:lnTo>
                  <a:pt x="106573" y="468585"/>
                </a:lnTo>
                <a:lnTo>
                  <a:pt x="112776" y="486628"/>
                </a:lnTo>
                <a:lnTo>
                  <a:pt x="126309" y="500162"/>
                </a:lnTo>
                <a:lnTo>
                  <a:pt x="131384" y="493959"/>
                </a:lnTo>
                <a:lnTo>
                  <a:pt x="157886" y="509748"/>
                </a:lnTo>
                <a:lnTo>
                  <a:pt x="161270" y="528356"/>
                </a:lnTo>
                <a:lnTo>
                  <a:pt x="182134" y="523845"/>
                </a:lnTo>
                <a:lnTo>
                  <a:pt x="191719" y="509184"/>
                </a:lnTo>
                <a:lnTo>
                  <a:pt x="174239" y="490576"/>
                </a:lnTo>
                <a:lnTo>
                  <a:pt x="155067" y="486065"/>
                </a:lnTo>
                <a:lnTo>
                  <a:pt x="136459" y="465765"/>
                </a:lnTo>
                <a:lnTo>
                  <a:pt x="128565" y="434752"/>
                </a:lnTo>
                <a:lnTo>
                  <a:pt x="113904" y="402046"/>
                </a:lnTo>
                <a:lnTo>
                  <a:pt x="93040" y="400919"/>
                </a:lnTo>
                <a:lnTo>
                  <a:pt x="89093" y="374980"/>
                </a:lnTo>
                <a:lnTo>
                  <a:pt x="96988" y="343403"/>
                </a:lnTo>
                <a:lnTo>
                  <a:pt x="109393" y="290962"/>
                </a:lnTo>
                <a:lnTo>
                  <a:pt x="108265" y="251491"/>
                </a:lnTo>
                <a:lnTo>
                  <a:pt x="135895" y="250927"/>
                </a:lnTo>
                <a:lnTo>
                  <a:pt x="134204" y="279121"/>
                </a:lnTo>
                <a:lnTo>
                  <a:pt x="160706" y="278557"/>
                </a:lnTo>
                <a:lnTo>
                  <a:pt x="190592" y="294909"/>
                </a:lnTo>
                <a:lnTo>
                  <a:pt x="178750" y="251491"/>
                </a:lnTo>
                <a:lnTo>
                  <a:pt x="195667" y="222169"/>
                </a:lnTo>
                <a:lnTo>
                  <a:pt x="235702" y="214838"/>
                </a:lnTo>
                <a:lnTo>
                  <a:pt x="265587" y="220477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4" name="Freeform: Shape 387">
            <a:extLst>
              <a:ext uri="{FF2B5EF4-FFF2-40B4-BE49-F238E27FC236}">
                <a16:creationId xmlns:a16="http://schemas.microsoft.com/office/drawing/2014/main" id="{5D5D79F8-796E-401E-85EE-6F045D62E37A}"/>
              </a:ext>
            </a:extLst>
          </p:cNvPr>
          <p:cNvSpPr/>
          <p:nvPr/>
        </p:nvSpPr>
        <p:spPr>
          <a:xfrm>
            <a:off x="7320946" y="3023085"/>
            <a:ext cx="176979" cy="113772"/>
          </a:xfrm>
          <a:custGeom>
            <a:avLst/>
            <a:gdLst>
              <a:gd name="connsiteX0" fmla="*/ 93604 w 236829"/>
              <a:gd name="connsiteY0" fmla="*/ 25375 h 152247"/>
              <a:gd name="connsiteX1" fmla="*/ 81763 w 236829"/>
              <a:gd name="connsiteY1" fmla="*/ 26502 h 152247"/>
              <a:gd name="connsiteX2" fmla="*/ 74432 w 236829"/>
              <a:gd name="connsiteY2" fmla="*/ 16352 h 152247"/>
              <a:gd name="connsiteX3" fmla="*/ 75560 w 236829"/>
              <a:gd name="connsiteY3" fmla="*/ 0 h 152247"/>
              <a:gd name="connsiteX4" fmla="*/ 39472 w 236829"/>
              <a:gd name="connsiteY4" fmla="*/ 8458 h 152247"/>
              <a:gd name="connsiteX5" fmla="*/ 36652 w 236829"/>
              <a:gd name="connsiteY5" fmla="*/ 31013 h 152247"/>
              <a:gd name="connsiteX6" fmla="*/ 28194 w 236829"/>
              <a:gd name="connsiteY6" fmla="*/ 50749 h 152247"/>
              <a:gd name="connsiteX7" fmla="*/ 3383 w 236829"/>
              <a:gd name="connsiteY7" fmla="*/ 49057 h 152247"/>
              <a:gd name="connsiteX8" fmla="*/ 0 w 236829"/>
              <a:gd name="connsiteY8" fmla="*/ 64846 h 152247"/>
              <a:gd name="connsiteX9" fmla="*/ 23683 w 236829"/>
              <a:gd name="connsiteY9" fmla="*/ 73868 h 152247"/>
              <a:gd name="connsiteX10" fmla="*/ 37216 w 236829"/>
              <a:gd name="connsiteY10" fmla="*/ 100371 h 152247"/>
              <a:gd name="connsiteX11" fmla="*/ 29886 w 236829"/>
              <a:gd name="connsiteY11" fmla="*/ 137587 h 152247"/>
              <a:gd name="connsiteX12" fmla="*/ 40035 w 236829"/>
              <a:gd name="connsiteY12" fmla="*/ 142098 h 152247"/>
              <a:gd name="connsiteX13" fmla="*/ 58644 w 236829"/>
              <a:gd name="connsiteY13" fmla="*/ 130256 h 152247"/>
              <a:gd name="connsiteX14" fmla="*/ 70485 w 236829"/>
              <a:gd name="connsiteY14" fmla="*/ 137587 h 152247"/>
              <a:gd name="connsiteX15" fmla="*/ 75560 w 236829"/>
              <a:gd name="connsiteY15" fmla="*/ 120670 h 152247"/>
              <a:gd name="connsiteX16" fmla="*/ 93604 w 236829"/>
              <a:gd name="connsiteY16" fmla="*/ 121234 h 152247"/>
              <a:gd name="connsiteX17" fmla="*/ 96987 w 236829"/>
              <a:gd name="connsiteY17" fmla="*/ 116159 h 152247"/>
              <a:gd name="connsiteX18" fmla="*/ 95860 w 236829"/>
              <a:gd name="connsiteY18" fmla="*/ 101498 h 152247"/>
              <a:gd name="connsiteX19" fmla="*/ 105445 w 236829"/>
              <a:gd name="connsiteY19" fmla="*/ 88529 h 152247"/>
              <a:gd name="connsiteX20" fmla="*/ 123490 w 236829"/>
              <a:gd name="connsiteY20" fmla="*/ 96987 h 152247"/>
              <a:gd name="connsiteX21" fmla="*/ 123490 w 236829"/>
              <a:gd name="connsiteY21" fmla="*/ 108265 h 152247"/>
              <a:gd name="connsiteX22" fmla="*/ 132512 w 236829"/>
              <a:gd name="connsiteY22" fmla="*/ 109957 h 152247"/>
              <a:gd name="connsiteX23" fmla="*/ 138151 w 236829"/>
              <a:gd name="connsiteY23" fmla="*/ 140406 h 152247"/>
              <a:gd name="connsiteX24" fmla="*/ 152811 w 236829"/>
              <a:gd name="connsiteY24" fmla="*/ 152248 h 152247"/>
              <a:gd name="connsiteX25" fmla="*/ 161270 w 236829"/>
              <a:gd name="connsiteY25" fmla="*/ 144917 h 152247"/>
              <a:gd name="connsiteX26" fmla="*/ 173111 w 236829"/>
              <a:gd name="connsiteY26" fmla="*/ 140970 h 152247"/>
              <a:gd name="connsiteX27" fmla="*/ 187208 w 236829"/>
              <a:gd name="connsiteY27" fmla="*/ 124617 h 152247"/>
              <a:gd name="connsiteX28" fmla="*/ 208636 w 236829"/>
              <a:gd name="connsiteY28" fmla="*/ 127437 h 152247"/>
              <a:gd name="connsiteX29" fmla="*/ 239085 w 236829"/>
              <a:gd name="connsiteY29" fmla="*/ 127437 h 152247"/>
              <a:gd name="connsiteX30" fmla="*/ 228935 w 236829"/>
              <a:gd name="connsiteY30" fmla="*/ 106573 h 152247"/>
              <a:gd name="connsiteX31" fmla="*/ 225552 w 236829"/>
              <a:gd name="connsiteY31" fmla="*/ 92476 h 152247"/>
              <a:gd name="connsiteX32" fmla="*/ 205816 w 236829"/>
              <a:gd name="connsiteY32" fmla="*/ 84582 h 152247"/>
              <a:gd name="connsiteX33" fmla="*/ 196794 w 236829"/>
              <a:gd name="connsiteY33" fmla="*/ 87965 h 152247"/>
              <a:gd name="connsiteX34" fmla="*/ 179878 w 236829"/>
              <a:gd name="connsiteY34" fmla="*/ 54696 h 152247"/>
              <a:gd name="connsiteX35" fmla="*/ 126309 w 236829"/>
              <a:gd name="connsiteY35" fmla="*/ 59771 h 152247"/>
              <a:gd name="connsiteX36" fmla="*/ 86274 w 236829"/>
              <a:gd name="connsiteY36" fmla="*/ 48494 h 152247"/>
              <a:gd name="connsiteX37" fmla="*/ 55824 w 236829"/>
              <a:gd name="connsiteY37" fmla="*/ 51313 h 152247"/>
              <a:gd name="connsiteX38" fmla="*/ 52441 w 236829"/>
              <a:gd name="connsiteY38" fmla="*/ 30449 h 152247"/>
              <a:gd name="connsiteX39" fmla="*/ 85709 w 236829"/>
              <a:gd name="connsiteY39" fmla="*/ 36652 h 152247"/>
              <a:gd name="connsiteX40" fmla="*/ 93604 w 236829"/>
              <a:gd name="connsiteY40" fmla="*/ 25375 h 1522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236829" h="152247">
                <a:moveTo>
                  <a:pt x="93604" y="25375"/>
                </a:moveTo>
                <a:lnTo>
                  <a:pt x="81763" y="26502"/>
                </a:lnTo>
                <a:lnTo>
                  <a:pt x="74432" y="16352"/>
                </a:lnTo>
                <a:lnTo>
                  <a:pt x="75560" y="0"/>
                </a:lnTo>
                <a:lnTo>
                  <a:pt x="39472" y="8458"/>
                </a:lnTo>
                <a:lnTo>
                  <a:pt x="36652" y="31013"/>
                </a:lnTo>
                <a:lnTo>
                  <a:pt x="28194" y="50749"/>
                </a:lnTo>
                <a:lnTo>
                  <a:pt x="3383" y="49057"/>
                </a:lnTo>
                <a:lnTo>
                  <a:pt x="0" y="64846"/>
                </a:lnTo>
                <a:lnTo>
                  <a:pt x="23683" y="73868"/>
                </a:lnTo>
                <a:lnTo>
                  <a:pt x="37216" y="100371"/>
                </a:lnTo>
                <a:lnTo>
                  <a:pt x="29886" y="137587"/>
                </a:lnTo>
                <a:lnTo>
                  <a:pt x="40035" y="142098"/>
                </a:lnTo>
                <a:lnTo>
                  <a:pt x="58644" y="130256"/>
                </a:lnTo>
                <a:lnTo>
                  <a:pt x="70485" y="137587"/>
                </a:lnTo>
                <a:lnTo>
                  <a:pt x="75560" y="120670"/>
                </a:lnTo>
                <a:lnTo>
                  <a:pt x="93604" y="121234"/>
                </a:lnTo>
                <a:lnTo>
                  <a:pt x="96987" y="116159"/>
                </a:lnTo>
                <a:lnTo>
                  <a:pt x="95860" y="101498"/>
                </a:lnTo>
                <a:lnTo>
                  <a:pt x="105445" y="88529"/>
                </a:lnTo>
                <a:lnTo>
                  <a:pt x="123490" y="96987"/>
                </a:lnTo>
                <a:lnTo>
                  <a:pt x="123490" y="108265"/>
                </a:lnTo>
                <a:lnTo>
                  <a:pt x="132512" y="109957"/>
                </a:lnTo>
                <a:lnTo>
                  <a:pt x="138151" y="140406"/>
                </a:lnTo>
                <a:lnTo>
                  <a:pt x="152811" y="152248"/>
                </a:lnTo>
                <a:lnTo>
                  <a:pt x="161270" y="144917"/>
                </a:lnTo>
                <a:lnTo>
                  <a:pt x="173111" y="140970"/>
                </a:lnTo>
                <a:lnTo>
                  <a:pt x="187208" y="124617"/>
                </a:lnTo>
                <a:lnTo>
                  <a:pt x="208636" y="127437"/>
                </a:lnTo>
                <a:lnTo>
                  <a:pt x="239085" y="127437"/>
                </a:lnTo>
                <a:lnTo>
                  <a:pt x="228935" y="106573"/>
                </a:lnTo>
                <a:lnTo>
                  <a:pt x="225552" y="92476"/>
                </a:lnTo>
                <a:lnTo>
                  <a:pt x="205816" y="84582"/>
                </a:lnTo>
                <a:lnTo>
                  <a:pt x="196794" y="87965"/>
                </a:lnTo>
                <a:lnTo>
                  <a:pt x="179878" y="54696"/>
                </a:lnTo>
                <a:lnTo>
                  <a:pt x="126309" y="59771"/>
                </a:lnTo>
                <a:lnTo>
                  <a:pt x="86274" y="48494"/>
                </a:lnTo>
                <a:lnTo>
                  <a:pt x="55824" y="51313"/>
                </a:lnTo>
                <a:lnTo>
                  <a:pt x="52441" y="30449"/>
                </a:lnTo>
                <a:lnTo>
                  <a:pt x="85709" y="36652"/>
                </a:lnTo>
                <a:lnTo>
                  <a:pt x="93604" y="25375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5" name="Freeform: Shape 388">
            <a:extLst>
              <a:ext uri="{FF2B5EF4-FFF2-40B4-BE49-F238E27FC236}">
                <a16:creationId xmlns:a16="http://schemas.microsoft.com/office/drawing/2014/main" id="{7431B25C-E2C3-4B76-8407-C60D5AE22B54}"/>
              </a:ext>
            </a:extLst>
          </p:cNvPr>
          <p:cNvSpPr/>
          <p:nvPr/>
        </p:nvSpPr>
        <p:spPr>
          <a:xfrm>
            <a:off x="6977944" y="2976310"/>
            <a:ext cx="332889" cy="198049"/>
          </a:xfrm>
          <a:custGeom>
            <a:avLst/>
            <a:gdLst>
              <a:gd name="connsiteX0" fmla="*/ 448285 w 445465"/>
              <a:gd name="connsiteY0" fmla="*/ 192283 h 265023"/>
              <a:gd name="connsiteX1" fmla="*/ 443774 w 445465"/>
              <a:gd name="connsiteY1" fmla="*/ 169728 h 265023"/>
              <a:gd name="connsiteX2" fmla="*/ 400355 w 445465"/>
              <a:gd name="connsiteY2" fmla="*/ 154503 h 265023"/>
              <a:gd name="connsiteX3" fmla="*/ 365395 w 445465"/>
              <a:gd name="connsiteY3" fmla="*/ 136459 h 265023"/>
              <a:gd name="connsiteX4" fmla="*/ 341711 w 445465"/>
              <a:gd name="connsiteY4" fmla="*/ 119542 h 265023"/>
              <a:gd name="connsiteX5" fmla="*/ 302240 w 445465"/>
              <a:gd name="connsiteY5" fmla="*/ 94732 h 265023"/>
              <a:gd name="connsiteX6" fmla="*/ 277993 w 445465"/>
              <a:gd name="connsiteY6" fmla="*/ 58643 h 265023"/>
              <a:gd name="connsiteX7" fmla="*/ 266716 w 445465"/>
              <a:gd name="connsiteY7" fmla="*/ 51877 h 265023"/>
              <a:gd name="connsiteX8" fmla="*/ 235702 w 445465"/>
              <a:gd name="connsiteY8" fmla="*/ 53569 h 265023"/>
              <a:gd name="connsiteX9" fmla="*/ 222733 w 445465"/>
              <a:gd name="connsiteY9" fmla="*/ 46238 h 265023"/>
              <a:gd name="connsiteX10" fmla="*/ 212019 w 445465"/>
              <a:gd name="connsiteY10" fmla="*/ 18608 h 265023"/>
              <a:gd name="connsiteX11" fmla="*/ 168037 w 445465"/>
              <a:gd name="connsiteY11" fmla="*/ 0 h 265023"/>
              <a:gd name="connsiteX12" fmla="*/ 149428 w 445465"/>
              <a:gd name="connsiteY12" fmla="*/ 20300 h 265023"/>
              <a:gd name="connsiteX13" fmla="*/ 128001 w 445465"/>
              <a:gd name="connsiteY13" fmla="*/ 32705 h 265023"/>
              <a:gd name="connsiteX14" fmla="*/ 137023 w 445465"/>
              <a:gd name="connsiteY14" fmla="*/ 50185 h 265023"/>
              <a:gd name="connsiteX15" fmla="*/ 104318 w 445465"/>
              <a:gd name="connsiteY15" fmla="*/ 50749 h 265023"/>
              <a:gd name="connsiteX16" fmla="*/ 90221 w 445465"/>
              <a:gd name="connsiteY16" fmla="*/ 52441 h 265023"/>
              <a:gd name="connsiteX17" fmla="*/ 62591 w 445465"/>
              <a:gd name="connsiteY17" fmla="*/ 24811 h 265023"/>
              <a:gd name="connsiteX18" fmla="*/ 41164 w 445465"/>
              <a:gd name="connsiteY18" fmla="*/ 15225 h 265023"/>
              <a:gd name="connsiteX19" fmla="*/ 10150 w 445465"/>
              <a:gd name="connsiteY19" fmla="*/ 22555 h 265023"/>
              <a:gd name="connsiteX20" fmla="*/ 0 w 445465"/>
              <a:gd name="connsiteY20" fmla="*/ 33833 h 265023"/>
              <a:gd name="connsiteX21" fmla="*/ 14097 w 445465"/>
              <a:gd name="connsiteY21" fmla="*/ 56388 h 265023"/>
              <a:gd name="connsiteX22" fmla="*/ 11278 w 445465"/>
              <a:gd name="connsiteY22" fmla="*/ 31013 h 265023"/>
              <a:gd name="connsiteX23" fmla="*/ 32142 w 445465"/>
              <a:gd name="connsiteY23" fmla="*/ 21991 h 265023"/>
              <a:gd name="connsiteX24" fmla="*/ 45674 w 445465"/>
              <a:gd name="connsiteY24" fmla="*/ 42291 h 265023"/>
              <a:gd name="connsiteX25" fmla="*/ 71613 w 445465"/>
              <a:gd name="connsiteY25" fmla="*/ 63154 h 265023"/>
              <a:gd name="connsiteX26" fmla="*/ 49058 w 445465"/>
              <a:gd name="connsiteY26" fmla="*/ 74432 h 265023"/>
              <a:gd name="connsiteX27" fmla="*/ 19172 w 445465"/>
              <a:gd name="connsiteY27" fmla="*/ 65974 h 265023"/>
              <a:gd name="connsiteX28" fmla="*/ 19736 w 445465"/>
              <a:gd name="connsiteY28" fmla="*/ 95296 h 265023"/>
              <a:gd name="connsiteX29" fmla="*/ 39472 w 445465"/>
              <a:gd name="connsiteY29" fmla="*/ 97551 h 265023"/>
              <a:gd name="connsiteX30" fmla="*/ 37216 w 445465"/>
              <a:gd name="connsiteY30" fmla="*/ 122362 h 265023"/>
              <a:gd name="connsiteX31" fmla="*/ 62591 w 445465"/>
              <a:gd name="connsiteY31" fmla="*/ 134203 h 265023"/>
              <a:gd name="connsiteX32" fmla="*/ 66538 w 445465"/>
              <a:gd name="connsiteY32" fmla="*/ 172547 h 265023"/>
              <a:gd name="connsiteX33" fmla="*/ 76688 w 445465"/>
              <a:gd name="connsiteY33" fmla="*/ 197922 h 265023"/>
              <a:gd name="connsiteX34" fmla="*/ 101498 w 445465"/>
              <a:gd name="connsiteY34" fmla="*/ 191155 h 265023"/>
              <a:gd name="connsiteX35" fmla="*/ 118415 w 445465"/>
              <a:gd name="connsiteY35" fmla="*/ 170292 h 265023"/>
              <a:gd name="connsiteX36" fmla="*/ 138151 w 445465"/>
              <a:gd name="connsiteY36" fmla="*/ 171419 h 265023"/>
              <a:gd name="connsiteX37" fmla="*/ 149992 w 445465"/>
              <a:gd name="connsiteY37" fmla="*/ 164653 h 265023"/>
              <a:gd name="connsiteX38" fmla="*/ 171420 w 445465"/>
              <a:gd name="connsiteY38" fmla="*/ 168036 h 265023"/>
              <a:gd name="connsiteX39" fmla="*/ 208072 w 445465"/>
              <a:gd name="connsiteY39" fmla="*/ 186644 h 265023"/>
              <a:gd name="connsiteX40" fmla="*/ 232319 w 445465"/>
              <a:gd name="connsiteY40" fmla="*/ 190591 h 265023"/>
              <a:gd name="connsiteX41" fmla="*/ 273482 w 445465"/>
              <a:gd name="connsiteY41" fmla="*/ 222733 h 265023"/>
              <a:gd name="connsiteX42" fmla="*/ 295473 w 445465"/>
              <a:gd name="connsiteY42" fmla="*/ 223860 h 265023"/>
              <a:gd name="connsiteX43" fmla="*/ 304495 w 445465"/>
              <a:gd name="connsiteY43" fmla="*/ 254874 h 265023"/>
              <a:gd name="connsiteX44" fmla="*/ 337764 w 445465"/>
              <a:gd name="connsiteY44" fmla="*/ 268407 h 265023"/>
              <a:gd name="connsiteX45" fmla="*/ 359756 w 445465"/>
              <a:gd name="connsiteY45" fmla="*/ 263896 h 265023"/>
              <a:gd name="connsiteX46" fmla="*/ 362011 w 445465"/>
              <a:gd name="connsiteY46" fmla="*/ 246979 h 265023"/>
              <a:gd name="connsiteX47" fmla="*/ 384567 w 445465"/>
              <a:gd name="connsiteY47" fmla="*/ 241905 h 265023"/>
              <a:gd name="connsiteX48" fmla="*/ 398664 w 445465"/>
              <a:gd name="connsiteY48" fmla="*/ 230627 h 265023"/>
              <a:gd name="connsiteX49" fmla="*/ 398099 w 445465"/>
              <a:gd name="connsiteY49" fmla="*/ 201305 h 265023"/>
              <a:gd name="connsiteX50" fmla="*/ 421219 w 445465"/>
              <a:gd name="connsiteY50" fmla="*/ 194539 h 265023"/>
              <a:gd name="connsiteX51" fmla="*/ 422910 w 445465"/>
              <a:gd name="connsiteY51" fmla="*/ 181569 h 265023"/>
              <a:gd name="connsiteX52" fmla="*/ 439263 w 445465"/>
              <a:gd name="connsiteY52" fmla="*/ 191155 h 265023"/>
              <a:gd name="connsiteX53" fmla="*/ 448285 w 445465"/>
              <a:gd name="connsiteY53" fmla="*/ 192283 h 2650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445465" h="265023">
                <a:moveTo>
                  <a:pt x="448285" y="192283"/>
                </a:moveTo>
                <a:lnTo>
                  <a:pt x="443774" y="169728"/>
                </a:lnTo>
                <a:lnTo>
                  <a:pt x="400355" y="154503"/>
                </a:lnTo>
                <a:lnTo>
                  <a:pt x="365395" y="136459"/>
                </a:lnTo>
                <a:lnTo>
                  <a:pt x="341711" y="119542"/>
                </a:lnTo>
                <a:lnTo>
                  <a:pt x="302240" y="94732"/>
                </a:lnTo>
                <a:lnTo>
                  <a:pt x="277993" y="58643"/>
                </a:lnTo>
                <a:lnTo>
                  <a:pt x="266716" y="51877"/>
                </a:lnTo>
                <a:lnTo>
                  <a:pt x="235702" y="53569"/>
                </a:lnTo>
                <a:lnTo>
                  <a:pt x="222733" y="46238"/>
                </a:lnTo>
                <a:lnTo>
                  <a:pt x="212019" y="18608"/>
                </a:lnTo>
                <a:lnTo>
                  <a:pt x="168037" y="0"/>
                </a:lnTo>
                <a:lnTo>
                  <a:pt x="149428" y="20300"/>
                </a:lnTo>
                <a:lnTo>
                  <a:pt x="128001" y="32705"/>
                </a:lnTo>
                <a:lnTo>
                  <a:pt x="137023" y="50185"/>
                </a:lnTo>
                <a:lnTo>
                  <a:pt x="104318" y="50749"/>
                </a:lnTo>
                <a:lnTo>
                  <a:pt x="90221" y="52441"/>
                </a:lnTo>
                <a:lnTo>
                  <a:pt x="62591" y="24811"/>
                </a:lnTo>
                <a:lnTo>
                  <a:pt x="41164" y="15225"/>
                </a:lnTo>
                <a:lnTo>
                  <a:pt x="10150" y="22555"/>
                </a:lnTo>
                <a:lnTo>
                  <a:pt x="0" y="33833"/>
                </a:lnTo>
                <a:lnTo>
                  <a:pt x="14097" y="56388"/>
                </a:lnTo>
                <a:lnTo>
                  <a:pt x="11278" y="31013"/>
                </a:lnTo>
                <a:lnTo>
                  <a:pt x="32142" y="21991"/>
                </a:lnTo>
                <a:lnTo>
                  <a:pt x="45674" y="42291"/>
                </a:lnTo>
                <a:lnTo>
                  <a:pt x="71613" y="63154"/>
                </a:lnTo>
                <a:lnTo>
                  <a:pt x="49058" y="74432"/>
                </a:lnTo>
                <a:lnTo>
                  <a:pt x="19172" y="65974"/>
                </a:lnTo>
                <a:lnTo>
                  <a:pt x="19736" y="95296"/>
                </a:lnTo>
                <a:lnTo>
                  <a:pt x="39472" y="97551"/>
                </a:lnTo>
                <a:lnTo>
                  <a:pt x="37216" y="122362"/>
                </a:lnTo>
                <a:lnTo>
                  <a:pt x="62591" y="134203"/>
                </a:lnTo>
                <a:lnTo>
                  <a:pt x="66538" y="172547"/>
                </a:lnTo>
                <a:lnTo>
                  <a:pt x="76688" y="197922"/>
                </a:lnTo>
                <a:lnTo>
                  <a:pt x="101498" y="191155"/>
                </a:lnTo>
                <a:lnTo>
                  <a:pt x="118415" y="170292"/>
                </a:lnTo>
                <a:lnTo>
                  <a:pt x="138151" y="171419"/>
                </a:lnTo>
                <a:lnTo>
                  <a:pt x="149992" y="164653"/>
                </a:lnTo>
                <a:lnTo>
                  <a:pt x="171420" y="168036"/>
                </a:lnTo>
                <a:lnTo>
                  <a:pt x="208072" y="186644"/>
                </a:lnTo>
                <a:lnTo>
                  <a:pt x="232319" y="190591"/>
                </a:lnTo>
                <a:lnTo>
                  <a:pt x="273482" y="222733"/>
                </a:lnTo>
                <a:lnTo>
                  <a:pt x="295473" y="223860"/>
                </a:lnTo>
                <a:lnTo>
                  <a:pt x="304495" y="254874"/>
                </a:lnTo>
                <a:lnTo>
                  <a:pt x="337764" y="268407"/>
                </a:lnTo>
                <a:lnTo>
                  <a:pt x="359756" y="263896"/>
                </a:lnTo>
                <a:lnTo>
                  <a:pt x="362011" y="246979"/>
                </a:lnTo>
                <a:lnTo>
                  <a:pt x="384567" y="241905"/>
                </a:lnTo>
                <a:lnTo>
                  <a:pt x="398664" y="230627"/>
                </a:lnTo>
                <a:lnTo>
                  <a:pt x="398099" y="201305"/>
                </a:lnTo>
                <a:lnTo>
                  <a:pt x="421219" y="194539"/>
                </a:lnTo>
                <a:lnTo>
                  <a:pt x="422910" y="181569"/>
                </a:lnTo>
                <a:lnTo>
                  <a:pt x="439263" y="191155"/>
                </a:lnTo>
                <a:lnTo>
                  <a:pt x="448285" y="192283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6" name="Freeform: Shape 389">
            <a:extLst>
              <a:ext uri="{FF2B5EF4-FFF2-40B4-BE49-F238E27FC236}">
                <a16:creationId xmlns:a16="http://schemas.microsoft.com/office/drawing/2014/main" id="{E9780D8F-3107-4DEF-BB15-6B2CCDBD6498}"/>
              </a:ext>
            </a:extLst>
          </p:cNvPr>
          <p:cNvSpPr/>
          <p:nvPr/>
        </p:nvSpPr>
        <p:spPr>
          <a:xfrm>
            <a:off x="8791136" y="4344528"/>
            <a:ext cx="54779" cy="29497"/>
          </a:xfrm>
          <a:custGeom>
            <a:avLst/>
            <a:gdLst>
              <a:gd name="connsiteX0" fmla="*/ 2256 w 73304"/>
              <a:gd name="connsiteY0" fmla="*/ 40036 h 39471"/>
              <a:gd name="connsiteX1" fmla="*/ 29885 w 73304"/>
              <a:gd name="connsiteY1" fmla="*/ 29886 h 39471"/>
              <a:gd name="connsiteX2" fmla="*/ 63718 w 73304"/>
              <a:gd name="connsiteY2" fmla="*/ 14097 h 39471"/>
              <a:gd name="connsiteX3" fmla="*/ 76124 w 73304"/>
              <a:gd name="connsiteY3" fmla="*/ 4511 h 39471"/>
              <a:gd name="connsiteX4" fmla="*/ 64846 w 73304"/>
              <a:gd name="connsiteY4" fmla="*/ 0 h 39471"/>
              <a:gd name="connsiteX5" fmla="*/ 54696 w 73304"/>
              <a:gd name="connsiteY5" fmla="*/ 4511 h 39471"/>
              <a:gd name="connsiteX6" fmla="*/ 32141 w 73304"/>
              <a:gd name="connsiteY6" fmla="*/ 5639 h 39471"/>
              <a:gd name="connsiteX7" fmla="*/ 4511 w 73304"/>
              <a:gd name="connsiteY7" fmla="*/ 13533 h 39471"/>
              <a:gd name="connsiteX8" fmla="*/ 0 w 73304"/>
              <a:gd name="connsiteY8" fmla="*/ 21991 h 39471"/>
              <a:gd name="connsiteX9" fmla="*/ 2819 w 73304"/>
              <a:gd name="connsiteY9" fmla="*/ 29322 h 39471"/>
              <a:gd name="connsiteX10" fmla="*/ 2256 w 73304"/>
              <a:gd name="connsiteY10" fmla="*/ 40036 h 394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3304" h="39471">
                <a:moveTo>
                  <a:pt x="2256" y="40036"/>
                </a:moveTo>
                <a:lnTo>
                  <a:pt x="29885" y="29886"/>
                </a:lnTo>
                <a:lnTo>
                  <a:pt x="63718" y="14097"/>
                </a:lnTo>
                <a:lnTo>
                  <a:pt x="76124" y="4511"/>
                </a:lnTo>
                <a:lnTo>
                  <a:pt x="64846" y="0"/>
                </a:lnTo>
                <a:lnTo>
                  <a:pt x="54696" y="4511"/>
                </a:lnTo>
                <a:lnTo>
                  <a:pt x="32141" y="5639"/>
                </a:lnTo>
                <a:lnTo>
                  <a:pt x="4511" y="13533"/>
                </a:lnTo>
                <a:lnTo>
                  <a:pt x="0" y="21991"/>
                </a:lnTo>
                <a:lnTo>
                  <a:pt x="2819" y="29322"/>
                </a:lnTo>
                <a:lnTo>
                  <a:pt x="2256" y="40036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7" name="Freeform: Shape 390">
            <a:extLst>
              <a:ext uri="{FF2B5EF4-FFF2-40B4-BE49-F238E27FC236}">
                <a16:creationId xmlns:a16="http://schemas.microsoft.com/office/drawing/2014/main" id="{427EE232-28E8-4B40-B802-1309111A06F8}"/>
              </a:ext>
            </a:extLst>
          </p:cNvPr>
          <p:cNvSpPr/>
          <p:nvPr/>
        </p:nvSpPr>
        <p:spPr>
          <a:xfrm>
            <a:off x="6011301" y="3120422"/>
            <a:ext cx="88490" cy="189620"/>
          </a:xfrm>
          <a:custGeom>
            <a:avLst/>
            <a:gdLst>
              <a:gd name="connsiteX0" fmla="*/ 120106 w 118414"/>
              <a:gd name="connsiteY0" fmla="*/ 152812 h 253746"/>
              <a:gd name="connsiteX1" fmla="*/ 108829 w 118414"/>
              <a:gd name="connsiteY1" fmla="*/ 147173 h 253746"/>
              <a:gd name="connsiteX2" fmla="*/ 100371 w 118414"/>
              <a:gd name="connsiteY2" fmla="*/ 130256 h 253746"/>
              <a:gd name="connsiteX3" fmla="*/ 84582 w 118414"/>
              <a:gd name="connsiteY3" fmla="*/ 129692 h 253746"/>
              <a:gd name="connsiteX4" fmla="*/ 78379 w 118414"/>
              <a:gd name="connsiteY4" fmla="*/ 109957 h 253746"/>
              <a:gd name="connsiteX5" fmla="*/ 97551 w 118414"/>
              <a:gd name="connsiteY5" fmla="*/ 91913 h 253746"/>
              <a:gd name="connsiteX6" fmla="*/ 100371 w 118414"/>
              <a:gd name="connsiteY6" fmla="*/ 60335 h 253746"/>
              <a:gd name="connsiteX7" fmla="*/ 89657 w 118414"/>
              <a:gd name="connsiteY7" fmla="*/ 51313 h 253746"/>
              <a:gd name="connsiteX8" fmla="*/ 89093 w 118414"/>
              <a:gd name="connsiteY8" fmla="*/ 34397 h 253746"/>
              <a:gd name="connsiteX9" fmla="*/ 103190 w 118414"/>
              <a:gd name="connsiteY9" fmla="*/ 16353 h 253746"/>
              <a:gd name="connsiteX10" fmla="*/ 100934 w 118414"/>
              <a:gd name="connsiteY10" fmla="*/ 9022 h 253746"/>
              <a:gd name="connsiteX11" fmla="*/ 76123 w 118414"/>
              <a:gd name="connsiteY11" fmla="*/ 22555 h 253746"/>
              <a:gd name="connsiteX12" fmla="*/ 76688 w 118414"/>
              <a:gd name="connsiteY12" fmla="*/ 3947 h 253746"/>
              <a:gd name="connsiteX13" fmla="*/ 55824 w 118414"/>
              <a:gd name="connsiteY13" fmla="*/ 0 h 253746"/>
              <a:gd name="connsiteX14" fmla="*/ 24247 w 118414"/>
              <a:gd name="connsiteY14" fmla="*/ 14661 h 253746"/>
              <a:gd name="connsiteX15" fmla="*/ 18608 w 118414"/>
              <a:gd name="connsiteY15" fmla="*/ 33269 h 253746"/>
              <a:gd name="connsiteX16" fmla="*/ 24247 w 118414"/>
              <a:gd name="connsiteY16" fmla="*/ 68230 h 253746"/>
              <a:gd name="connsiteX17" fmla="*/ 18044 w 118414"/>
              <a:gd name="connsiteY17" fmla="*/ 98115 h 253746"/>
              <a:gd name="connsiteX18" fmla="*/ 0 w 118414"/>
              <a:gd name="connsiteY18" fmla="*/ 118415 h 253746"/>
              <a:gd name="connsiteX19" fmla="*/ 3383 w 118414"/>
              <a:gd name="connsiteY19" fmla="*/ 145481 h 253746"/>
              <a:gd name="connsiteX20" fmla="*/ 28758 w 118414"/>
              <a:gd name="connsiteY20" fmla="*/ 166909 h 253746"/>
              <a:gd name="connsiteX21" fmla="*/ 28758 w 118414"/>
              <a:gd name="connsiteY21" fmla="*/ 175367 h 253746"/>
              <a:gd name="connsiteX22" fmla="*/ 47929 w 118414"/>
              <a:gd name="connsiteY22" fmla="*/ 190028 h 253746"/>
              <a:gd name="connsiteX23" fmla="*/ 62591 w 118414"/>
              <a:gd name="connsiteY23" fmla="*/ 253746 h 253746"/>
              <a:gd name="connsiteX24" fmla="*/ 77252 w 118414"/>
              <a:gd name="connsiteY24" fmla="*/ 245852 h 253746"/>
              <a:gd name="connsiteX25" fmla="*/ 79507 w 118414"/>
              <a:gd name="connsiteY25" fmla="*/ 230627 h 253746"/>
              <a:gd name="connsiteX26" fmla="*/ 75560 w 118414"/>
              <a:gd name="connsiteY26" fmla="*/ 215966 h 253746"/>
              <a:gd name="connsiteX27" fmla="*/ 96424 w 118414"/>
              <a:gd name="connsiteY27" fmla="*/ 201869 h 253746"/>
              <a:gd name="connsiteX28" fmla="*/ 104882 w 118414"/>
              <a:gd name="connsiteY28" fmla="*/ 190592 h 253746"/>
              <a:gd name="connsiteX29" fmla="*/ 119543 w 118414"/>
              <a:gd name="connsiteY29" fmla="*/ 180442 h 253746"/>
              <a:gd name="connsiteX30" fmla="*/ 120106 w 118414"/>
              <a:gd name="connsiteY30" fmla="*/ 152812 h 253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118414" h="253746">
                <a:moveTo>
                  <a:pt x="120106" y="152812"/>
                </a:moveTo>
                <a:lnTo>
                  <a:pt x="108829" y="147173"/>
                </a:lnTo>
                <a:lnTo>
                  <a:pt x="100371" y="130256"/>
                </a:lnTo>
                <a:lnTo>
                  <a:pt x="84582" y="129692"/>
                </a:lnTo>
                <a:lnTo>
                  <a:pt x="78379" y="109957"/>
                </a:lnTo>
                <a:lnTo>
                  <a:pt x="97551" y="91913"/>
                </a:lnTo>
                <a:lnTo>
                  <a:pt x="100371" y="60335"/>
                </a:lnTo>
                <a:lnTo>
                  <a:pt x="89657" y="51313"/>
                </a:lnTo>
                <a:lnTo>
                  <a:pt x="89093" y="34397"/>
                </a:lnTo>
                <a:lnTo>
                  <a:pt x="103190" y="16353"/>
                </a:lnTo>
                <a:lnTo>
                  <a:pt x="100934" y="9022"/>
                </a:lnTo>
                <a:lnTo>
                  <a:pt x="76123" y="22555"/>
                </a:lnTo>
                <a:lnTo>
                  <a:pt x="76688" y="3947"/>
                </a:lnTo>
                <a:lnTo>
                  <a:pt x="55824" y="0"/>
                </a:lnTo>
                <a:lnTo>
                  <a:pt x="24247" y="14661"/>
                </a:lnTo>
                <a:lnTo>
                  <a:pt x="18608" y="33269"/>
                </a:lnTo>
                <a:lnTo>
                  <a:pt x="24247" y="68230"/>
                </a:lnTo>
                <a:lnTo>
                  <a:pt x="18044" y="98115"/>
                </a:lnTo>
                <a:lnTo>
                  <a:pt x="0" y="118415"/>
                </a:lnTo>
                <a:lnTo>
                  <a:pt x="3383" y="145481"/>
                </a:lnTo>
                <a:lnTo>
                  <a:pt x="28758" y="166909"/>
                </a:lnTo>
                <a:lnTo>
                  <a:pt x="28758" y="175367"/>
                </a:lnTo>
                <a:lnTo>
                  <a:pt x="47929" y="190028"/>
                </a:lnTo>
                <a:lnTo>
                  <a:pt x="62591" y="253746"/>
                </a:lnTo>
                <a:lnTo>
                  <a:pt x="77252" y="245852"/>
                </a:lnTo>
                <a:lnTo>
                  <a:pt x="79507" y="230627"/>
                </a:lnTo>
                <a:lnTo>
                  <a:pt x="75560" y="215966"/>
                </a:lnTo>
                <a:lnTo>
                  <a:pt x="96424" y="201869"/>
                </a:lnTo>
                <a:lnTo>
                  <a:pt x="104882" y="190592"/>
                </a:lnTo>
                <a:lnTo>
                  <a:pt x="119543" y="180442"/>
                </a:lnTo>
                <a:lnTo>
                  <a:pt x="120106" y="152812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8" name="Freeform: Shape 391">
            <a:extLst>
              <a:ext uri="{FF2B5EF4-FFF2-40B4-BE49-F238E27FC236}">
                <a16:creationId xmlns:a16="http://schemas.microsoft.com/office/drawing/2014/main" id="{A1ABFDAC-E26F-4A36-B6E4-6688745A4AF8}"/>
              </a:ext>
            </a:extLst>
          </p:cNvPr>
          <p:cNvSpPr/>
          <p:nvPr/>
        </p:nvSpPr>
        <p:spPr>
          <a:xfrm>
            <a:off x="6407396" y="2992323"/>
            <a:ext cx="425593" cy="168552"/>
          </a:xfrm>
          <a:custGeom>
            <a:avLst/>
            <a:gdLst>
              <a:gd name="connsiteX0" fmla="*/ 315209 w 569518"/>
              <a:gd name="connsiteY0" fmla="*/ 28194 h 225552"/>
              <a:gd name="connsiteX1" fmla="*/ 260513 w 569518"/>
              <a:gd name="connsiteY1" fmla="*/ 3383 h 225552"/>
              <a:gd name="connsiteX2" fmla="*/ 212583 w 569518"/>
              <a:gd name="connsiteY2" fmla="*/ 4511 h 225552"/>
              <a:gd name="connsiteX3" fmla="*/ 180442 w 569518"/>
              <a:gd name="connsiteY3" fmla="*/ 14097 h 225552"/>
              <a:gd name="connsiteX4" fmla="*/ 148864 w 569518"/>
              <a:gd name="connsiteY4" fmla="*/ 36652 h 225552"/>
              <a:gd name="connsiteX5" fmla="*/ 93040 w 569518"/>
              <a:gd name="connsiteY5" fmla="*/ 32141 h 225552"/>
              <a:gd name="connsiteX6" fmla="*/ 84018 w 569518"/>
              <a:gd name="connsiteY6" fmla="*/ 59207 h 225552"/>
              <a:gd name="connsiteX7" fmla="*/ 39472 w 569518"/>
              <a:gd name="connsiteY7" fmla="*/ 60335 h 225552"/>
              <a:gd name="connsiteX8" fmla="*/ 10714 w 569518"/>
              <a:gd name="connsiteY8" fmla="*/ 94732 h 225552"/>
              <a:gd name="connsiteX9" fmla="*/ 31013 w 569518"/>
              <a:gd name="connsiteY9" fmla="*/ 111648 h 225552"/>
              <a:gd name="connsiteX10" fmla="*/ 19736 w 569518"/>
              <a:gd name="connsiteY10" fmla="*/ 139842 h 225552"/>
              <a:gd name="connsiteX11" fmla="*/ 43419 w 569518"/>
              <a:gd name="connsiteY11" fmla="*/ 160142 h 225552"/>
              <a:gd name="connsiteX12" fmla="*/ 64282 w 569518"/>
              <a:gd name="connsiteY12" fmla="*/ 196230 h 225552"/>
              <a:gd name="connsiteX13" fmla="*/ 96988 w 569518"/>
              <a:gd name="connsiteY13" fmla="*/ 195666 h 225552"/>
              <a:gd name="connsiteX14" fmla="*/ 127437 w 569518"/>
              <a:gd name="connsiteY14" fmla="*/ 215402 h 225552"/>
              <a:gd name="connsiteX15" fmla="*/ 147737 w 569518"/>
              <a:gd name="connsiteY15" fmla="*/ 210891 h 225552"/>
              <a:gd name="connsiteX16" fmla="*/ 152812 w 569518"/>
              <a:gd name="connsiteY16" fmla="*/ 195666 h 225552"/>
              <a:gd name="connsiteX17" fmla="*/ 184953 w 569518"/>
              <a:gd name="connsiteY17" fmla="*/ 196794 h 225552"/>
              <a:gd name="connsiteX18" fmla="*/ 210891 w 569518"/>
              <a:gd name="connsiteY18" fmla="*/ 216530 h 225552"/>
              <a:gd name="connsiteX19" fmla="*/ 256002 w 569518"/>
              <a:gd name="connsiteY19" fmla="*/ 212583 h 225552"/>
              <a:gd name="connsiteX20" fmla="*/ 273482 w 569518"/>
              <a:gd name="connsiteY20" fmla="*/ 191719 h 225552"/>
              <a:gd name="connsiteX21" fmla="*/ 299421 w 569518"/>
              <a:gd name="connsiteY21" fmla="*/ 200177 h 225552"/>
              <a:gd name="connsiteX22" fmla="*/ 317465 w 569518"/>
              <a:gd name="connsiteY22" fmla="*/ 196794 h 225552"/>
              <a:gd name="connsiteX23" fmla="*/ 307879 w 569518"/>
              <a:gd name="connsiteY23" fmla="*/ 210327 h 225552"/>
              <a:gd name="connsiteX24" fmla="*/ 320848 w 569518"/>
              <a:gd name="connsiteY24" fmla="*/ 227244 h 225552"/>
              <a:gd name="connsiteX25" fmla="*/ 327615 w 569518"/>
              <a:gd name="connsiteY25" fmla="*/ 219349 h 225552"/>
              <a:gd name="connsiteX26" fmla="*/ 334381 w 569518"/>
              <a:gd name="connsiteY26" fmla="*/ 210891 h 225552"/>
              <a:gd name="connsiteX27" fmla="*/ 333817 w 569518"/>
              <a:gd name="connsiteY27" fmla="*/ 190592 h 225552"/>
              <a:gd name="connsiteX28" fmla="*/ 344531 w 569518"/>
              <a:gd name="connsiteY28" fmla="*/ 197922 h 225552"/>
              <a:gd name="connsiteX29" fmla="*/ 375545 w 569518"/>
              <a:gd name="connsiteY29" fmla="*/ 187772 h 225552"/>
              <a:gd name="connsiteX30" fmla="*/ 392461 w 569518"/>
              <a:gd name="connsiteY30" fmla="*/ 194539 h 225552"/>
              <a:gd name="connsiteX31" fmla="*/ 416707 w 569518"/>
              <a:gd name="connsiteY31" fmla="*/ 194539 h 225552"/>
              <a:gd name="connsiteX32" fmla="*/ 448849 w 569518"/>
              <a:gd name="connsiteY32" fmla="*/ 180442 h 225552"/>
              <a:gd name="connsiteX33" fmla="*/ 464637 w 569518"/>
              <a:gd name="connsiteY33" fmla="*/ 181569 h 225552"/>
              <a:gd name="connsiteX34" fmla="*/ 497906 w 569518"/>
              <a:gd name="connsiteY34" fmla="*/ 175367 h 225552"/>
              <a:gd name="connsiteX35" fmla="*/ 509748 w 569518"/>
              <a:gd name="connsiteY35" fmla="*/ 169728 h 225552"/>
              <a:gd name="connsiteX36" fmla="*/ 544709 w 569518"/>
              <a:gd name="connsiteY36" fmla="*/ 174803 h 225552"/>
              <a:gd name="connsiteX37" fmla="*/ 556550 w 569518"/>
              <a:gd name="connsiteY37" fmla="*/ 183825 h 225552"/>
              <a:gd name="connsiteX38" fmla="*/ 569519 w 569518"/>
              <a:gd name="connsiteY38" fmla="*/ 177622 h 225552"/>
              <a:gd name="connsiteX39" fmla="*/ 569519 w 569518"/>
              <a:gd name="connsiteY39" fmla="*/ 177622 h 225552"/>
              <a:gd name="connsiteX40" fmla="*/ 548656 w 569518"/>
              <a:gd name="connsiteY40" fmla="*/ 148301 h 225552"/>
              <a:gd name="connsiteX41" fmla="*/ 552602 w 569518"/>
              <a:gd name="connsiteY41" fmla="*/ 137023 h 225552"/>
              <a:gd name="connsiteX42" fmla="*/ 536250 w 569518"/>
              <a:gd name="connsiteY42" fmla="*/ 95860 h 225552"/>
              <a:gd name="connsiteX43" fmla="*/ 554858 w 569518"/>
              <a:gd name="connsiteY43" fmla="*/ 85710 h 225552"/>
              <a:gd name="connsiteX44" fmla="*/ 541325 w 569518"/>
              <a:gd name="connsiteY44" fmla="*/ 74996 h 225552"/>
              <a:gd name="connsiteX45" fmla="*/ 517642 w 569518"/>
              <a:gd name="connsiteY45" fmla="*/ 66538 h 225552"/>
              <a:gd name="connsiteX46" fmla="*/ 517642 w 569518"/>
              <a:gd name="connsiteY46" fmla="*/ 49058 h 225552"/>
              <a:gd name="connsiteX47" fmla="*/ 510311 w 569518"/>
              <a:gd name="connsiteY47" fmla="*/ 36652 h 225552"/>
              <a:gd name="connsiteX48" fmla="*/ 478734 w 569518"/>
              <a:gd name="connsiteY48" fmla="*/ 19736 h 225552"/>
              <a:gd name="connsiteX49" fmla="*/ 448285 w 569518"/>
              <a:gd name="connsiteY49" fmla="*/ 21428 h 225552"/>
              <a:gd name="connsiteX50" fmla="*/ 417271 w 569518"/>
              <a:gd name="connsiteY50" fmla="*/ 39472 h 225552"/>
              <a:gd name="connsiteX51" fmla="*/ 391897 w 569518"/>
              <a:gd name="connsiteY51" fmla="*/ 36088 h 225552"/>
              <a:gd name="connsiteX52" fmla="*/ 359192 w 569518"/>
              <a:gd name="connsiteY52" fmla="*/ 41727 h 225552"/>
              <a:gd name="connsiteX53" fmla="*/ 315209 w 569518"/>
              <a:gd name="connsiteY53" fmla="*/ 28194 h 225552"/>
              <a:gd name="connsiteX54" fmla="*/ 35525 w 569518"/>
              <a:gd name="connsiteY54" fmla="*/ 50749 h 225552"/>
              <a:gd name="connsiteX55" fmla="*/ 46802 w 569518"/>
              <a:gd name="connsiteY55" fmla="*/ 40036 h 225552"/>
              <a:gd name="connsiteX56" fmla="*/ 81199 w 569518"/>
              <a:gd name="connsiteY56" fmla="*/ 37780 h 225552"/>
              <a:gd name="connsiteX57" fmla="*/ 85146 w 569518"/>
              <a:gd name="connsiteY57" fmla="*/ 29322 h 225552"/>
              <a:gd name="connsiteX58" fmla="*/ 58644 w 569518"/>
              <a:gd name="connsiteY58" fmla="*/ 18044 h 225552"/>
              <a:gd name="connsiteX59" fmla="*/ 53569 w 569518"/>
              <a:gd name="connsiteY59" fmla="*/ 4511 h 225552"/>
              <a:gd name="connsiteX60" fmla="*/ 28194 w 569518"/>
              <a:gd name="connsiteY60" fmla="*/ 0 h 225552"/>
              <a:gd name="connsiteX61" fmla="*/ 0 w 569518"/>
              <a:gd name="connsiteY61" fmla="*/ 11278 h 225552"/>
              <a:gd name="connsiteX62" fmla="*/ 15225 w 569518"/>
              <a:gd name="connsiteY62" fmla="*/ 20300 h 225552"/>
              <a:gd name="connsiteX63" fmla="*/ 8458 w 569518"/>
              <a:gd name="connsiteY63" fmla="*/ 42291 h 225552"/>
              <a:gd name="connsiteX64" fmla="*/ 2256 w 569518"/>
              <a:gd name="connsiteY64" fmla="*/ 46238 h 225552"/>
              <a:gd name="connsiteX65" fmla="*/ 2819 w 569518"/>
              <a:gd name="connsiteY65" fmla="*/ 53569 h 225552"/>
              <a:gd name="connsiteX66" fmla="*/ 13533 w 569518"/>
              <a:gd name="connsiteY66" fmla="*/ 69921 h 225552"/>
              <a:gd name="connsiteX67" fmla="*/ 35525 w 569518"/>
              <a:gd name="connsiteY67" fmla="*/ 50749 h 2255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</a:cxnLst>
            <a:rect l="l" t="t" r="r" b="b"/>
            <a:pathLst>
              <a:path w="569518" h="225552">
                <a:moveTo>
                  <a:pt x="315209" y="28194"/>
                </a:moveTo>
                <a:lnTo>
                  <a:pt x="260513" y="3383"/>
                </a:lnTo>
                <a:lnTo>
                  <a:pt x="212583" y="4511"/>
                </a:lnTo>
                <a:lnTo>
                  <a:pt x="180442" y="14097"/>
                </a:lnTo>
                <a:lnTo>
                  <a:pt x="148864" y="36652"/>
                </a:lnTo>
                <a:lnTo>
                  <a:pt x="93040" y="32141"/>
                </a:lnTo>
                <a:lnTo>
                  <a:pt x="84018" y="59207"/>
                </a:lnTo>
                <a:lnTo>
                  <a:pt x="39472" y="60335"/>
                </a:lnTo>
                <a:lnTo>
                  <a:pt x="10714" y="94732"/>
                </a:lnTo>
                <a:lnTo>
                  <a:pt x="31013" y="111648"/>
                </a:lnTo>
                <a:lnTo>
                  <a:pt x="19736" y="139842"/>
                </a:lnTo>
                <a:lnTo>
                  <a:pt x="43419" y="160142"/>
                </a:lnTo>
                <a:lnTo>
                  <a:pt x="64282" y="196230"/>
                </a:lnTo>
                <a:lnTo>
                  <a:pt x="96988" y="195666"/>
                </a:lnTo>
                <a:lnTo>
                  <a:pt x="127437" y="215402"/>
                </a:lnTo>
                <a:lnTo>
                  <a:pt x="147737" y="210891"/>
                </a:lnTo>
                <a:lnTo>
                  <a:pt x="152812" y="195666"/>
                </a:lnTo>
                <a:lnTo>
                  <a:pt x="184953" y="196794"/>
                </a:lnTo>
                <a:lnTo>
                  <a:pt x="210891" y="216530"/>
                </a:lnTo>
                <a:lnTo>
                  <a:pt x="256002" y="212583"/>
                </a:lnTo>
                <a:lnTo>
                  <a:pt x="273482" y="191719"/>
                </a:lnTo>
                <a:lnTo>
                  <a:pt x="299421" y="200177"/>
                </a:lnTo>
                <a:lnTo>
                  <a:pt x="317465" y="196794"/>
                </a:lnTo>
                <a:lnTo>
                  <a:pt x="307879" y="210327"/>
                </a:lnTo>
                <a:lnTo>
                  <a:pt x="320848" y="227244"/>
                </a:lnTo>
                <a:lnTo>
                  <a:pt x="327615" y="219349"/>
                </a:lnTo>
                <a:lnTo>
                  <a:pt x="334381" y="210891"/>
                </a:lnTo>
                <a:lnTo>
                  <a:pt x="333817" y="190592"/>
                </a:lnTo>
                <a:lnTo>
                  <a:pt x="344531" y="197922"/>
                </a:lnTo>
                <a:lnTo>
                  <a:pt x="375545" y="187772"/>
                </a:lnTo>
                <a:lnTo>
                  <a:pt x="392461" y="194539"/>
                </a:lnTo>
                <a:lnTo>
                  <a:pt x="416707" y="194539"/>
                </a:lnTo>
                <a:lnTo>
                  <a:pt x="448849" y="180442"/>
                </a:lnTo>
                <a:lnTo>
                  <a:pt x="464637" y="181569"/>
                </a:lnTo>
                <a:lnTo>
                  <a:pt x="497906" y="175367"/>
                </a:lnTo>
                <a:lnTo>
                  <a:pt x="509748" y="169728"/>
                </a:lnTo>
                <a:lnTo>
                  <a:pt x="544709" y="174803"/>
                </a:lnTo>
                <a:lnTo>
                  <a:pt x="556550" y="183825"/>
                </a:lnTo>
                <a:lnTo>
                  <a:pt x="569519" y="177622"/>
                </a:lnTo>
                <a:lnTo>
                  <a:pt x="569519" y="177622"/>
                </a:lnTo>
                <a:lnTo>
                  <a:pt x="548656" y="148301"/>
                </a:lnTo>
                <a:lnTo>
                  <a:pt x="552602" y="137023"/>
                </a:lnTo>
                <a:lnTo>
                  <a:pt x="536250" y="95860"/>
                </a:lnTo>
                <a:lnTo>
                  <a:pt x="554858" y="85710"/>
                </a:lnTo>
                <a:lnTo>
                  <a:pt x="541325" y="74996"/>
                </a:lnTo>
                <a:lnTo>
                  <a:pt x="517642" y="66538"/>
                </a:lnTo>
                <a:lnTo>
                  <a:pt x="517642" y="49058"/>
                </a:lnTo>
                <a:lnTo>
                  <a:pt x="510311" y="36652"/>
                </a:lnTo>
                <a:lnTo>
                  <a:pt x="478734" y="19736"/>
                </a:lnTo>
                <a:lnTo>
                  <a:pt x="448285" y="21428"/>
                </a:lnTo>
                <a:lnTo>
                  <a:pt x="417271" y="39472"/>
                </a:lnTo>
                <a:lnTo>
                  <a:pt x="391897" y="36088"/>
                </a:lnTo>
                <a:lnTo>
                  <a:pt x="359192" y="41727"/>
                </a:lnTo>
                <a:lnTo>
                  <a:pt x="315209" y="28194"/>
                </a:lnTo>
                <a:close/>
                <a:moveTo>
                  <a:pt x="35525" y="50749"/>
                </a:moveTo>
                <a:lnTo>
                  <a:pt x="46802" y="40036"/>
                </a:lnTo>
                <a:lnTo>
                  <a:pt x="81199" y="37780"/>
                </a:lnTo>
                <a:lnTo>
                  <a:pt x="85146" y="29322"/>
                </a:lnTo>
                <a:lnTo>
                  <a:pt x="58644" y="18044"/>
                </a:lnTo>
                <a:lnTo>
                  <a:pt x="53569" y="4511"/>
                </a:lnTo>
                <a:lnTo>
                  <a:pt x="28194" y="0"/>
                </a:lnTo>
                <a:lnTo>
                  <a:pt x="0" y="11278"/>
                </a:lnTo>
                <a:lnTo>
                  <a:pt x="15225" y="20300"/>
                </a:lnTo>
                <a:lnTo>
                  <a:pt x="8458" y="42291"/>
                </a:lnTo>
                <a:lnTo>
                  <a:pt x="2256" y="46238"/>
                </a:lnTo>
                <a:lnTo>
                  <a:pt x="2819" y="53569"/>
                </a:lnTo>
                <a:lnTo>
                  <a:pt x="13533" y="69921"/>
                </a:lnTo>
                <a:lnTo>
                  <a:pt x="35525" y="50749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9" name="Freeform: Shape 392">
            <a:extLst>
              <a:ext uri="{FF2B5EF4-FFF2-40B4-BE49-F238E27FC236}">
                <a16:creationId xmlns:a16="http://schemas.microsoft.com/office/drawing/2014/main" id="{410250BA-67B0-4B4C-8C59-6E75F9D85139}"/>
              </a:ext>
            </a:extLst>
          </p:cNvPr>
          <p:cNvSpPr/>
          <p:nvPr/>
        </p:nvSpPr>
        <p:spPr>
          <a:xfrm>
            <a:off x="8618792" y="3444462"/>
            <a:ext cx="33710" cy="88490"/>
          </a:xfrm>
          <a:custGeom>
            <a:avLst/>
            <a:gdLst>
              <a:gd name="connsiteX0" fmla="*/ 38344 w 45110"/>
              <a:gd name="connsiteY0" fmla="*/ 90221 h 118414"/>
              <a:gd name="connsiteX1" fmla="*/ 45110 w 45110"/>
              <a:gd name="connsiteY1" fmla="*/ 32705 h 118414"/>
              <a:gd name="connsiteX2" fmla="*/ 45674 w 45110"/>
              <a:gd name="connsiteY2" fmla="*/ 10714 h 118414"/>
              <a:gd name="connsiteX3" fmla="*/ 29321 w 45110"/>
              <a:gd name="connsiteY3" fmla="*/ 0 h 118414"/>
              <a:gd name="connsiteX4" fmla="*/ 10714 w 45110"/>
              <a:gd name="connsiteY4" fmla="*/ 27066 h 118414"/>
              <a:gd name="connsiteX5" fmla="*/ 0 w 45110"/>
              <a:gd name="connsiteY5" fmla="*/ 62591 h 118414"/>
              <a:gd name="connsiteX6" fmla="*/ 8458 w 45110"/>
              <a:gd name="connsiteY6" fmla="*/ 89093 h 118414"/>
              <a:gd name="connsiteX7" fmla="*/ 31013 w 45110"/>
              <a:gd name="connsiteY7" fmla="*/ 119542 h 118414"/>
              <a:gd name="connsiteX8" fmla="*/ 38344 w 45110"/>
              <a:gd name="connsiteY8" fmla="*/ 90221 h 1184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110" h="118414">
                <a:moveTo>
                  <a:pt x="38344" y="90221"/>
                </a:moveTo>
                <a:lnTo>
                  <a:pt x="45110" y="32705"/>
                </a:lnTo>
                <a:lnTo>
                  <a:pt x="45674" y="10714"/>
                </a:lnTo>
                <a:lnTo>
                  <a:pt x="29321" y="0"/>
                </a:lnTo>
                <a:lnTo>
                  <a:pt x="10714" y="27066"/>
                </a:lnTo>
                <a:lnTo>
                  <a:pt x="0" y="62591"/>
                </a:lnTo>
                <a:lnTo>
                  <a:pt x="8458" y="89093"/>
                </a:lnTo>
                <a:lnTo>
                  <a:pt x="31013" y="119542"/>
                </a:lnTo>
                <a:lnTo>
                  <a:pt x="38344" y="90221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0" name="Freeform: Shape 393">
            <a:extLst>
              <a:ext uri="{FF2B5EF4-FFF2-40B4-BE49-F238E27FC236}">
                <a16:creationId xmlns:a16="http://schemas.microsoft.com/office/drawing/2014/main" id="{CA8F7801-169E-48B1-B951-2C8A82E1AB5D}"/>
              </a:ext>
            </a:extLst>
          </p:cNvPr>
          <p:cNvSpPr/>
          <p:nvPr/>
        </p:nvSpPr>
        <p:spPr>
          <a:xfrm>
            <a:off x="6542660" y="4149851"/>
            <a:ext cx="248613" cy="286537"/>
          </a:xfrm>
          <a:custGeom>
            <a:avLst/>
            <a:gdLst>
              <a:gd name="connsiteX0" fmla="*/ 38343 w 332689"/>
              <a:gd name="connsiteY0" fmla="*/ 0 h 383438"/>
              <a:gd name="connsiteX1" fmla="*/ 27066 w 332689"/>
              <a:gd name="connsiteY1" fmla="*/ 4511 h 383438"/>
              <a:gd name="connsiteX2" fmla="*/ 40035 w 332689"/>
              <a:gd name="connsiteY2" fmla="*/ 24811 h 383438"/>
              <a:gd name="connsiteX3" fmla="*/ 37780 w 332689"/>
              <a:gd name="connsiteY3" fmla="*/ 45674 h 383438"/>
              <a:gd name="connsiteX4" fmla="*/ 28758 w 332689"/>
              <a:gd name="connsiteY4" fmla="*/ 50185 h 383438"/>
              <a:gd name="connsiteX5" fmla="*/ 28758 w 332689"/>
              <a:gd name="connsiteY5" fmla="*/ 50185 h 383438"/>
              <a:gd name="connsiteX6" fmla="*/ 30449 w 332689"/>
              <a:gd name="connsiteY6" fmla="*/ 64282 h 383438"/>
              <a:gd name="connsiteX7" fmla="*/ 37216 w 332689"/>
              <a:gd name="connsiteY7" fmla="*/ 72741 h 383438"/>
              <a:gd name="connsiteX8" fmla="*/ 37216 w 332689"/>
              <a:gd name="connsiteY8" fmla="*/ 84018 h 383438"/>
              <a:gd name="connsiteX9" fmla="*/ 29321 w 332689"/>
              <a:gd name="connsiteY9" fmla="*/ 91913 h 383438"/>
              <a:gd name="connsiteX10" fmla="*/ 16916 w 332689"/>
              <a:gd name="connsiteY10" fmla="*/ 110521 h 383438"/>
              <a:gd name="connsiteX11" fmla="*/ 5074 w 332689"/>
              <a:gd name="connsiteY11" fmla="*/ 123490 h 383438"/>
              <a:gd name="connsiteX12" fmla="*/ 1691 w 332689"/>
              <a:gd name="connsiteY12" fmla="*/ 124054 h 383438"/>
              <a:gd name="connsiteX13" fmla="*/ 0 w 332689"/>
              <a:gd name="connsiteY13" fmla="*/ 139278 h 383438"/>
              <a:gd name="connsiteX14" fmla="*/ 6203 w 332689"/>
              <a:gd name="connsiteY14" fmla="*/ 144353 h 383438"/>
              <a:gd name="connsiteX15" fmla="*/ 5074 w 332689"/>
              <a:gd name="connsiteY15" fmla="*/ 159578 h 383438"/>
              <a:gd name="connsiteX16" fmla="*/ 10713 w 332689"/>
              <a:gd name="connsiteY16" fmla="*/ 174239 h 383438"/>
              <a:gd name="connsiteX17" fmla="*/ 3383 w 332689"/>
              <a:gd name="connsiteY17" fmla="*/ 187772 h 383438"/>
              <a:gd name="connsiteX18" fmla="*/ 28758 w 332689"/>
              <a:gd name="connsiteY18" fmla="*/ 212019 h 383438"/>
              <a:gd name="connsiteX19" fmla="*/ 30449 w 332689"/>
              <a:gd name="connsiteY19" fmla="*/ 234010 h 383438"/>
              <a:gd name="connsiteX20" fmla="*/ 45674 w 332689"/>
              <a:gd name="connsiteY20" fmla="*/ 270662 h 383438"/>
              <a:gd name="connsiteX21" fmla="*/ 45674 w 332689"/>
              <a:gd name="connsiteY21" fmla="*/ 270662 h 383438"/>
              <a:gd name="connsiteX22" fmla="*/ 47365 w 332689"/>
              <a:gd name="connsiteY22" fmla="*/ 271790 h 383438"/>
              <a:gd name="connsiteX23" fmla="*/ 59771 w 332689"/>
              <a:gd name="connsiteY23" fmla="*/ 277993 h 383438"/>
              <a:gd name="connsiteX24" fmla="*/ 79507 w 332689"/>
              <a:gd name="connsiteY24" fmla="*/ 284196 h 383438"/>
              <a:gd name="connsiteX25" fmla="*/ 97551 w 332689"/>
              <a:gd name="connsiteY25" fmla="*/ 294910 h 383438"/>
              <a:gd name="connsiteX26" fmla="*/ 128000 w 332689"/>
              <a:gd name="connsiteY26" fmla="*/ 301676 h 383438"/>
              <a:gd name="connsiteX27" fmla="*/ 134203 w 332689"/>
              <a:gd name="connsiteY27" fmla="*/ 311262 h 383438"/>
              <a:gd name="connsiteX28" fmla="*/ 134203 w 332689"/>
              <a:gd name="connsiteY28" fmla="*/ 311262 h 383438"/>
              <a:gd name="connsiteX29" fmla="*/ 136459 w 332689"/>
              <a:gd name="connsiteY29" fmla="*/ 304495 h 383438"/>
              <a:gd name="connsiteX30" fmla="*/ 152248 w 332689"/>
              <a:gd name="connsiteY30" fmla="*/ 323667 h 383438"/>
              <a:gd name="connsiteX31" fmla="*/ 153939 w 332689"/>
              <a:gd name="connsiteY31" fmla="*/ 361447 h 383438"/>
              <a:gd name="connsiteX32" fmla="*/ 164089 w 332689"/>
              <a:gd name="connsiteY32" fmla="*/ 374980 h 383438"/>
              <a:gd name="connsiteX33" fmla="*/ 164089 w 332689"/>
              <a:gd name="connsiteY33" fmla="*/ 375544 h 383438"/>
              <a:gd name="connsiteX34" fmla="*/ 175930 w 332689"/>
              <a:gd name="connsiteY34" fmla="*/ 373853 h 383438"/>
              <a:gd name="connsiteX35" fmla="*/ 213710 w 332689"/>
              <a:gd name="connsiteY35" fmla="*/ 384003 h 383438"/>
              <a:gd name="connsiteX36" fmla="*/ 221604 w 332689"/>
              <a:gd name="connsiteY36" fmla="*/ 379492 h 383438"/>
              <a:gd name="connsiteX37" fmla="*/ 243596 w 332689"/>
              <a:gd name="connsiteY37" fmla="*/ 378927 h 383438"/>
              <a:gd name="connsiteX38" fmla="*/ 255437 w 332689"/>
              <a:gd name="connsiteY38" fmla="*/ 368214 h 383438"/>
              <a:gd name="connsiteX39" fmla="*/ 274046 w 332689"/>
              <a:gd name="connsiteY39" fmla="*/ 368778 h 383438"/>
              <a:gd name="connsiteX40" fmla="*/ 309006 w 332689"/>
              <a:gd name="connsiteY40" fmla="*/ 354681 h 383438"/>
              <a:gd name="connsiteX41" fmla="*/ 334944 w 332689"/>
              <a:gd name="connsiteY41" fmla="*/ 333817 h 383438"/>
              <a:gd name="connsiteX42" fmla="*/ 334944 w 332689"/>
              <a:gd name="connsiteY42" fmla="*/ 333817 h 383438"/>
              <a:gd name="connsiteX43" fmla="*/ 323667 w 332689"/>
              <a:gd name="connsiteY43" fmla="*/ 325923 h 383438"/>
              <a:gd name="connsiteX44" fmla="*/ 311262 w 332689"/>
              <a:gd name="connsiteY44" fmla="*/ 290398 h 383438"/>
              <a:gd name="connsiteX45" fmla="*/ 301111 w 332689"/>
              <a:gd name="connsiteY45" fmla="*/ 268407 h 383438"/>
              <a:gd name="connsiteX46" fmla="*/ 303367 w 332689"/>
              <a:gd name="connsiteY46" fmla="*/ 250927 h 383438"/>
              <a:gd name="connsiteX47" fmla="*/ 301676 w 332689"/>
              <a:gd name="connsiteY47" fmla="*/ 240213 h 383438"/>
              <a:gd name="connsiteX48" fmla="*/ 311262 w 332689"/>
              <a:gd name="connsiteY48" fmla="*/ 218222 h 383438"/>
              <a:gd name="connsiteX49" fmla="*/ 310134 w 332689"/>
              <a:gd name="connsiteY49" fmla="*/ 209200 h 383438"/>
              <a:gd name="connsiteX50" fmla="*/ 290398 w 332689"/>
              <a:gd name="connsiteY50" fmla="*/ 196231 h 383438"/>
              <a:gd name="connsiteX51" fmla="*/ 288706 w 332689"/>
              <a:gd name="connsiteY51" fmla="*/ 175931 h 383438"/>
              <a:gd name="connsiteX52" fmla="*/ 304495 w 332689"/>
              <a:gd name="connsiteY52" fmla="*/ 131384 h 383438"/>
              <a:gd name="connsiteX53" fmla="*/ 259385 w 332689"/>
              <a:gd name="connsiteY53" fmla="*/ 95860 h 383438"/>
              <a:gd name="connsiteX54" fmla="*/ 257129 w 332689"/>
              <a:gd name="connsiteY54" fmla="*/ 74996 h 383438"/>
              <a:gd name="connsiteX55" fmla="*/ 143225 w 332689"/>
              <a:gd name="connsiteY55" fmla="*/ 1692 h 383438"/>
              <a:gd name="connsiteX56" fmla="*/ 143225 w 332689"/>
              <a:gd name="connsiteY56" fmla="*/ 1692 h 383438"/>
              <a:gd name="connsiteX57" fmla="*/ 127437 w 332689"/>
              <a:gd name="connsiteY57" fmla="*/ 17480 h 383438"/>
              <a:gd name="connsiteX58" fmla="*/ 116723 w 332689"/>
              <a:gd name="connsiteY58" fmla="*/ 33833 h 383438"/>
              <a:gd name="connsiteX59" fmla="*/ 129128 w 332689"/>
              <a:gd name="connsiteY59" fmla="*/ 46238 h 383438"/>
              <a:gd name="connsiteX60" fmla="*/ 111084 w 332689"/>
              <a:gd name="connsiteY60" fmla="*/ 55261 h 383438"/>
              <a:gd name="connsiteX61" fmla="*/ 107137 w 332689"/>
              <a:gd name="connsiteY61" fmla="*/ 50749 h 383438"/>
              <a:gd name="connsiteX62" fmla="*/ 89093 w 332689"/>
              <a:gd name="connsiteY62" fmla="*/ 53005 h 383438"/>
              <a:gd name="connsiteX63" fmla="*/ 74996 w 332689"/>
              <a:gd name="connsiteY63" fmla="*/ 60899 h 383438"/>
              <a:gd name="connsiteX64" fmla="*/ 65974 w 332689"/>
              <a:gd name="connsiteY64" fmla="*/ 47366 h 383438"/>
              <a:gd name="connsiteX65" fmla="*/ 72176 w 332689"/>
              <a:gd name="connsiteY65" fmla="*/ 21991 h 383438"/>
              <a:gd name="connsiteX66" fmla="*/ 73304 w 332689"/>
              <a:gd name="connsiteY66" fmla="*/ 564 h 383438"/>
              <a:gd name="connsiteX67" fmla="*/ 73304 w 332689"/>
              <a:gd name="connsiteY67" fmla="*/ 564 h 383438"/>
              <a:gd name="connsiteX68" fmla="*/ 73304 w 332689"/>
              <a:gd name="connsiteY68" fmla="*/ 564 h 383438"/>
              <a:gd name="connsiteX69" fmla="*/ 38343 w 332689"/>
              <a:gd name="connsiteY69" fmla="*/ 0 h 383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</a:cxnLst>
            <a:rect l="l" t="t" r="r" b="b"/>
            <a:pathLst>
              <a:path w="332689" h="383438">
                <a:moveTo>
                  <a:pt x="38343" y="0"/>
                </a:moveTo>
                <a:lnTo>
                  <a:pt x="27066" y="4511"/>
                </a:lnTo>
                <a:lnTo>
                  <a:pt x="40035" y="24811"/>
                </a:lnTo>
                <a:lnTo>
                  <a:pt x="37780" y="45674"/>
                </a:lnTo>
                <a:lnTo>
                  <a:pt x="28758" y="50185"/>
                </a:lnTo>
                <a:lnTo>
                  <a:pt x="28758" y="50185"/>
                </a:lnTo>
                <a:lnTo>
                  <a:pt x="30449" y="64282"/>
                </a:lnTo>
                <a:lnTo>
                  <a:pt x="37216" y="72741"/>
                </a:lnTo>
                <a:lnTo>
                  <a:pt x="37216" y="84018"/>
                </a:lnTo>
                <a:lnTo>
                  <a:pt x="29321" y="91913"/>
                </a:lnTo>
                <a:lnTo>
                  <a:pt x="16916" y="110521"/>
                </a:lnTo>
                <a:lnTo>
                  <a:pt x="5074" y="123490"/>
                </a:lnTo>
                <a:lnTo>
                  <a:pt x="1691" y="124054"/>
                </a:lnTo>
                <a:lnTo>
                  <a:pt x="0" y="139278"/>
                </a:lnTo>
                <a:lnTo>
                  <a:pt x="6203" y="144353"/>
                </a:lnTo>
                <a:lnTo>
                  <a:pt x="5074" y="159578"/>
                </a:lnTo>
                <a:lnTo>
                  <a:pt x="10713" y="174239"/>
                </a:lnTo>
                <a:lnTo>
                  <a:pt x="3383" y="187772"/>
                </a:lnTo>
                <a:lnTo>
                  <a:pt x="28758" y="212019"/>
                </a:lnTo>
                <a:lnTo>
                  <a:pt x="30449" y="234010"/>
                </a:lnTo>
                <a:lnTo>
                  <a:pt x="45674" y="270662"/>
                </a:lnTo>
                <a:lnTo>
                  <a:pt x="45674" y="270662"/>
                </a:lnTo>
                <a:lnTo>
                  <a:pt x="47365" y="271790"/>
                </a:lnTo>
                <a:lnTo>
                  <a:pt x="59771" y="277993"/>
                </a:lnTo>
                <a:lnTo>
                  <a:pt x="79507" y="284196"/>
                </a:lnTo>
                <a:lnTo>
                  <a:pt x="97551" y="294910"/>
                </a:lnTo>
                <a:lnTo>
                  <a:pt x="128000" y="301676"/>
                </a:lnTo>
                <a:lnTo>
                  <a:pt x="134203" y="311262"/>
                </a:lnTo>
                <a:lnTo>
                  <a:pt x="134203" y="311262"/>
                </a:lnTo>
                <a:lnTo>
                  <a:pt x="136459" y="304495"/>
                </a:lnTo>
                <a:lnTo>
                  <a:pt x="152248" y="323667"/>
                </a:lnTo>
                <a:lnTo>
                  <a:pt x="153939" y="361447"/>
                </a:lnTo>
                <a:lnTo>
                  <a:pt x="164089" y="374980"/>
                </a:lnTo>
                <a:lnTo>
                  <a:pt x="164089" y="375544"/>
                </a:lnTo>
                <a:lnTo>
                  <a:pt x="175930" y="373853"/>
                </a:lnTo>
                <a:lnTo>
                  <a:pt x="213710" y="384003"/>
                </a:lnTo>
                <a:lnTo>
                  <a:pt x="221604" y="379492"/>
                </a:lnTo>
                <a:lnTo>
                  <a:pt x="243596" y="378927"/>
                </a:lnTo>
                <a:lnTo>
                  <a:pt x="255437" y="368214"/>
                </a:lnTo>
                <a:lnTo>
                  <a:pt x="274046" y="368778"/>
                </a:lnTo>
                <a:lnTo>
                  <a:pt x="309006" y="354681"/>
                </a:lnTo>
                <a:lnTo>
                  <a:pt x="334944" y="333817"/>
                </a:lnTo>
                <a:lnTo>
                  <a:pt x="334944" y="333817"/>
                </a:lnTo>
                <a:lnTo>
                  <a:pt x="323667" y="325923"/>
                </a:lnTo>
                <a:lnTo>
                  <a:pt x="311262" y="290398"/>
                </a:lnTo>
                <a:lnTo>
                  <a:pt x="301111" y="268407"/>
                </a:lnTo>
                <a:lnTo>
                  <a:pt x="303367" y="250927"/>
                </a:lnTo>
                <a:lnTo>
                  <a:pt x="301676" y="240213"/>
                </a:lnTo>
                <a:lnTo>
                  <a:pt x="311262" y="218222"/>
                </a:lnTo>
                <a:lnTo>
                  <a:pt x="310134" y="209200"/>
                </a:lnTo>
                <a:lnTo>
                  <a:pt x="290398" y="196231"/>
                </a:lnTo>
                <a:lnTo>
                  <a:pt x="288706" y="175931"/>
                </a:lnTo>
                <a:lnTo>
                  <a:pt x="304495" y="131384"/>
                </a:lnTo>
                <a:lnTo>
                  <a:pt x="259385" y="95860"/>
                </a:lnTo>
                <a:lnTo>
                  <a:pt x="257129" y="74996"/>
                </a:lnTo>
                <a:lnTo>
                  <a:pt x="143225" y="1692"/>
                </a:lnTo>
                <a:lnTo>
                  <a:pt x="143225" y="1692"/>
                </a:lnTo>
                <a:lnTo>
                  <a:pt x="127437" y="17480"/>
                </a:lnTo>
                <a:lnTo>
                  <a:pt x="116723" y="33833"/>
                </a:lnTo>
                <a:lnTo>
                  <a:pt x="129128" y="46238"/>
                </a:lnTo>
                <a:lnTo>
                  <a:pt x="111084" y="55261"/>
                </a:lnTo>
                <a:lnTo>
                  <a:pt x="107137" y="50749"/>
                </a:lnTo>
                <a:lnTo>
                  <a:pt x="89093" y="53005"/>
                </a:lnTo>
                <a:lnTo>
                  <a:pt x="74996" y="60899"/>
                </a:lnTo>
                <a:lnTo>
                  <a:pt x="65974" y="47366"/>
                </a:lnTo>
                <a:lnTo>
                  <a:pt x="72176" y="21991"/>
                </a:lnTo>
                <a:lnTo>
                  <a:pt x="73304" y="564"/>
                </a:lnTo>
                <a:lnTo>
                  <a:pt x="73304" y="564"/>
                </a:lnTo>
                <a:lnTo>
                  <a:pt x="73304" y="564"/>
                </a:lnTo>
                <a:lnTo>
                  <a:pt x="38343" y="0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1" name="Freeform: Shape 394">
            <a:extLst>
              <a:ext uri="{FF2B5EF4-FFF2-40B4-BE49-F238E27FC236}">
                <a16:creationId xmlns:a16="http://schemas.microsoft.com/office/drawing/2014/main" id="{F6A63DED-9B96-4CDB-B592-FF349B08526E}"/>
              </a:ext>
            </a:extLst>
          </p:cNvPr>
          <p:cNvSpPr/>
          <p:nvPr/>
        </p:nvSpPr>
        <p:spPr>
          <a:xfrm>
            <a:off x="6543081" y="4008689"/>
            <a:ext cx="126413" cy="151696"/>
          </a:xfrm>
          <a:custGeom>
            <a:avLst/>
            <a:gdLst>
              <a:gd name="connsiteX0" fmla="*/ 139278 w 169164"/>
              <a:gd name="connsiteY0" fmla="*/ 0 h 202996"/>
              <a:gd name="connsiteX1" fmla="*/ 120106 w 169164"/>
              <a:gd name="connsiteY1" fmla="*/ 16916 h 202996"/>
              <a:gd name="connsiteX2" fmla="*/ 97551 w 169164"/>
              <a:gd name="connsiteY2" fmla="*/ 16353 h 202996"/>
              <a:gd name="connsiteX3" fmla="*/ 72176 w 169164"/>
              <a:gd name="connsiteY3" fmla="*/ 24811 h 202996"/>
              <a:gd name="connsiteX4" fmla="*/ 52440 w 169164"/>
              <a:gd name="connsiteY4" fmla="*/ 16916 h 202996"/>
              <a:gd name="connsiteX5" fmla="*/ 39472 w 169164"/>
              <a:gd name="connsiteY5" fmla="*/ 26502 h 202996"/>
              <a:gd name="connsiteX6" fmla="*/ 39472 w 169164"/>
              <a:gd name="connsiteY6" fmla="*/ 26502 h 202996"/>
              <a:gd name="connsiteX7" fmla="*/ 37780 w 169164"/>
              <a:gd name="connsiteY7" fmla="*/ 68793 h 202996"/>
              <a:gd name="connsiteX8" fmla="*/ 50749 w 169164"/>
              <a:gd name="connsiteY8" fmla="*/ 73304 h 202996"/>
              <a:gd name="connsiteX9" fmla="*/ 40599 w 169164"/>
              <a:gd name="connsiteY9" fmla="*/ 86274 h 202996"/>
              <a:gd name="connsiteX10" fmla="*/ 28194 w 169164"/>
              <a:gd name="connsiteY10" fmla="*/ 95860 h 202996"/>
              <a:gd name="connsiteX11" fmla="*/ 16353 w 169164"/>
              <a:gd name="connsiteY11" fmla="*/ 114468 h 202996"/>
              <a:gd name="connsiteX12" fmla="*/ 9586 w 169164"/>
              <a:gd name="connsiteY12" fmla="*/ 131384 h 202996"/>
              <a:gd name="connsiteX13" fmla="*/ 7894 w 169164"/>
              <a:gd name="connsiteY13" fmla="*/ 160142 h 202996"/>
              <a:gd name="connsiteX14" fmla="*/ 564 w 169164"/>
              <a:gd name="connsiteY14" fmla="*/ 173675 h 202996"/>
              <a:gd name="connsiteX15" fmla="*/ 0 w 169164"/>
              <a:gd name="connsiteY15" fmla="*/ 200742 h 202996"/>
              <a:gd name="connsiteX16" fmla="*/ 7894 w 169164"/>
              <a:gd name="connsiteY16" fmla="*/ 204125 h 202996"/>
              <a:gd name="connsiteX17" fmla="*/ 26502 w 169164"/>
              <a:gd name="connsiteY17" fmla="*/ 193411 h 202996"/>
              <a:gd name="connsiteX18" fmla="*/ 37780 w 169164"/>
              <a:gd name="connsiteY18" fmla="*/ 188900 h 202996"/>
              <a:gd name="connsiteX19" fmla="*/ 72741 w 169164"/>
              <a:gd name="connsiteY19" fmla="*/ 189464 h 202996"/>
              <a:gd name="connsiteX20" fmla="*/ 72741 w 169164"/>
              <a:gd name="connsiteY20" fmla="*/ 189464 h 202996"/>
              <a:gd name="connsiteX21" fmla="*/ 71049 w 169164"/>
              <a:gd name="connsiteY21" fmla="*/ 175367 h 202996"/>
              <a:gd name="connsiteX22" fmla="*/ 85709 w 169164"/>
              <a:gd name="connsiteY22" fmla="*/ 154503 h 202996"/>
              <a:gd name="connsiteX23" fmla="*/ 105445 w 169164"/>
              <a:gd name="connsiteY23" fmla="*/ 149428 h 202996"/>
              <a:gd name="connsiteX24" fmla="*/ 118979 w 169164"/>
              <a:gd name="connsiteY24" fmla="*/ 140970 h 202996"/>
              <a:gd name="connsiteX25" fmla="*/ 135331 w 169164"/>
              <a:gd name="connsiteY25" fmla="*/ 147737 h 202996"/>
              <a:gd name="connsiteX26" fmla="*/ 137022 w 169164"/>
              <a:gd name="connsiteY26" fmla="*/ 150556 h 202996"/>
              <a:gd name="connsiteX27" fmla="*/ 137022 w 169164"/>
              <a:gd name="connsiteY27" fmla="*/ 148864 h 202996"/>
              <a:gd name="connsiteX28" fmla="*/ 146045 w 169164"/>
              <a:gd name="connsiteY28" fmla="*/ 134204 h 202996"/>
              <a:gd name="connsiteX29" fmla="*/ 161270 w 169164"/>
              <a:gd name="connsiteY29" fmla="*/ 110521 h 202996"/>
              <a:gd name="connsiteX30" fmla="*/ 173111 w 169164"/>
              <a:gd name="connsiteY30" fmla="*/ 84018 h 202996"/>
              <a:gd name="connsiteX31" fmla="*/ 158450 w 169164"/>
              <a:gd name="connsiteY31" fmla="*/ 42855 h 202996"/>
              <a:gd name="connsiteX32" fmla="*/ 154503 w 169164"/>
              <a:gd name="connsiteY32" fmla="*/ 24811 h 202996"/>
              <a:gd name="connsiteX33" fmla="*/ 139278 w 169164"/>
              <a:gd name="connsiteY33" fmla="*/ 0 h 202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169164" h="202996">
                <a:moveTo>
                  <a:pt x="139278" y="0"/>
                </a:moveTo>
                <a:lnTo>
                  <a:pt x="120106" y="16916"/>
                </a:lnTo>
                <a:lnTo>
                  <a:pt x="97551" y="16353"/>
                </a:lnTo>
                <a:lnTo>
                  <a:pt x="72176" y="24811"/>
                </a:lnTo>
                <a:lnTo>
                  <a:pt x="52440" y="16916"/>
                </a:lnTo>
                <a:lnTo>
                  <a:pt x="39472" y="26502"/>
                </a:lnTo>
                <a:lnTo>
                  <a:pt x="39472" y="26502"/>
                </a:lnTo>
                <a:lnTo>
                  <a:pt x="37780" y="68793"/>
                </a:lnTo>
                <a:lnTo>
                  <a:pt x="50749" y="73304"/>
                </a:lnTo>
                <a:lnTo>
                  <a:pt x="40599" y="86274"/>
                </a:lnTo>
                <a:lnTo>
                  <a:pt x="28194" y="95860"/>
                </a:lnTo>
                <a:lnTo>
                  <a:pt x="16353" y="114468"/>
                </a:lnTo>
                <a:lnTo>
                  <a:pt x="9586" y="131384"/>
                </a:lnTo>
                <a:lnTo>
                  <a:pt x="7894" y="160142"/>
                </a:lnTo>
                <a:lnTo>
                  <a:pt x="564" y="173675"/>
                </a:lnTo>
                <a:lnTo>
                  <a:pt x="0" y="200742"/>
                </a:lnTo>
                <a:lnTo>
                  <a:pt x="7894" y="204125"/>
                </a:lnTo>
                <a:lnTo>
                  <a:pt x="26502" y="193411"/>
                </a:lnTo>
                <a:lnTo>
                  <a:pt x="37780" y="188900"/>
                </a:lnTo>
                <a:lnTo>
                  <a:pt x="72741" y="189464"/>
                </a:lnTo>
                <a:lnTo>
                  <a:pt x="72741" y="189464"/>
                </a:lnTo>
                <a:lnTo>
                  <a:pt x="71049" y="175367"/>
                </a:lnTo>
                <a:lnTo>
                  <a:pt x="85709" y="154503"/>
                </a:lnTo>
                <a:lnTo>
                  <a:pt x="105445" y="149428"/>
                </a:lnTo>
                <a:lnTo>
                  <a:pt x="118979" y="140970"/>
                </a:lnTo>
                <a:lnTo>
                  <a:pt x="135331" y="147737"/>
                </a:lnTo>
                <a:lnTo>
                  <a:pt x="137022" y="150556"/>
                </a:lnTo>
                <a:lnTo>
                  <a:pt x="137022" y="148864"/>
                </a:lnTo>
                <a:lnTo>
                  <a:pt x="146045" y="134204"/>
                </a:lnTo>
                <a:lnTo>
                  <a:pt x="161270" y="110521"/>
                </a:lnTo>
                <a:lnTo>
                  <a:pt x="173111" y="84018"/>
                </a:lnTo>
                <a:lnTo>
                  <a:pt x="158450" y="42855"/>
                </a:lnTo>
                <a:lnTo>
                  <a:pt x="154503" y="24811"/>
                </a:lnTo>
                <a:lnTo>
                  <a:pt x="139278" y="0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2" name="Freeform: Shape 395">
            <a:extLst>
              <a:ext uri="{FF2B5EF4-FFF2-40B4-BE49-F238E27FC236}">
                <a16:creationId xmlns:a16="http://schemas.microsoft.com/office/drawing/2014/main" id="{4C5F9C10-B608-41E4-9C0B-C6E165DF0565}"/>
              </a:ext>
            </a:extLst>
          </p:cNvPr>
          <p:cNvSpPr/>
          <p:nvPr/>
        </p:nvSpPr>
        <p:spPr>
          <a:xfrm>
            <a:off x="6301631" y="2727275"/>
            <a:ext cx="370813" cy="206475"/>
          </a:xfrm>
          <a:custGeom>
            <a:avLst/>
            <a:gdLst>
              <a:gd name="connsiteX0" fmla="*/ 298293 w 496214"/>
              <a:gd name="connsiteY0" fmla="*/ 0 h 276301"/>
              <a:gd name="connsiteX1" fmla="*/ 271226 w 496214"/>
              <a:gd name="connsiteY1" fmla="*/ 2819 h 276301"/>
              <a:gd name="connsiteX2" fmla="*/ 262768 w 496214"/>
              <a:gd name="connsiteY2" fmla="*/ 1128 h 276301"/>
              <a:gd name="connsiteX3" fmla="*/ 257129 w 496214"/>
              <a:gd name="connsiteY3" fmla="*/ 9022 h 276301"/>
              <a:gd name="connsiteX4" fmla="*/ 246980 w 496214"/>
              <a:gd name="connsiteY4" fmla="*/ 7894 h 276301"/>
              <a:gd name="connsiteX5" fmla="*/ 246980 w 496214"/>
              <a:gd name="connsiteY5" fmla="*/ 7894 h 276301"/>
              <a:gd name="connsiteX6" fmla="*/ 223861 w 496214"/>
              <a:gd name="connsiteY6" fmla="*/ 9586 h 276301"/>
              <a:gd name="connsiteX7" fmla="*/ 217094 w 496214"/>
              <a:gd name="connsiteY7" fmla="*/ 17480 h 276301"/>
              <a:gd name="connsiteX8" fmla="*/ 218222 w 496214"/>
              <a:gd name="connsiteY8" fmla="*/ 34961 h 276301"/>
              <a:gd name="connsiteX9" fmla="*/ 206944 w 496214"/>
              <a:gd name="connsiteY9" fmla="*/ 31577 h 276301"/>
              <a:gd name="connsiteX10" fmla="*/ 182697 w 496214"/>
              <a:gd name="connsiteY10" fmla="*/ 33269 h 276301"/>
              <a:gd name="connsiteX11" fmla="*/ 174239 w 496214"/>
              <a:gd name="connsiteY11" fmla="*/ 24811 h 276301"/>
              <a:gd name="connsiteX12" fmla="*/ 165217 w 496214"/>
              <a:gd name="connsiteY12" fmla="*/ 31013 h 276301"/>
              <a:gd name="connsiteX13" fmla="*/ 153940 w 496214"/>
              <a:gd name="connsiteY13" fmla="*/ 25939 h 276301"/>
              <a:gd name="connsiteX14" fmla="*/ 132512 w 496214"/>
              <a:gd name="connsiteY14" fmla="*/ 25375 h 276301"/>
              <a:gd name="connsiteX15" fmla="*/ 100935 w 496214"/>
              <a:gd name="connsiteY15" fmla="*/ 16916 h 276301"/>
              <a:gd name="connsiteX16" fmla="*/ 72741 w 496214"/>
              <a:gd name="connsiteY16" fmla="*/ 14097 h 276301"/>
              <a:gd name="connsiteX17" fmla="*/ 51877 w 496214"/>
              <a:gd name="connsiteY17" fmla="*/ 15225 h 276301"/>
              <a:gd name="connsiteX18" fmla="*/ 38344 w 496214"/>
              <a:gd name="connsiteY18" fmla="*/ 24247 h 276301"/>
              <a:gd name="connsiteX19" fmla="*/ 25938 w 496214"/>
              <a:gd name="connsiteY19" fmla="*/ 25939 h 276301"/>
              <a:gd name="connsiteX20" fmla="*/ 43419 w 496214"/>
              <a:gd name="connsiteY20" fmla="*/ 55824 h 276301"/>
              <a:gd name="connsiteX21" fmla="*/ 41727 w 496214"/>
              <a:gd name="connsiteY21" fmla="*/ 65974 h 276301"/>
              <a:gd name="connsiteX22" fmla="*/ 28758 w 496214"/>
              <a:gd name="connsiteY22" fmla="*/ 69921 h 276301"/>
              <a:gd name="connsiteX23" fmla="*/ 7331 w 496214"/>
              <a:gd name="connsiteY23" fmla="*/ 98679 h 276301"/>
              <a:gd name="connsiteX24" fmla="*/ 16353 w 496214"/>
              <a:gd name="connsiteY24" fmla="*/ 114468 h 276301"/>
              <a:gd name="connsiteX25" fmla="*/ 10150 w 496214"/>
              <a:gd name="connsiteY25" fmla="*/ 112212 h 276301"/>
              <a:gd name="connsiteX26" fmla="*/ 3948 w 496214"/>
              <a:gd name="connsiteY26" fmla="*/ 121798 h 276301"/>
              <a:gd name="connsiteX27" fmla="*/ 0 w 496214"/>
              <a:gd name="connsiteY27" fmla="*/ 135895 h 276301"/>
              <a:gd name="connsiteX28" fmla="*/ 16353 w 496214"/>
              <a:gd name="connsiteY28" fmla="*/ 145481 h 276301"/>
              <a:gd name="connsiteX29" fmla="*/ 19736 w 496214"/>
              <a:gd name="connsiteY29" fmla="*/ 154503 h 276301"/>
              <a:gd name="connsiteX30" fmla="*/ 30450 w 496214"/>
              <a:gd name="connsiteY30" fmla="*/ 147173 h 276301"/>
              <a:gd name="connsiteX31" fmla="*/ 48494 w 496214"/>
              <a:gd name="connsiteY31" fmla="*/ 151120 h 276301"/>
              <a:gd name="connsiteX32" fmla="*/ 66538 w 496214"/>
              <a:gd name="connsiteY32" fmla="*/ 151120 h 276301"/>
              <a:gd name="connsiteX33" fmla="*/ 80071 w 496214"/>
              <a:gd name="connsiteY33" fmla="*/ 159578 h 276301"/>
              <a:gd name="connsiteX34" fmla="*/ 89093 w 496214"/>
              <a:gd name="connsiteY34" fmla="*/ 154503 h 276301"/>
              <a:gd name="connsiteX35" fmla="*/ 109393 w 496214"/>
              <a:gd name="connsiteY35" fmla="*/ 151120 h 276301"/>
              <a:gd name="connsiteX36" fmla="*/ 115032 w 496214"/>
              <a:gd name="connsiteY36" fmla="*/ 142662 h 276301"/>
              <a:gd name="connsiteX37" fmla="*/ 126873 w 496214"/>
              <a:gd name="connsiteY37" fmla="*/ 142662 h 276301"/>
              <a:gd name="connsiteX38" fmla="*/ 133076 w 496214"/>
              <a:gd name="connsiteY38" fmla="*/ 137587 h 276301"/>
              <a:gd name="connsiteX39" fmla="*/ 151120 w 496214"/>
              <a:gd name="connsiteY39" fmla="*/ 134203 h 276301"/>
              <a:gd name="connsiteX40" fmla="*/ 173112 w 496214"/>
              <a:gd name="connsiteY40" fmla="*/ 144917 h 276301"/>
              <a:gd name="connsiteX41" fmla="*/ 184389 w 496214"/>
              <a:gd name="connsiteY41" fmla="*/ 146609 h 276301"/>
              <a:gd name="connsiteX42" fmla="*/ 198486 w 496214"/>
              <a:gd name="connsiteY42" fmla="*/ 155631 h 276301"/>
              <a:gd name="connsiteX43" fmla="*/ 198486 w 496214"/>
              <a:gd name="connsiteY43" fmla="*/ 167472 h 276301"/>
              <a:gd name="connsiteX44" fmla="*/ 209199 w 496214"/>
              <a:gd name="connsiteY44" fmla="*/ 173675 h 276301"/>
              <a:gd name="connsiteX45" fmla="*/ 215403 w 496214"/>
              <a:gd name="connsiteY45" fmla="*/ 188336 h 276301"/>
              <a:gd name="connsiteX46" fmla="*/ 226680 w 496214"/>
              <a:gd name="connsiteY46" fmla="*/ 196794 h 276301"/>
              <a:gd name="connsiteX47" fmla="*/ 225552 w 496214"/>
              <a:gd name="connsiteY47" fmla="*/ 202433 h 276301"/>
              <a:gd name="connsiteX48" fmla="*/ 231191 w 496214"/>
              <a:gd name="connsiteY48" fmla="*/ 205816 h 276301"/>
              <a:gd name="connsiteX49" fmla="*/ 224425 w 496214"/>
              <a:gd name="connsiteY49" fmla="*/ 208636 h 276301"/>
              <a:gd name="connsiteX50" fmla="*/ 207508 w 496214"/>
              <a:gd name="connsiteY50" fmla="*/ 207508 h 276301"/>
              <a:gd name="connsiteX51" fmla="*/ 204125 w 496214"/>
              <a:gd name="connsiteY51" fmla="*/ 202433 h 276301"/>
              <a:gd name="connsiteX52" fmla="*/ 198486 w 496214"/>
              <a:gd name="connsiteY52" fmla="*/ 205252 h 276301"/>
              <a:gd name="connsiteX53" fmla="*/ 201306 w 496214"/>
              <a:gd name="connsiteY53" fmla="*/ 211455 h 276301"/>
              <a:gd name="connsiteX54" fmla="*/ 195102 w 496214"/>
              <a:gd name="connsiteY54" fmla="*/ 222733 h 276301"/>
              <a:gd name="connsiteX55" fmla="*/ 192283 w 496214"/>
              <a:gd name="connsiteY55" fmla="*/ 234574 h 276301"/>
              <a:gd name="connsiteX56" fmla="*/ 185517 w 496214"/>
              <a:gd name="connsiteY56" fmla="*/ 238521 h 276301"/>
              <a:gd name="connsiteX57" fmla="*/ 199050 w 496214"/>
              <a:gd name="connsiteY57" fmla="*/ 244724 h 276301"/>
              <a:gd name="connsiteX58" fmla="*/ 211455 w 496214"/>
              <a:gd name="connsiteY58" fmla="*/ 239085 h 276301"/>
              <a:gd name="connsiteX59" fmla="*/ 224988 w 496214"/>
              <a:gd name="connsiteY59" fmla="*/ 245288 h 276301"/>
              <a:gd name="connsiteX60" fmla="*/ 243597 w 496214"/>
              <a:gd name="connsiteY60" fmla="*/ 219349 h 276301"/>
              <a:gd name="connsiteX61" fmla="*/ 250927 w 496214"/>
              <a:gd name="connsiteY61" fmla="*/ 200177 h 276301"/>
              <a:gd name="connsiteX62" fmla="*/ 276301 w 496214"/>
              <a:gd name="connsiteY62" fmla="*/ 195666 h 276301"/>
              <a:gd name="connsiteX63" fmla="*/ 280249 w 496214"/>
              <a:gd name="connsiteY63" fmla="*/ 209200 h 276301"/>
              <a:gd name="connsiteX64" fmla="*/ 325359 w 496214"/>
              <a:gd name="connsiteY64" fmla="*/ 217658 h 276301"/>
              <a:gd name="connsiteX65" fmla="*/ 334945 w 496214"/>
              <a:gd name="connsiteY65" fmla="*/ 225552 h 276301"/>
              <a:gd name="connsiteX66" fmla="*/ 309570 w 496214"/>
              <a:gd name="connsiteY66" fmla="*/ 237394 h 276301"/>
              <a:gd name="connsiteX67" fmla="*/ 305623 w 496214"/>
              <a:gd name="connsiteY67" fmla="*/ 244160 h 276301"/>
              <a:gd name="connsiteX68" fmla="*/ 338328 w 496214"/>
              <a:gd name="connsiteY68" fmla="*/ 254310 h 276301"/>
              <a:gd name="connsiteX69" fmla="*/ 334945 w 496214"/>
              <a:gd name="connsiteY69" fmla="*/ 270662 h 276301"/>
              <a:gd name="connsiteX70" fmla="*/ 351861 w 496214"/>
              <a:gd name="connsiteY70" fmla="*/ 277993 h 276301"/>
              <a:gd name="connsiteX71" fmla="*/ 387386 w 496214"/>
              <a:gd name="connsiteY71" fmla="*/ 257693 h 276301"/>
              <a:gd name="connsiteX72" fmla="*/ 417271 w 496214"/>
              <a:gd name="connsiteY72" fmla="*/ 251491 h 276301"/>
              <a:gd name="connsiteX73" fmla="*/ 420654 w 496214"/>
              <a:gd name="connsiteY73" fmla="*/ 239085 h 276301"/>
              <a:gd name="connsiteX74" fmla="*/ 391897 w 496214"/>
              <a:gd name="connsiteY74" fmla="*/ 241341 h 276301"/>
              <a:gd name="connsiteX75" fmla="*/ 376672 w 496214"/>
              <a:gd name="connsiteY75" fmla="*/ 232882 h 276301"/>
              <a:gd name="connsiteX76" fmla="*/ 371033 w 496214"/>
              <a:gd name="connsiteY76" fmla="*/ 210891 h 276301"/>
              <a:gd name="connsiteX77" fmla="*/ 393025 w 496214"/>
              <a:gd name="connsiteY77" fmla="*/ 197922 h 276301"/>
              <a:gd name="connsiteX78" fmla="*/ 418963 w 496214"/>
              <a:gd name="connsiteY78" fmla="*/ 196230 h 276301"/>
              <a:gd name="connsiteX79" fmla="*/ 435880 w 496214"/>
              <a:gd name="connsiteY79" fmla="*/ 184953 h 276301"/>
              <a:gd name="connsiteX80" fmla="*/ 457871 w 496214"/>
              <a:gd name="connsiteY80" fmla="*/ 182133 h 276301"/>
              <a:gd name="connsiteX81" fmla="*/ 455615 w 496214"/>
              <a:gd name="connsiteY81" fmla="*/ 166345 h 276301"/>
              <a:gd name="connsiteX82" fmla="*/ 468020 w 496214"/>
              <a:gd name="connsiteY82" fmla="*/ 156759 h 276301"/>
              <a:gd name="connsiteX83" fmla="*/ 494523 w 496214"/>
              <a:gd name="connsiteY83" fmla="*/ 153939 h 276301"/>
              <a:gd name="connsiteX84" fmla="*/ 496214 w 496214"/>
              <a:gd name="connsiteY84" fmla="*/ 142098 h 276301"/>
              <a:gd name="connsiteX85" fmla="*/ 486065 w 496214"/>
              <a:gd name="connsiteY85" fmla="*/ 122926 h 276301"/>
              <a:gd name="connsiteX86" fmla="*/ 493395 w 496214"/>
              <a:gd name="connsiteY86" fmla="*/ 104882 h 276301"/>
              <a:gd name="connsiteX87" fmla="*/ 491139 w 496214"/>
              <a:gd name="connsiteY87" fmla="*/ 94168 h 276301"/>
              <a:gd name="connsiteX88" fmla="*/ 448285 w 496214"/>
              <a:gd name="connsiteY88" fmla="*/ 82890 h 276301"/>
              <a:gd name="connsiteX89" fmla="*/ 431932 w 496214"/>
              <a:gd name="connsiteY89" fmla="*/ 83454 h 276301"/>
              <a:gd name="connsiteX90" fmla="*/ 411632 w 496214"/>
              <a:gd name="connsiteY90" fmla="*/ 67102 h 276301"/>
              <a:gd name="connsiteX91" fmla="*/ 391897 w 496214"/>
              <a:gd name="connsiteY91" fmla="*/ 72740 h 276301"/>
              <a:gd name="connsiteX92" fmla="*/ 354681 w 496214"/>
              <a:gd name="connsiteY92" fmla="*/ 60335 h 276301"/>
              <a:gd name="connsiteX93" fmla="*/ 353553 w 496214"/>
              <a:gd name="connsiteY93" fmla="*/ 53569 h 276301"/>
              <a:gd name="connsiteX94" fmla="*/ 341147 w 496214"/>
              <a:gd name="connsiteY94" fmla="*/ 38344 h 276301"/>
              <a:gd name="connsiteX95" fmla="*/ 318592 w 496214"/>
              <a:gd name="connsiteY95" fmla="*/ 37216 h 276301"/>
              <a:gd name="connsiteX96" fmla="*/ 314645 w 496214"/>
              <a:gd name="connsiteY96" fmla="*/ 26502 h 276301"/>
              <a:gd name="connsiteX97" fmla="*/ 319720 w 496214"/>
              <a:gd name="connsiteY97" fmla="*/ 19172 h 276301"/>
              <a:gd name="connsiteX98" fmla="*/ 298293 w 496214"/>
              <a:gd name="connsiteY98" fmla="*/ 0 h 2763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</a:cxnLst>
            <a:rect l="l" t="t" r="r" b="b"/>
            <a:pathLst>
              <a:path w="496214" h="276301">
                <a:moveTo>
                  <a:pt x="298293" y="0"/>
                </a:moveTo>
                <a:lnTo>
                  <a:pt x="271226" y="2819"/>
                </a:lnTo>
                <a:lnTo>
                  <a:pt x="262768" y="1128"/>
                </a:lnTo>
                <a:lnTo>
                  <a:pt x="257129" y="9022"/>
                </a:lnTo>
                <a:lnTo>
                  <a:pt x="246980" y="7894"/>
                </a:lnTo>
                <a:lnTo>
                  <a:pt x="246980" y="7894"/>
                </a:lnTo>
                <a:lnTo>
                  <a:pt x="223861" y="9586"/>
                </a:lnTo>
                <a:lnTo>
                  <a:pt x="217094" y="17480"/>
                </a:lnTo>
                <a:lnTo>
                  <a:pt x="218222" y="34961"/>
                </a:lnTo>
                <a:lnTo>
                  <a:pt x="206944" y="31577"/>
                </a:lnTo>
                <a:lnTo>
                  <a:pt x="182697" y="33269"/>
                </a:lnTo>
                <a:lnTo>
                  <a:pt x="174239" y="24811"/>
                </a:lnTo>
                <a:lnTo>
                  <a:pt x="165217" y="31013"/>
                </a:lnTo>
                <a:lnTo>
                  <a:pt x="153940" y="25939"/>
                </a:lnTo>
                <a:lnTo>
                  <a:pt x="132512" y="25375"/>
                </a:lnTo>
                <a:lnTo>
                  <a:pt x="100935" y="16916"/>
                </a:lnTo>
                <a:lnTo>
                  <a:pt x="72741" y="14097"/>
                </a:lnTo>
                <a:lnTo>
                  <a:pt x="51877" y="15225"/>
                </a:lnTo>
                <a:lnTo>
                  <a:pt x="38344" y="24247"/>
                </a:lnTo>
                <a:lnTo>
                  <a:pt x="25938" y="25939"/>
                </a:lnTo>
                <a:lnTo>
                  <a:pt x="43419" y="55824"/>
                </a:lnTo>
                <a:lnTo>
                  <a:pt x="41727" y="65974"/>
                </a:lnTo>
                <a:lnTo>
                  <a:pt x="28758" y="69921"/>
                </a:lnTo>
                <a:lnTo>
                  <a:pt x="7331" y="98679"/>
                </a:lnTo>
                <a:lnTo>
                  <a:pt x="16353" y="114468"/>
                </a:lnTo>
                <a:lnTo>
                  <a:pt x="10150" y="112212"/>
                </a:lnTo>
                <a:lnTo>
                  <a:pt x="3948" y="121798"/>
                </a:lnTo>
                <a:lnTo>
                  <a:pt x="0" y="135895"/>
                </a:lnTo>
                <a:lnTo>
                  <a:pt x="16353" y="145481"/>
                </a:lnTo>
                <a:lnTo>
                  <a:pt x="19736" y="154503"/>
                </a:lnTo>
                <a:lnTo>
                  <a:pt x="30450" y="147173"/>
                </a:lnTo>
                <a:lnTo>
                  <a:pt x="48494" y="151120"/>
                </a:lnTo>
                <a:lnTo>
                  <a:pt x="66538" y="151120"/>
                </a:lnTo>
                <a:lnTo>
                  <a:pt x="80071" y="159578"/>
                </a:lnTo>
                <a:lnTo>
                  <a:pt x="89093" y="154503"/>
                </a:lnTo>
                <a:lnTo>
                  <a:pt x="109393" y="151120"/>
                </a:lnTo>
                <a:lnTo>
                  <a:pt x="115032" y="142662"/>
                </a:lnTo>
                <a:lnTo>
                  <a:pt x="126873" y="142662"/>
                </a:lnTo>
                <a:lnTo>
                  <a:pt x="133076" y="137587"/>
                </a:lnTo>
                <a:lnTo>
                  <a:pt x="151120" y="134203"/>
                </a:lnTo>
                <a:lnTo>
                  <a:pt x="173112" y="144917"/>
                </a:lnTo>
                <a:lnTo>
                  <a:pt x="184389" y="146609"/>
                </a:lnTo>
                <a:lnTo>
                  <a:pt x="198486" y="155631"/>
                </a:lnTo>
                <a:lnTo>
                  <a:pt x="198486" y="167472"/>
                </a:lnTo>
                <a:lnTo>
                  <a:pt x="209199" y="173675"/>
                </a:lnTo>
                <a:lnTo>
                  <a:pt x="215403" y="188336"/>
                </a:lnTo>
                <a:lnTo>
                  <a:pt x="226680" y="196794"/>
                </a:lnTo>
                <a:lnTo>
                  <a:pt x="225552" y="202433"/>
                </a:lnTo>
                <a:lnTo>
                  <a:pt x="231191" y="205816"/>
                </a:lnTo>
                <a:lnTo>
                  <a:pt x="224425" y="208636"/>
                </a:lnTo>
                <a:lnTo>
                  <a:pt x="207508" y="207508"/>
                </a:lnTo>
                <a:lnTo>
                  <a:pt x="204125" y="202433"/>
                </a:lnTo>
                <a:lnTo>
                  <a:pt x="198486" y="205252"/>
                </a:lnTo>
                <a:lnTo>
                  <a:pt x="201306" y="211455"/>
                </a:lnTo>
                <a:lnTo>
                  <a:pt x="195102" y="222733"/>
                </a:lnTo>
                <a:lnTo>
                  <a:pt x="192283" y="234574"/>
                </a:lnTo>
                <a:lnTo>
                  <a:pt x="185517" y="238521"/>
                </a:lnTo>
                <a:lnTo>
                  <a:pt x="199050" y="244724"/>
                </a:lnTo>
                <a:lnTo>
                  <a:pt x="211455" y="239085"/>
                </a:lnTo>
                <a:lnTo>
                  <a:pt x="224988" y="245288"/>
                </a:lnTo>
                <a:lnTo>
                  <a:pt x="243597" y="219349"/>
                </a:lnTo>
                <a:lnTo>
                  <a:pt x="250927" y="200177"/>
                </a:lnTo>
                <a:lnTo>
                  <a:pt x="276301" y="195666"/>
                </a:lnTo>
                <a:lnTo>
                  <a:pt x="280249" y="209200"/>
                </a:lnTo>
                <a:lnTo>
                  <a:pt x="325359" y="217658"/>
                </a:lnTo>
                <a:lnTo>
                  <a:pt x="334945" y="225552"/>
                </a:lnTo>
                <a:lnTo>
                  <a:pt x="309570" y="237394"/>
                </a:lnTo>
                <a:lnTo>
                  <a:pt x="305623" y="244160"/>
                </a:lnTo>
                <a:lnTo>
                  <a:pt x="338328" y="254310"/>
                </a:lnTo>
                <a:lnTo>
                  <a:pt x="334945" y="270662"/>
                </a:lnTo>
                <a:lnTo>
                  <a:pt x="351861" y="277993"/>
                </a:lnTo>
                <a:lnTo>
                  <a:pt x="387386" y="257693"/>
                </a:lnTo>
                <a:lnTo>
                  <a:pt x="417271" y="251491"/>
                </a:lnTo>
                <a:lnTo>
                  <a:pt x="420654" y="239085"/>
                </a:lnTo>
                <a:lnTo>
                  <a:pt x="391897" y="241341"/>
                </a:lnTo>
                <a:lnTo>
                  <a:pt x="376672" y="232882"/>
                </a:lnTo>
                <a:lnTo>
                  <a:pt x="371033" y="210891"/>
                </a:lnTo>
                <a:lnTo>
                  <a:pt x="393025" y="197922"/>
                </a:lnTo>
                <a:lnTo>
                  <a:pt x="418963" y="196230"/>
                </a:lnTo>
                <a:lnTo>
                  <a:pt x="435880" y="184953"/>
                </a:lnTo>
                <a:lnTo>
                  <a:pt x="457871" y="182133"/>
                </a:lnTo>
                <a:lnTo>
                  <a:pt x="455615" y="166345"/>
                </a:lnTo>
                <a:lnTo>
                  <a:pt x="468020" y="156759"/>
                </a:lnTo>
                <a:lnTo>
                  <a:pt x="494523" y="153939"/>
                </a:lnTo>
                <a:lnTo>
                  <a:pt x="496214" y="142098"/>
                </a:lnTo>
                <a:lnTo>
                  <a:pt x="486065" y="122926"/>
                </a:lnTo>
                <a:lnTo>
                  <a:pt x="493395" y="104882"/>
                </a:lnTo>
                <a:lnTo>
                  <a:pt x="491139" y="94168"/>
                </a:lnTo>
                <a:lnTo>
                  <a:pt x="448285" y="82890"/>
                </a:lnTo>
                <a:lnTo>
                  <a:pt x="431932" y="83454"/>
                </a:lnTo>
                <a:lnTo>
                  <a:pt x="411632" y="67102"/>
                </a:lnTo>
                <a:lnTo>
                  <a:pt x="391897" y="72740"/>
                </a:lnTo>
                <a:lnTo>
                  <a:pt x="354681" y="60335"/>
                </a:lnTo>
                <a:lnTo>
                  <a:pt x="353553" y="53569"/>
                </a:lnTo>
                <a:lnTo>
                  <a:pt x="341147" y="38344"/>
                </a:lnTo>
                <a:lnTo>
                  <a:pt x="318592" y="37216"/>
                </a:lnTo>
                <a:lnTo>
                  <a:pt x="314645" y="26502"/>
                </a:lnTo>
                <a:lnTo>
                  <a:pt x="319720" y="19172"/>
                </a:lnTo>
                <a:lnTo>
                  <a:pt x="298293" y="0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3" name="Freeform: Shape 396">
            <a:extLst>
              <a:ext uri="{FF2B5EF4-FFF2-40B4-BE49-F238E27FC236}">
                <a16:creationId xmlns:a16="http://schemas.microsoft.com/office/drawing/2014/main" id="{8834DE3E-859A-4474-B24F-168DC525FAC0}"/>
              </a:ext>
            </a:extLst>
          </p:cNvPr>
          <p:cNvSpPr/>
          <p:nvPr/>
        </p:nvSpPr>
        <p:spPr>
          <a:xfrm>
            <a:off x="4530155" y="4929823"/>
            <a:ext cx="113772" cy="126413"/>
          </a:xfrm>
          <a:custGeom>
            <a:avLst/>
            <a:gdLst>
              <a:gd name="connsiteX0" fmla="*/ 153939 w 152247"/>
              <a:gd name="connsiteY0" fmla="*/ 131384 h 169164"/>
              <a:gd name="connsiteX1" fmla="*/ 142098 w 152247"/>
              <a:gd name="connsiteY1" fmla="*/ 110520 h 169164"/>
              <a:gd name="connsiteX2" fmla="*/ 152811 w 152247"/>
              <a:gd name="connsiteY2" fmla="*/ 93604 h 169164"/>
              <a:gd name="connsiteX3" fmla="*/ 131384 w 152247"/>
              <a:gd name="connsiteY3" fmla="*/ 69357 h 169164"/>
              <a:gd name="connsiteX4" fmla="*/ 104318 w 152247"/>
              <a:gd name="connsiteY4" fmla="*/ 49621 h 169164"/>
              <a:gd name="connsiteX5" fmla="*/ 69357 w 152247"/>
              <a:gd name="connsiteY5" fmla="*/ 26502 h 169164"/>
              <a:gd name="connsiteX6" fmla="*/ 58643 w 152247"/>
              <a:gd name="connsiteY6" fmla="*/ 27630 h 169164"/>
              <a:gd name="connsiteX7" fmla="*/ 23683 w 152247"/>
              <a:gd name="connsiteY7" fmla="*/ 0 h 169164"/>
              <a:gd name="connsiteX8" fmla="*/ 4511 w 152247"/>
              <a:gd name="connsiteY8" fmla="*/ 3947 h 169164"/>
              <a:gd name="connsiteX9" fmla="*/ 1692 w 152247"/>
              <a:gd name="connsiteY9" fmla="*/ 32705 h 169164"/>
              <a:gd name="connsiteX10" fmla="*/ 0 w 152247"/>
              <a:gd name="connsiteY10" fmla="*/ 69357 h 169164"/>
              <a:gd name="connsiteX11" fmla="*/ 6203 w 152247"/>
              <a:gd name="connsiteY11" fmla="*/ 104882 h 169164"/>
              <a:gd name="connsiteX12" fmla="*/ 1128 w 152247"/>
              <a:gd name="connsiteY12" fmla="*/ 112776 h 169164"/>
              <a:gd name="connsiteX13" fmla="*/ 3383 w 152247"/>
              <a:gd name="connsiteY13" fmla="*/ 136459 h 169164"/>
              <a:gd name="connsiteX14" fmla="*/ 25375 w 152247"/>
              <a:gd name="connsiteY14" fmla="*/ 156195 h 169164"/>
              <a:gd name="connsiteX15" fmla="*/ 45674 w 152247"/>
              <a:gd name="connsiteY15" fmla="*/ 155067 h 169164"/>
              <a:gd name="connsiteX16" fmla="*/ 76124 w 152247"/>
              <a:gd name="connsiteY16" fmla="*/ 170292 h 169164"/>
              <a:gd name="connsiteX17" fmla="*/ 91349 w 152247"/>
              <a:gd name="connsiteY17" fmla="*/ 166908 h 169164"/>
              <a:gd name="connsiteX18" fmla="*/ 115031 w 152247"/>
              <a:gd name="connsiteY18" fmla="*/ 173675 h 169164"/>
              <a:gd name="connsiteX19" fmla="*/ 144917 w 152247"/>
              <a:gd name="connsiteY19" fmla="*/ 153939 h 169164"/>
              <a:gd name="connsiteX20" fmla="*/ 153939 w 152247"/>
              <a:gd name="connsiteY20" fmla="*/ 131384 h 1691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52247" h="169164">
                <a:moveTo>
                  <a:pt x="153939" y="131384"/>
                </a:moveTo>
                <a:lnTo>
                  <a:pt x="142098" y="110520"/>
                </a:lnTo>
                <a:lnTo>
                  <a:pt x="152811" y="93604"/>
                </a:lnTo>
                <a:lnTo>
                  <a:pt x="131384" y="69357"/>
                </a:lnTo>
                <a:lnTo>
                  <a:pt x="104318" y="49621"/>
                </a:lnTo>
                <a:lnTo>
                  <a:pt x="69357" y="26502"/>
                </a:lnTo>
                <a:lnTo>
                  <a:pt x="58643" y="27630"/>
                </a:lnTo>
                <a:lnTo>
                  <a:pt x="23683" y="0"/>
                </a:lnTo>
                <a:lnTo>
                  <a:pt x="4511" y="3947"/>
                </a:lnTo>
                <a:lnTo>
                  <a:pt x="1692" y="32705"/>
                </a:lnTo>
                <a:lnTo>
                  <a:pt x="0" y="69357"/>
                </a:lnTo>
                <a:lnTo>
                  <a:pt x="6203" y="104882"/>
                </a:lnTo>
                <a:lnTo>
                  <a:pt x="1128" y="112776"/>
                </a:lnTo>
                <a:lnTo>
                  <a:pt x="3383" y="136459"/>
                </a:lnTo>
                <a:lnTo>
                  <a:pt x="25375" y="156195"/>
                </a:lnTo>
                <a:lnTo>
                  <a:pt x="45674" y="155067"/>
                </a:lnTo>
                <a:lnTo>
                  <a:pt x="76124" y="170292"/>
                </a:lnTo>
                <a:lnTo>
                  <a:pt x="91349" y="166908"/>
                </a:lnTo>
                <a:lnTo>
                  <a:pt x="115031" y="173675"/>
                </a:lnTo>
                <a:lnTo>
                  <a:pt x="144917" y="153939"/>
                </a:lnTo>
                <a:lnTo>
                  <a:pt x="153939" y="131384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4" name="Freeform: Shape 397">
            <a:extLst>
              <a:ext uri="{FF2B5EF4-FFF2-40B4-BE49-F238E27FC236}">
                <a16:creationId xmlns:a16="http://schemas.microsoft.com/office/drawing/2014/main" id="{77C9185B-A48D-4158-8875-9B2DA9900DB9}"/>
              </a:ext>
            </a:extLst>
          </p:cNvPr>
          <p:cNvSpPr/>
          <p:nvPr/>
        </p:nvSpPr>
        <p:spPr>
          <a:xfrm>
            <a:off x="2138830" y="2268814"/>
            <a:ext cx="2279659" cy="1344198"/>
          </a:xfrm>
          <a:custGeom>
            <a:avLst/>
            <a:gdLst>
              <a:gd name="connsiteX0" fmla="*/ 107137 w 3050590"/>
              <a:gd name="connsiteY0" fmla="*/ 1795958 h 1798777"/>
              <a:gd name="connsiteX1" fmla="*/ 118415 w 3050590"/>
              <a:gd name="connsiteY1" fmla="*/ 1790883 h 1798777"/>
              <a:gd name="connsiteX2" fmla="*/ 132512 w 3050590"/>
              <a:gd name="connsiteY2" fmla="*/ 1782989 h 1798777"/>
              <a:gd name="connsiteX3" fmla="*/ 133640 w 3050590"/>
              <a:gd name="connsiteY3" fmla="*/ 1780733 h 1798777"/>
              <a:gd name="connsiteX4" fmla="*/ 128565 w 3050590"/>
              <a:gd name="connsiteY4" fmla="*/ 1768328 h 1798777"/>
              <a:gd name="connsiteX5" fmla="*/ 124618 w 3050590"/>
              <a:gd name="connsiteY5" fmla="*/ 1763817 h 1798777"/>
              <a:gd name="connsiteX6" fmla="*/ 120106 w 3050590"/>
              <a:gd name="connsiteY6" fmla="*/ 1760433 h 1798777"/>
              <a:gd name="connsiteX7" fmla="*/ 109393 w 3050590"/>
              <a:gd name="connsiteY7" fmla="*/ 1754231 h 1798777"/>
              <a:gd name="connsiteX8" fmla="*/ 107137 w 3050590"/>
              <a:gd name="connsiteY8" fmla="*/ 1753667 h 1798777"/>
              <a:gd name="connsiteX9" fmla="*/ 104882 w 3050590"/>
              <a:gd name="connsiteY9" fmla="*/ 1757050 h 1798777"/>
              <a:gd name="connsiteX10" fmla="*/ 104882 w 3050590"/>
              <a:gd name="connsiteY10" fmla="*/ 1764381 h 1798777"/>
              <a:gd name="connsiteX11" fmla="*/ 98115 w 3050590"/>
              <a:gd name="connsiteY11" fmla="*/ 1770019 h 1798777"/>
              <a:gd name="connsiteX12" fmla="*/ 95860 w 3050590"/>
              <a:gd name="connsiteY12" fmla="*/ 1773967 h 1798777"/>
              <a:gd name="connsiteX13" fmla="*/ 98115 w 3050590"/>
              <a:gd name="connsiteY13" fmla="*/ 1786936 h 1798777"/>
              <a:gd name="connsiteX14" fmla="*/ 94732 w 3050590"/>
              <a:gd name="connsiteY14" fmla="*/ 1797086 h 1798777"/>
              <a:gd name="connsiteX15" fmla="*/ 101498 w 3050590"/>
              <a:gd name="connsiteY15" fmla="*/ 1802161 h 1798777"/>
              <a:gd name="connsiteX16" fmla="*/ 107137 w 3050590"/>
              <a:gd name="connsiteY16" fmla="*/ 1795958 h 1798777"/>
              <a:gd name="connsiteX17" fmla="*/ 103754 w 3050590"/>
              <a:gd name="connsiteY17" fmla="*/ 1740134 h 1798777"/>
              <a:gd name="connsiteX18" fmla="*/ 107137 w 3050590"/>
              <a:gd name="connsiteY18" fmla="*/ 1736187 h 1798777"/>
              <a:gd name="connsiteX19" fmla="*/ 100371 w 3050590"/>
              <a:gd name="connsiteY19" fmla="*/ 1730548 h 1798777"/>
              <a:gd name="connsiteX20" fmla="*/ 90221 w 3050590"/>
              <a:gd name="connsiteY20" fmla="*/ 1727165 h 1798777"/>
              <a:gd name="connsiteX21" fmla="*/ 86274 w 3050590"/>
              <a:gd name="connsiteY21" fmla="*/ 1729984 h 1798777"/>
              <a:gd name="connsiteX22" fmla="*/ 86274 w 3050590"/>
              <a:gd name="connsiteY22" fmla="*/ 1732239 h 1798777"/>
              <a:gd name="connsiteX23" fmla="*/ 89093 w 3050590"/>
              <a:gd name="connsiteY23" fmla="*/ 1735059 h 1798777"/>
              <a:gd name="connsiteX24" fmla="*/ 92476 w 3050590"/>
              <a:gd name="connsiteY24" fmla="*/ 1742953 h 1798777"/>
              <a:gd name="connsiteX25" fmla="*/ 103754 w 3050590"/>
              <a:gd name="connsiteY25" fmla="*/ 1740134 h 1798777"/>
              <a:gd name="connsiteX26" fmla="*/ 86838 w 3050590"/>
              <a:gd name="connsiteY26" fmla="*/ 1720962 h 1798777"/>
              <a:gd name="connsiteX27" fmla="*/ 72177 w 3050590"/>
              <a:gd name="connsiteY27" fmla="*/ 1719834 h 1798777"/>
              <a:gd name="connsiteX28" fmla="*/ 68793 w 3050590"/>
              <a:gd name="connsiteY28" fmla="*/ 1723781 h 1798777"/>
              <a:gd name="connsiteX29" fmla="*/ 85146 w 3050590"/>
              <a:gd name="connsiteY29" fmla="*/ 1724909 h 1798777"/>
              <a:gd name="connsiteX30" fmla="*/ 86838 w 3050590"/>
              <a:gd name="connsiteY30" fmla="*/ 1720962 h 1798777"/>
              <a:gd name="connsiteX31" fmla="*/ 60335 w 3050590"/>
              <a:gd name="connsiteY31" fmla="*/ 1715887 h 1798777"/>
              <a:gd name="connsiteX32" fmla="*/ 54133 w 3050590"/>
              <a:gd name="connsiteY32" fmla="*/ 1704045 h 1798777"/>
              <a:gd name="connsiteX33" fmla="*/ 52441 w 3050590"/>
              <a:gd name="connsiteY33" fmla="*/ 1701790 h 1798777"/>
              <a:gd name="connsiteX34" fmla="*/ 42855 w 3050590"/>
              <a:gd name="connsiteY34" fmla="*/ 1706865 h 1798777"/>
              <a:gd name="connsiteX35" fmla="*/ 43419 w 3050590"/>
              <a:gd name="connsiteY35" fmla="*/ 1707993 h 1798777"/>
              <a:gd name="connsiteX36" fmla="*/ 45674 w 3050590"/>
              <a:gd name="connsiteY36" fmla="*/ 1716451 h 1798777"/>
              <a:gd name="connsiteX37" fmla="*/ 55824 w 3050590"/>
              <a:gd name="connsiteY37" fmla="*/ 1717579 h 1798777"/>
              <a:gd name="connsiteX38" fmla="*/ 58080 w 3050590"/>
              <a:gd name="connsiteY38" fmla="*/ 1718142 h 1798777"/>
              <a:gd name="connsiteX39" fmla="*/ 60335 w 3050590"/>
              <a:gd name="connsiteY39" fmla="*/ 1715887 h 1798777"/>
              <a:gd name="connsiteX40" fmla="*/ 13533 w 3050590"/>
              <a:gd name="connsiteY40" fmla="*/ 1692204 h 1798777"/>
              <a:gd name="connsiteX41" fmla="*/ 15225 w 3050590"/>
              <a:gd name="connsiteY41" fmla="*/ 1683746 h 1798777"/>
              <a:gd name="connsiteX42" fmla="*/ 7894 w 3050590"/>
              <a:gd name="connsiteY42" fmla="*/ 1683182 h 1798777"/>
              <a:gd name="connsiteX43" fmla="*/ 2256 w 3050590"/>
              <a:gd name="connsiteY43" fmla="*/ 1686565 h 1798777"/>
              <a:gd name="connsiteX44" fmla="*/ 0 w 3050590"/>
              <a:gd name="connsiteY44" fmla="*/ 1689385 h 1798777"/>
              <a:gd name="connsiteX45" fmla="*/ 9022 w 3050590"/>
              <a:gd name="connsiteY45" fmla="*/ 1695587 h 1798777"/>
              <a:gd name="connsiteX46" fmla="*/ 13533 w 3050590"/>
              <a:gd name="connsiteY46" fmla="*/ 1692204 h 1798777"/>
              <a:gd name="connsiteX47" fmla="*/ 2337283 w 3050590"/>
              <a:gd name="connsiteY47" fmla="*/ 715564 h 1798777"/>
              <a:gd name="connsiteX48" fmla="*/ 2328261 w 3050590"/>
              <a:gd name="connsiteY48" fmla="*/ 715564 h 1798777"/>
              <a:gd name="connsiteX49" fmla="*/ 2320930 w 3050590"/>
              <a:gd name="connsiteY49" fmla="*/ 729097 h 1798777"/>
              <a:gd name="connsiteX50" fmla="*/ 2263978 w 3050590"/>
              <a:gd name="connsiteY50" fmla="*/ 729097 h 1798777"/>
              <a:gd name="connsiteX51" fmla="*/ 2169246 w 3050590"/>
              <a:gd name="connsiteY51" fmla="*/ 729097 h 1798777"/>
              <a:gd name="connsiteX52" fmla="*/ 2075079 w 3050590"/>
              <a:gd name="connsiteY52" fmla="*/ 729097 h 1798777"/>
              <a:gd name="connsiteX53" fmla="*/ 1991624 w 3050590"/>
              <a:gd name="connsiteY53" fmla="*/ 729097 h 1798777"/>
              <a:gd name="connsiteX54" fmla="*/ 1908734 w 3050590"/>
              <a:gd name="connsiteY54" fmla="*/ 729097 h 1798777"/>
              <a:gd name="connsiteX55" fmla="*/ 1826971 w 3050590"/>
              <a:gd name="connsiteY55" fmla="*/ 729097 h 1798777"/>
              <a:gd name="connsiteX56" fmla="*/ 1742389 w 3050590"/>
              <a:gd name="connsiteY56" fmla="*/ 729097 h 1798777"/>
              <a:gd name="connsiteX57" fmla="*/ 1715323 w 3050590"/>
              <a:gd name="connsiteY57" fmla="*/ 729097 h 1798777"/>
              <a:gd name="connsiteX58" fmla="*/ 1632996 w 3050590"/>
              <a:gd name="connsiteY58" fmla="*/ 729097 h 1798777"/>
              <a:gd name="connsiteX59" fmla="*/ 1554617 w 3050590"/>
              <a:gd name="connsiteY59" fmla="*/ 729097 h 1798777"/>
              <a:gd name="connsiteX60" fmla="*/ 1545595 w 3050590"/>
              <a:gd name="connsiteY60" fmla="*/ 757855 h 1798777"/>
              <a:gd name="connsiteX61" fmla="*/ 1532062 w 3050590"/>
              <a:gd name="connsiteY61" fmla="*/ 786613 h 1798777"/>
              <a:gd name="connsiteX62" fmla="*/ 1519093 w 3050590"/>
              <a:gd name="connsiteY62" fmla="*/ 795635 h 1798777"/>
              <a:gd name="connsiteX63" fmla="*/ 1525296 w 3050590"/>
              <a:gd name="connsiteY63" fmla="*/ 762366 h 1798777"/>
              <a:gd name="connsiteX64" fmla="*/ 1492590 w 3050590"/>
              <a:gd name="connsiteY64" fmla="*/ 750524 h 1798777"/>
              <a:gd name="connsiteX65" fmla="*/ 1484696 w 3050590"/>
              <a:gd name="connsiteY65" fmla="*/ 757291 h 1798777"/>
              <a:gd name="connsiteX66" fmla="*/ 1482441 w 3050590"/>
              <a:gd name="connsiteY66" fmla="*/ 773643 h 1798777"/>
              <a:gd name="connsiteX67" fmla="*/ 1472291 w 3050590"/>
              <a:gd name="connsiteY67" fmla="*/ 804093 h 1798777"/>
              <a:gd name="connsiteX68" fmla="*/ 1448608 w 3050590"/>
              <a:gd name="connsiteY68" fmla="*/ 850895 h 1798777"/>
              <a:gd name="connsiteX69" fmla="*/ 1426053 w 3050590"/>
              <a:gd name="connsiteY69" fmla="*/ 882472 h 1798777"/>
              <a:gd name="connsiteX70" fmla="*/ 1403497 w 3050590"/>
              <a:gd name="connsiteY70" fmla="*/ 914049 h 1798777"/>
              <a:gd name="connsiteX71" fmla="*/ 1373048 w 3050590"/>
              <a:gd name="connsiteY71" fmla="*/ 946755 h 1798777"/>
              <a:gd name="connsiteX72" fmla="*/ 1366845 w 3050590"/>
              <a:gd name="connsiteY72" fmla="*/ 973257 h 1798777"/>
              <a:gd name="connsiteX73" fmla="*/ 1351056 w 3050590"/>
              <a:gd name="connsiteY73" fmla="*/ 1003143 h 1798777"/>
              <a:gd name="connsiteX74" fmla="*/ 1329065 w 3050590"/>
              <a:gd name="connsiteY74" fmla="*/ 1032464 h 1798777"/>
              <a:gd name="connsiteX75" fmla="*/ 1334704 w 3050590"/>
              <a:gd name="connsiteY75" fmla="*/ 1051636 h 1798777"/>
              <a:gd name="connsiteX76" fmla="*/ 1323990 w 3050590"/>
              <a:gd name="connsiteY76" fmla="*/ 1080958 h 1798777"/>
              <a:gd name="connsiteX77" fmla="*/ 1332449 w 3050590"/>
              <a:gd name="connsiteY77" fmla="*/ 1111408 h 1798777"/>
              <a:gd name="connsiteX78" fmla="*/ 1339779 w 3050590"/>
              <a:gd name="connsiteY78" fmla="*/ 1123813 h 1798777"/>
              <a:gd name="connsiteX79" fmla="*/ 1335268 w 3050590"/>
              <a:gd name="connsiteY79" fmla="*/ 1132271 h 1798777"/>
              <a:gd name="connsiteX80" fmla="*/ 1337523 w 3050590"/>
              <a:gd name="connsiteY80" fmla="*/ 1183020 h 1798777"/>
              <a:gd name="connsiteX81" fmla="*/ 1351620 w 3050590"/>
              <a:gd name="connsiteY81" fmla="*/ 1219673 h 1798777"/>
              <a:gd name="connsiteX82" fmla="*/ 1347109 w 3050590"/>
              <a:gd name="connsiteY82" fmla="*/ 1239408 h 1798777"/>
              <a:gd name="connsiteX83" fmla="*/ 1352748 w 3050590"/>
              <a:gd name="connsiteY83" fmla="*/ 1245047 h 1798777"/>
              <a:gd name="connsiteX84" fmla="*/ 1378687 w 3050590"/>
              <a:gd name="connsiteY84" fmla="*/ 1248994 h 1798777"/>
              <a:gd name="connsiteX85" fmla="*/ 1386017 w 3050590"/>
              <a:gd name="connsiteY85" fmla="*/ 1258580 h 1798777"/>
              <a:gd name="connsiteX86" fmla="*/ 1401806 w 3050590"/>
              <a:gd name="connsiteY86" fmla="*/ 1260272 h 1798777"/>
              <a:gd name="connsiteX87" fmla="*/ 1401242 w 3050590"/>
              <a:gd name="connsiteY87" fmla="*/ 1270986 h 1798777"/>
              <a:gd name="connsiteX88" fmla="*/ 1413647 w 3050590"/>
              <a:gd name="connsiteY88" fmla="*/ 1274933 h 1798777"/>
              <a:gd name="connsiteX89" fmla="*/ 1425489 w 3050590"/>
              <a:gd name="connsiteY89" fmla="*/ 1295796 h 1798777"/>
              <a:gd name="connsiteX90" fmla="*/ 1423797 w 3050590"/>
              <a:gd name="connsiteY90" fmla="*/ 1313841 h 1798777"/>
              <a:gd name="connsiteX91" fmla="*/ 1459322 w 3050590"/>
              <a:gd name="connsiteY91" fmla="*/ 1311021 h 1798777"/>
              <a:gd name="connsiteX92" fmla="*/ 1498793 w 3050590"/>
              <a:gd name="connsiteY92" fmla="*/ 1307074 h 1798777"/>
              <a:gd name="connsiteX93" fmla="*/ 1493154 w 3050590"/>
              <a:gd name="connsiteY93" fmla="*/ 1314404 h 1798777"/>
              <a:gd name="connsiteX94" fmla="*/ 1533190 w 3050590"/>
              <a:gd name="connsiteY94" fmla="*/ 1331885 h 1798777"/>
              <a:gd name="connsiteX95" fmla="*/ 1593525 w 3050590"/>
              <a:gd name="connsiteY95" fmla="*/ 1356695 h 1798777"/>
              <a:gd name="connsiteX96" fmla="*/ 1653860 w 3050590"/>
              <a:gd name="connsiteY96" fmla="*/ 1356695 h 1798777"/>
              <a:gd name="connsiteX97" fmla="*/ 1678107 w 3050590"/>
              <a:gd name="connsiteY97" fmla="*/ 1356695 h 1798777"/>
              <a:gd name="connsiteX98" fmla="*/ 1682618 w 3050590"/>
              <a:gd name="connsiteY98" fmla="*/ 1342035 h 1798777"/>
              <a:gd name="connsiteX99" fmla="*/ 1735059 w 3050590"/>
              <a:gd name="connsiteY99" fmla="*/ 1342035 h 1798777"/>
              <a:gd name="connsiteX100" fmla="*/ 1742389 w 3050590"/>
              <a:gd name="connsiteY100" fmla="*/ 1354440 h 1798777"/>
              <a:gd name="connsiteX101" fmla="*/ 1754231 w 3050590"/>
              <a:gd name="connsiteY101" fmla="*/ 1365717 h 1798777"/>
              <a:gd name="connsiteX102" fmla="*/ 1767764 w 3050590"/>
              <a:gd name="connsiteY102" fmla="*/ 1381506 h 1798777"/>
              <a:gd name="connsiteX103" fmla="*/ 1772275 w 3050590"/>
              <a:gd name="connsiteY103" fmla="*/ 1400114 h 1798777"/>
              <a:gd name="connsiteX104" fmla="*/ 1774530 w 3050590"/>
              <a:gd name="connsiteY104" fmla="*/ 1419850 h 1798777"/>
              <a:gd name="connsiteX105" fmla="*/ 1786936 w 3050590"/>
              <a:gd name="connsiteY105" fmla="*/ 1430564 h 1798777"/>
              <a:gd name="connsiteX106" fmla="*/ 1809491 w 3050590"/>
              <a:gd name="connsiteY106" fmla="*/ 1441277 h 1798777"/>
              <a:gd name="connsiteX107" fmla="*/ 1836557 w 3050590"/>
              <a:gd name="connsiteY107" fmla="*/ 1413083 h 1798777"/>
              <a:gd name="connsiteX108" fmla="*/ 1861368 w 3050590"/>
              <a:gd name="connsiteY108" fmla="*/ 1412520 h 1798777"/>
              <a:gd name="connsiteX109" fmla="*/ 1878848 w 3050590"/>
              <a:gd name="connsiteY109" fmla="*/ 1426617 h 1798777"/>
              <a:gd name="connsiteX110" fmla="*/ 1887870 w 3050590"/>
              <a:gd name="connsiteY110" fmla="*/ 1451427 h 1798777"/>
              <a:gd name="connsiteX111" fmla="*/ 1893509 w 3050590"/>
              <a:gd name="connsiteY111" fmla="*/ 1472291 h 1798777"/>
              <a:gd name="connsiteX112" fmla="*/ 1907042 w 3050590"/>
              <a:gd name="connsiteY112" fmla="*/ 1492590 h 1798777"/>
              <a:gd name="connsiteX113" fmla="*/ 1908170 w 3050590"/>
              <a:gd name="connsiteY113" fmla="*/ 1517965 h 1798777"/>
              <a:gd name="connsiteX114" fmla="*/ 1912681 w 3050590"/>
              <a:gd name="connsiteY114" fmla="*/ 1534881 h 1798777"/>
              <a:gd name="connsiteX115" fmla="*/ 1934672 w 3050590"/>
              <a:gd name="connsiteY115" fmla="*/ 1546159 h 1798777"/>
              <a:gd name="connsiteX116" fmla="*/ 1954972 w 3050590"/>
              <a:gd name="connsiteY116" fmla="*/ 1554053 h 1798777"/>
              <a:gd name="connsiteX117" fmla="*/ 1966814 w 3050590"/>
              <a:gd name="connsiteY117" fmla="*/ 1552926 h 1798777"/>
              <a:gd name="connsiteX118" fmla="*/ 1963430 w 3050590"/>
              <a:gd name="connsiteY118" fmla="*/ 1540520 h 1798777"/>
              <a:gd name="connsiteX119" fmla="*/ 1965686 w 3050590"/>
              <a:gd name="connsiteY119" fmla="*/ 1523040 h 1798777"/>
              <a:gd name="connsiteX120" fmla="*/ 1971324 w 3050590"/>
              <a:gd name="connsiteY120" fmla="*/ 1498229 h 1798777"/>
              <a:gd name="connsiteX121" fmla="*/ 1982038 w 3050590"/>
              <a:gd name="connsiteY121" fmla="*/ 1482441 h 1798777"/>
              <a:gd name="connsiteX122" fmla="*/ 2002902 w 3050590"/>
              <a:gd name="connsiteY122" fmla="*/ 1464960 h 1798777"/>
              <a:gd name="connsiteX123" fmla="*/ 2036735 w 3050590"/>
              <a:gd name="connsiteY123" fmla="*/ 1449736 h 1798777"/>
              <a:gd name="connsiteX124" fmla="*/ 2071131 w 3050590"/>
              <a:gd name="connsiteY124" fmla="*/ 1423233 h 1798777"/>
              <a:gd name="connsiteX125" fmla="*/ 2098761 w 3050590"/>
              <a:gd name="connsiteY125" fmla="*/ 1414775 h 1798777"/>
              <a:gd name="connsiteX126" fmla="*/ 2118497 w 3050590"/>
              <a:gd name="connsiteY126" fmla="*/ 1412520 h 1798777"/>
              <a:gd name="connsiteX127" fmla="*/ 2138233 w 3050590"/>
              <a:gd name="connsiteY127" fmla="*/ 1420414 h 1798777"/>
              <a:gd name="connsiteX128" fmla="*/ 2165863 w 3050590"/>
              <a:gd name="connsiteY128" fmla="*/ 1415903 h 1798777"/>
              <a:gd name="connsiteX129" fmla="*/ 2184471 w 3050590"/>
              <a:gd name="connsiteY129" fmla="*/ 1435075 h 1798777"/>
              <a:gd name="connsiteX130" fmla="*/ 2205899 w 3050590"/>
              <a:gd name="connsiteY130" fmla="*/ 1436202 h 1798777"/>
              <a:gd name="connsiteX131" fmla="*/ 2219432 w 3050590"/>
              <a:gd name="connsiteY131" fmla="*/ 1429436 h 1798777"/>
              <a:gd name="connsiteX132" fmla="*/ 2229018 w 3050590"/>
              <a:gd name="connsiteY132" fmla="*/ 1434511 h 1798777"/>
              <a:gd name="connsiteX133" fmla="*/ 2236348 w 3050590"/>
              <a:gd name="connsiteY133" fmla="*/ 1430000 h 1798777"/>
              <a:gd name="connsiteX134" fmla="*/ 2231273 w 3050590"/>
              <a:gd name="connsiteY134" fmla="*/ 1422669 h 1798777"/>
              <a:gd name="connsiteX135" fmla="*/ 2235220 w 3050590"/>
              <a:gd name="connsiteY135" fmla="*/ 1408572 h 1798777"/>
              <a:gd name="connsiteX136" fmla="*/ 2232401 w 3050590"/>
              <a:gd name="connsiteY136" fmla="*/ 1398986 h 1798777"/>
              <a:gd name="connsiteX137" fmla="*/ 2245934 w 3050590"/>
              <a:gd name="connsiteY137" fmla="*/ 1393348 h 1798777"/>
              <a:gd name="connsiteX138" fmla="*/ 2269617 w 3050590"/>
              <a:gd name="connsiteY138" fmla="*/ 1391092 h 1798777"/>
              <a:gd name="connsiteX139" fmla="*/ 2296119 w 3050590"/>
              <a:gd name="connsiteY139" fmla="*/ 1395039 h 1798777"/>
              <a:gd name="connsiteX140" fmla="*/ 2331080 w 3050590"/>
              <a:gd name="connsiteY140" fmla="*/ 1390528 h 1798777"/>
              <a:gd name="connsiteX141" fmla="*/ 2347996 w 3050590"/>
              <a:gd name="connsiteY141" fmla="*/ 1398986 h 1798777"/>
              <a:gd name="connsiteX142" fmla="*/ 2359274 w 3050590"/>
              <a:gd name="connsiteY142" fmla="*/ 1415903 h 1798777"/>
              <a:gd name="connsiteX143" fmla="*/ 2364349 w 3050590"/>
              <a:gd name="connsiteY143" fmla="*/ 1417594 h 1798777"/>
              <a:gd name="connsiteX144" fmla="*/ 2398746 w 3050590"/>
              <a:gd name="connsiteY144" fmla="*/ 1401242 h 1798777"/>
              <a:gd name="connsiteX145" fmla="*/ 2409459 w 3050590"/>
              <a:gd name="connsiteY145" fmla="*/ 1406881 h 1798777"/>
              <a:gd name="connsiteX146" fmla="*/ 2426376 w 3050590"/>
              <a:gd name="connsiteY146" fmla="*/ 1436766 h 1798777"/>
              <a:gd name="connsiteX147" fmla="*/ 2430887 w 3050590"/>
              <a:gd name="connsiteY147" fmla="*/ 1456502 h 1798777"/>
              <a:gd name="connsiteX148" fmla="*/ 2419609 w 3050590"/>
              <a:gd name="connsiteY148" fmla="*/ 1480185 h 1798777"/>
              <a:gd name="connsiteX149" fmla="*/ 2421865 w 3050590"/>
              <a:gd name="connsiteY149" fmla="*/ 1494282 h 1798777"/>
              <a:gd name="connsiteX150" fmla="*/ 2430887 w 3050590"/>
              <a:gd name="connsiteY150" fmla="*/ 1521912 h 1798777"/>
              <a:gd name="connsiteX151" fmla="*/ 2442164 w 3050590"/>
              <a:gd name="connsiteY151" fmla="*/ 1552926 h 1798777"/>
              <a:gd name="connsiteX152" fmla="*/ 2452314 w 3050590"/>
              <a:gd name="connsiteY152" fmla="*/ 1560820 h 1798777"/>
              <a:gd name="connsiteX153" fmla="*/ 2454570 w 3050590"/>
              <a:gd name="connsiteY153" fmla="*/ 1576609 h 1798777"/>
              <a:gd name="connsiteX154" fmla="*/ 2469231 w 3050590"/>
              <a:gd name="connsiteY154" fmla="*/ 1581120 h 1798777"/>
              <a:gd name="connsiteX155" fmla="*/ 2478817 w 3050590"/>
              <a:gd name="connsiteY155" fmla="*/ 1576609 h 1798777"/>
              <a:gd name="connsiteX156" fmla="*/ 2490094 w 3050590"/>
              <a:gd name="connsiteY156" fmla="*/ 1554617 h 1798777"/>
              <a:gd name="connsiteX157" fmla="*/ 2494041 w 3050590"/>
              <a:gd name="connsiteY157" fmla="*/ 1540520 h 1798777"/>
              <a:gd name="connsiteX158" fmla="*/ 2499116 w 3050590"/>
              <a:gd name="connsiteY158" fmla="*/ 1516273 h 1798777"/>
              <a:gd name="connsiteX159" fmla="*/ 2492350 w 3050590"/>
              <a:gd name="connsiteY159" fmla="*/ 1474546 h 1798777"/>
              <a:gd name="connsiteX160" fmla="*/ 2495169 w 3050590"/>
              <a:gd name="connsiteY160" fmla="*/ 1459322 h 1798777"/>
              <a:gd name="connsiteX161" fmla="*/ 2486711 w 3050590"/>
              <a:gd name="connsiteY161" fmla="*/ 1433947 h 1798777"/>
              <a:gd name="connsiteX162" fmla="*/ 2482764 w 3050590"/>
              <a:gd name="connsiteY162" fmla="*/ 1403497 h 1798777"/>
              <a:gd name="connsiteX163" fmla="*/ 2483328 w 3050590"/>
              <a:gd name="connsiteY163" fmla="*/ 1378687 h 1798777"/>
              <a:gd name="connsiteX164" fmla="*/ 2493478 w 3050590"/>
              <a:gd name="connsiteY164" fmla="*/ 1353312 h 1798777"/>
              <a:gd name="connsiteX165" fmla="*/ 2513213 w 3050590"/>
              <a:gd name="connsiteY165" fmla="*/ 1331885 h 1798777"/>
              <a:gd name="connsiteX166" fmla="*/ 2534077 w 3050590"/>
              <a:gd name="connsiteY166" fmla="*/ 1314968 h 1798777"/>
              <a:gd name="connsiteX167" fmla="*/ 2572985 w 3050590"/>
              <a:gd name="connsiteY167" fmla="*/ 1291849 h 1798777"/>
              <a:gd name="connsiteX168" fmla="*/ 2580315 w 3050590"/>
              <a:gd name="connsiteY168" fmla="*/ 1279444 h 1798777"/>
              <a:gd name="connsiteX169" fmla="*/ 2598923 w 3050590"/>
              <a:gd name="connsiteY169" fmla="*/ 1266475 h 1798777"/>
              <a:gd name="connsiteX170" fmla="*/ 2614712 w 3050590"/>
              <a:gd name="connsiteY170" fmla="*/ 1264219 h 1798777"/>
              <a:gd name="connsiteX171" fmla="*/ 2639522 w 3050590"/>
              <a:gd name="connsiteY171" fmla="*/ 1242792 h 1798777"/>
              <a:gd name="connsiteX172" fmla="*/ 2673355 w 3050590"/>
              <a:gd name="connsiteY172" fmla="*/ 1232078 h 1798777"/>
              <a:gd name="connsiteX173" fmla="*/ 2699294 w 3050590"/>
              <a:gd name="connsiteY173" fmla="*/ 1205012 h 1798777"/>
              <a:gd name="connsiteX174" fmla="*/ 2704369 w 3050590"/>
              <a:gd name="connsiteY174" fmla="*/ 1168359 h 1798777"/>
              <a:gd name="connsiteX175" fmla="*/ 2704933 w 3050590"/>
              <a:gd name="connsiteY175" fmla="*/ 1155954 h 1798777"/>
              <a:gd name="connsiteX176" fmla="*/ 2697038 w 3050590"/>
              <a:gd name="connsiteY176" fmla="*/ 1153699 h 1798777"/>
              <a:gd name="connsiteX177" fmla="*/ 2705496 w 3050590"/>
              <a:gd name="connsiteY177" fmla="*/ 1118738 h 1798777"/>
              <a:gd name="connsiteX178" fmla="*/ 2688580 w 3050590"/>
              <a:gd name="connsiteY178" fmla="*/ 1106897 h 1798777"/>
              <a:gd name="connsiteX179" fmla="*/ 2706624 w 3050590"/>
              <a:gd name="connsiteY179" fmla="*/ 1112535 h 1798777"/>
              <a:gd name="connsiteX180" fmla="*/ 2706624 w 3050590"/>
              <a:gd name="connsiteY180" fmla="*/ 1089416 h 1798777"/>
              <a:gd name="connsiteX181" fmla="*/ 2717338 w 3050590"/>
              <a:gd name="connsiteY181" fmla="*/ 1074192 h 1798777"/>
              <a:gd name="connsiteX182" fmla="*/ 2711699 w 3050590"/>
              <a:gd name="connsiteY182" fmla="*/ 1104077 h 1798777"/>
              <a:gd name="connsiteX183" fmla="*/ 2722977 w 3050590"/>
              <a:gd name="connsiteY183" fmla="*/ 1118174 h 1798777"/>
              <a:gd name="connsiteX184" fmla="*/ 2706624 w 3050590"/>
              <a:gd name="connsiteY184" fmla="*/ 1142985 h 1798777"/>
              <a:gd name="connsiteX185" fmla="*/ 2708880 w 3050590"/>
              <a:gd name="connsiteY185" fmla="*/ 1144113 h 1798777"/>
              <a:gd name="connsiteX186" fmla="*/ 2733690 w 3050590"/>
              <a:gd name="connsiteY186" fmla="*/ 1115355 h 1798777"/>
              <a:gd name="connsiteX187" fmla="*/ 2747224 w 3050590"/>
              <a:gd name="connsiteY187" fmla="*/ 1101258 h 1798777"/>
              <a:gd name="connsiteX188" fmla="*/ 2750607 w 3050590"/>
              <a:gd name="connsiteY188" fmla="*/ 1087161 h 1798777"/>
              <a:gd name="connsiteX189" fmla="*/ 2745532 w 3050590"/>
              <a:gd name="connsiteY189" fmla="*/ 1080958 h 1798777"/>
              <a:gd name="connsiteX190" fmla="*/ 2744968 w 3050590"/>
              <a:gd name="connsiteY190" fmla="*/ 1061222 h 1798777"/>
              <a:gd name="connsiteX191" fmla="*/ 2751735 w 3050590"/>
              <a:gd name="connsiteY191" fmla="*/ 1070244 h 1798777"/>
              <a:gd name="connsiteX192" fmla="*/ 2757937 w 3050590"/>
              <a:gd name="connsiteY192" fmla="*/ 1072500 h 1798777"/>
              <a:gd name="connsiteX193" fmla="*/ 2757373 w 3050590"/>
              <a:gd name="connsiteY193" fmla="*/ 1081522 h 1798777"/>
              <a:gd name="connsiteX194" fmla="*/ 2786695 w 3050590"/>
              <a:gd name="connsiteY194" fmla="*/ 1053892 h 1798777"/>
              <a:gd name="connsiteX195" fmla="*/ 2800792 w 3050590"/>
              <a:gd name="connsiteY195" fmla="*/ 1028517 h 1798777"/>
              <a:gd name="connsiteX196" fmla="*/ 2792898 w 3050590"/>
              <a:gd name="connsiteY196" fmla="*/ 1026825 h 1798777"/>
              <a:gd name="connsiteX197" fmla="*/ 2804739 w 3050590"/>
              <a:gd name="connsiteY197" fmla="*/ 1016676 h 1798777"/>
              <a:gd name="connsiteX198" fmla="*/ 2802484 w 3050590"/>
              <a:gd name="connsiteY198" fmla="*/ 1021187 h 1798777"/>
              <a:gd name="connsiteX199" fmla="*/ 2821092 w 3050590"/>
              <a:gd name="connsiteY199" fmla="*/ 1021187 h 1798777"/>
              <a:gd name="connsiteX200" fmla="*/ 2865074 w 3050590"/>
              <a:gd name="connsiteY200" fmla="*/ 1010473 h 1798777"/>
              <a:gd name="connsiteX201" fmla="*/ 2858872 w 3050590"/>
              <a:gd name="connsiteY201" fmla="*/ 1003707 h 1798777"/>
              <a:gd name="connsiteX202" fmla="*/ 2814325 w 3050590"/>
              <a:gd name="connsiteY202" fmla="*/ 1010473 h 1798777"/>
              <a:gd name="connsiteX203" fmla="*/ 2841391 w 3050590"/>
              <a:gd name="connsiteY203" fmla="*/ 1000323 h 1798777"/>
              <a:gd name="connsiteX204" fmla="*/ 2858872 w 3050590"/>
              <a:gd name="connsiteY204" fmla="*/ 998631 h 1798777"/>
              <a:gd name="connsiteX205" fmla="*/ 2872405 w 3050590"/>
              <a:gd name="connsiteY205" fmla="*/ 996940 h 1798777"/>
              <a:gd name="connsiteX206" fmla="*/ 2895524 w 3050590"/>
              <a:gd name="connsiteY206" fmla="*/ 990737 h 1798777"/>
              <a:gd name="connsiteX207" fmla="*/ 2909057 w 3050590"/>
              <a:gd name="connsiteY207" fmla="*/ 991301 h 1798777"/>
              <a:gd name="connsiteX208" fmla="*/ 2930485 w 3050590"/>
              <a:gd name="connsiteY208" fmla="*/ 985662 h 1798777"/>
              <a:gd name="connsiteX209" fmla="*/ 2936123 w 3050590"/>
              <a:gd name="connsiteY209" fmla="*/ 976076 h 1798777"/>
              <a:gd name="connsiteX210" fmla="*/ 2929921 w 3050590"/>
              <a:gd name="connsiteY210" fmla="*/ 968182 h 1798777"/>
              <a:gd name="connsiteX211" fmla="*/ 2928793 w 3050590"/>
              <a:gd name="connsiteY211" fmla="*/ 980587 h 1798777"/>
              <a:gd name="connsiteX212" fmla="*/ 2916951 w 3050590"/>
              <a:gd name="connsiteY212" fmla="*/ 980024 h 1798777"/>
              <a:gd name="connsiteX213" fmla="*/ 2913568 w 3050590"/>
              <a:gd name="connsiteY213" fmla="*/ 961416 h 1798777"/>
              <a:gd name="connsiteX214" fmla="*/ 2919771 w 3050590"/>
              <a:gd name="connsiteY214" fmla="*/ 942807 h 1798777"/>
              <a:gd name="connsiteX215" fmla="*/ 2927665 w 3050590"/>
              <a:gd name="connsiteY215" fmla="*/ 935477 h 1798777"/>
              <a:gd name="connsiteX216" fmla="*/ 2949656 w 3050590"/>
              <a:gd name="connsiteY216" fmla="*/ 914613 h 1798777"/>
              <a:gd name="connsiteX217" fmla="*/ 2982925 w 3050590"/>
              <a:gd name="connsiteY217" fmla="*/ 904464 h 1798777"/>
              <a:gd name="connsiteX218" fmla="*/ 3016758 w 3050590"/>
              <a:gd name="connsiteY218" fmla="*/ 892622 h 1798777"/>
              <a:gd name="connsiteX219" fmla="*/ 3052283 w 3050590"/>
              <a:gd name="connsiteY219" fmla="*/ 875706 h 1798777"/>
              <a:gd name="connsiteX220" fmla="*/ 3051155 w 3050590"/>
              <a:gd name="connsiteY220" fmla="*/ 864428 h 1798777"/>
              <a:gd name="connsiteX221" fmla="*/ 3039313 w 3050590"/>
              <a:gd name="connsiteY221" fmla="*/ 844692 h 1798777"/>
              <a:gd name="connsiteX222" fmla="*/ 3055102 w 3050590"/>
              <a:gd name="connsiteY222" fmla="*/ 796763 h 1798777"/>
              <a:gd name="connsiteX223" fmla="*/ 3046644 w 3050590"/>
              <a:gd name="connsiteY223" fmla="*/ 786613 h 1798777"/>
              <a:gd name="connsiteX224" fmla="*/ 3025780 w 3050590"/>
              <a:gd name="connsiteY224" fmla="*/ 792815 h 1798777"/>
              <a:gd name="connsiteX225" fmla="*/ 3019578 w 3050590"/>
              <a:gd name="connsiteY225" fmla="*/ 783229 h 1798777"/>
              <a:gd name="connsiteX226" fmla="*/ 2988564 w 3050590"/>
              <a:gd name="connsiteY226" fmla="*/ 809732 h 1798777"/>
              <a:gd name="connsiteX227" fmla="*/ 2970520 w 3050590"/>
              <a:gd name="connsiteY227" fmla="*/ 837362 h 1798777"/>
              <a:gd name="connsiteX228" fmla="*/ 2955295 w 3050590"/>
              <a:gd name="connsiteY228" fmla="*/ 853151 h 1798777"/>
              <a:gd name="connsiteX229" fmla="*/ 2941198 w 3050590"/>
              <a:gd name="connsiteY229" fmla="*/ 858225 h 1798777"/>
              <a:gd name="connsiteX230" fmla="*/ 2931612 w 3050590"/>
              <a:gd name="connsiteY230" fmla="*/ 859917 h 1798777"/>
              <a:gd name="connsiteX231" fmla="*/ 2925973 w 3050590"/>
              <a:gd name="connsiteY231" fmla="*/ 868939 h 1798777"/>
              <a:gd name="connsiteX232" fmla="*/ 2873533 w 3050590"/>
              <a:gd name="connsiteY232" fmla="*/ 868939 h 1798777"/>
              <a:gd name="connsiteX233" fmla="*/ 2830114 w 3050590"/>
              <a:gd name="connsiteY233" fmla="*/ 868939 h 1798777"/>
              <a:gd name="connsiteX234" fmla="*/ 2814889 w 3050590"/>
              <a:gd name="connsiteY234" fmla="*/ 875706 h 1798777"/>
              <a:gd name="connsiteX235" fmla="*/ 2777109 w 3050590"/>
              <a:gd name="connsiteY235" fmla="*/ 899389 h 1798777"/>
              <a:gd name="connsiteX236" fmla="*/ 2778237 w 3050590"/>
              <a:gd name="connsiteY236" fmla="*/ 904464 h 1798777"/>
              <a:gd name="connsiteX237" fmla="*/ 2774854 w 3050590"/>
              <a:gd name="connsiteY237" fmla="*/ 917997 h 1798777"/>
              <a:gd name="connsiteX238" fmla="*/ 2748915 w 3050590"/>
              <a:gd name="connsiteY238" fmla="*/ 929274 h 1798777"/>
              <a:gd name="connsiteX239" fmla="*/ 2726924 w 3050590"/>
              <a:gd name="connsiteY239" fmla="*/ 926455 h 1798777"/>
              <a:gd name="connsiteX240" fmla="*/ 2704369 w 3050590"/>
              <a:gd name="connsiteY240" fmla="*/ 925327 h 1798777"/>
              <a:gd name="connsiteX241" fmla="*/ 2689708 w 3050590"/>
              <a:gd name="connsiteY241" fmla="*/ 929274 h 1798777"/>
              <a:gd name="connsiteX242" fmla="*/ 2688016 w 3050590"/>
              <a:gd name="connsiteY242" fmla="*/ 939424 h 1798777"/>
              <a:gd name="connsiteX243" fmla="*/ 2688016 w 3050590"/>
              <a:gd name="connsiteY243" fmla="*/ 939424 h 1798777"/>
              <a:gd name="connsiteX244" fmla="*/ 2687452 w 3050590"/>
              <a:gd name="connsiteY244" fmla="*/ 942807 h 1798777"/>
              <a:gd name="connsiteX245" fmla="*/ 2654747 w 3050590"/>
              <a:gd name="connsiteY245" fmla="*/ 963671 h 1798777"/>
              <a:gd name="connsiteX246" fmla="*/ 2629373 w 3050590"/>
              <a:gd name="connsiteY246" fmla="*/ 973821 h 1798777"/>
              <a:gd name="connsiteX247" fmla="*/ 2613020 w 3050590"/>
              <a:gd name="connsiteY247" fmla="*/ 978332 h 1798777"/>
              <a:gd name="connsiteX248" fmla="*/ 2592157 w 3050590"/>
              <a:gd name="connsiteY248" fmla="*/ 987918 h 1798777"/>
              <a:gd name="connsiteX249" fmla="*/ 2569601 w 3050590"/>
              <a:gd name="connsiteY249" fmla="*/ 992993 h 1798777"/>
              <a:gd name="connsiteX250" fmla="*/ 2555504 w 3050590"/>
              <a:gd name="connsiteY250" fmla="*/ 991301 h 1798777"/>
              <a:gd name="connsiteX251" fmla="*/ 2540280 w 3050590"/>
              <a:gd name="connsiteY251" fmla="*/ 983971 h 1798777"/>
              <a:gd name="connsiteX252" fmla="*/ 2555504 w 3050590"/>
              <a:gd name="connsiteY252" fmla="*/ 970437 h 1798777"/>
              <a:gd name="connsiteX253" fmla="*/ 2555504 w 3050590"/>
              <a:gd name="connsiteY253" fmla="*/ 970437 h 1798777"/>
              <a:gd name="connsiteX254" fmla="*/ 2566782 w 3050590"/>
              <a:gd name="connsiteY254" fmla="*/ 958032 h 1798777"/>
              <a:gd name="connsiteX255" fmla="*/ 2587645 w 3050590"/>
              <a:gd name="connsiteY255" fmla="*/ 938860 h 1798777"/>
              <a:gd name="connsiteX256" fmla="*/ 2587645 w 3050590"/>
              <a:gd name="connsiteY256" fmla="*/ 938860 h 1798777"/>
              <a:gd name="connsiteX257" fmla="*/ 2587645 w 3050590"/>
              <a:gd name="connsiteY257" fmla="*/ 938860 h 1798777"/>
              <a:gd name="connsiteX258" fmla="*/ 2591593 w 3050590"/>
              <a:gd name="connsiteY258" fmla="*/ 924763 h 1798777"/>
              <a:gd name="connsiteX259" fmla="*/ 2594412 w 3050590"/>
              <a:gd name="connsiteY259" fmla="*/ 905028 h 1798777"/>
              <a:gd name="connsiteX260" fmla="*/ 2585390 w 3050590"/>
              <a:gd name="connsiteY260" fmla="*/ 901080 h 1798777"/>
              <a:gd name="connsiteX261" fmla="*/ 2561143 w 3050590"/>
              <a:gd name="connsiteY261" fmla="*/ 916869 h 1798777"/>
              <a:gd name="connsiteX262" fmla="*/ 2556068 w 3050590"/>
              <a:gd name="connsiteY262" fmla="*/ 916305 h 1798777"/>
              <a:gd name="connsiteX263" fmla="*/ 2557760 w 3050590"/>
              <a:gd name="connsiteY263" fmla="*/ 907847 h 1798777"/>
              <a:gd name="connsiteX264" fmla="*/ 2579187 w 3050590"/>
              <a:gd name="connsiteY264" fmla="*/ 893750 h 1798777"/>
              <a:gd name="connsiteX265" fmla="*/ 2588209 w 3050590"/>
              <a:gd name="connsiteY265" fmla="*/ 877961 h 1798777"/>
              <a:gd name="connsiteX266" fmla="*/ 2592157 w 3050590"/>
              <a:gd name="connsiteY266" fmla="*/ 862173 h 1798777"/>
              <a:gd name="connsiteX267" fmla="*/ 2576932 w 3050590"/>
              <a:gd name="connsiteY267" fmla="*/ 848640 h 1798777"/>
              <a:gd name="connsiteX268" fmla="*/ 2556068 w 3050590"/>
              <a:gd name="connsiteY268" fmla="*/ 841309 h 1798777"/>
              <a:gd name="connsiteX269" fmla="*/ 2546482 w 3050590"/>
              <a:gd name="connsiteY269" fmla="*/ 854842 h 1798777"/>
              <a:gd name="connsiteX270" fmla="*/ 2538588 w 3050590"/>
              <a:gd name="connsiteY270" fmla="*/ 858225 h 1798777"/>
              <a:gd name="connsiteX271" fmla="*/ 2526183 w 3050590"/>
              <a:gd name="connsiteY271" fmla="*/ 875706 h 1798777"/>
              <a:gd name="connsiteX272" fmla="*/ 2528438 w 3050590"/>
              <a:gd name="connsiteY272" fmla="*/ 863864 h 1798777"/>
              <a:gd name="connsiteX273" fmla="*/ 2513777 w 3050590"/>
              <a:gd name="connsiteY273" fmla="*/ 872322 h 1798777"/>
              <a:gd name="connsiteX274" fmla="*/ 2501936 w 3050590"/>
              <a:gd name="connsiteY274" fmla="*/ 883600 h 1798777"/>
              <a:gd name="connsiteX275" fmla="*/ 2487275 w 3050590"/>
              <a:gd name="connsiteY275" fmla="*/ 901080 h 1798777"/>
              <a:gd name="connsiteX276" fmla="*/ 2479944 w 3050590"/>
              <a:gd name="connsiteY276" fmla="*/ 915741 h 1798777"/>
              <a:gd name="connsiteX277" fmla="*/ 2480508 w 3050590"/>
              <a:gd name="connsiteY277" fmla="*/ 937169 h 1798777"/>
              <a:gd name="connsiteX278" fmla="*/ 2470358 w 3050590"/>
              <a:gd name="connsiteY278" fmla="*/ 959724 h 1798777"/>
              <a:gd name="connsiteX279" fmla="*/ 2451750 w 3050590"/>
              <a:gd name="connsiteY279" fmla="*/ 976640 h 1798777"/>
              <a:gd name="connsiteX280" fmla="*/ 2443856 w 3050590"/>
              <a:gd name="connsiteY280" fmla="*/ 981715 h 1798777"/>
              <a:gd name="connsiteX281" fmla="*/ 2434834 w 3050590"/>
              <a:gd name="connsiteY281" fmla="*/ 985662 h 1798777"/>
              <a:gd name="connsiteX282" fmla="*/ 2424684 w 3050590"/>
              <a:gd name="connsiteY282" fmla="*/ 985662 h 1798777"/>
              <a:gd name="connsiteX283" fmla="*/ 2422993 w 3050590"/>
              <a:gd name="connsiteY283" fmla="*/ 983407 h 1798777"/>
              <a:gd name="connsiteX284" fmla="*/ 2422429 w 3050590"/>
              <a:gd name="connsiteY284" fmla="*/ 964799 h 1798777"/>
              <a:gd name="connsiteX285" fmla="*/ 2426376 w 3050590"/>
              <a:gd name="connsiteY285" fmla="*/ 955777 h 1798777"/>
              <a:gd name="connsiteX286" fmla="*/ 2430323 w 3050590"/>
              <a:gd name="connsiteY286" fmla="*/ 947319 h 1798777"/>
              <a:gd name="connsiteX287" fmla="*/ 2433706 w 3050590"/>
              <a:gd name="connsiteY287" fmla="*/ 930402 h 1798777"/>
              <a:gd name="connsiteX288" fmla="*/ 2447803 w 3050590"/>
              <a:gd name="connsiteY288" fmla="*/ 910666 h 1798777"/>
              <a:gd name="connsiteX289" fmla="*/ 2464156 w 3050590"/>
              <a:gd name="connsiteY289" fmla="*/ 886419 h 1798777"/>
              <a:gd name="connsiteX290" fmla="*/ 2490094 w 3050590"/>
              <a:gd name="connsiteY290" fmla="*/ 859917 h 1798777"/>
              <a:gd name="connsiteX291" fmla="*/ 2486147 w 3050590"/>
              <a:gd name="connsiteY291" fmla="*/ 859917 h 1798777"/>
              <a:gd name="connsiteX292" fmla="*/ 2455698 w 3050590"/>
              <a:gd name="connsiteY292" fmla="*/ 882472 h 1798777"/>
              <a:gd name="connsiteX293" fmla="*/ 2453442 w 3050590"/>
              <a:gd name="connsiteY293" fmla="*/ 878525 h 1798777"/>
              <a:gd name="connsiteX294" fmla="*/ 2469795 w 3050590"/>
              <a:gd name="connsiteY294" fmla="*/ 865556 h 1798777"/>
              <a:gd name="connsiteX295" fmla="*/ 2496297 w 3050590"/>
              <a:gd name="connsiteY295" fmla="*/ 843001 h 1798777"/>
              <a:gd name="connsiteX296" fmla="*/ 2517160 w 3050590"/>
              <a:gd name="connsiteY296" fmla="*/ 840181 h 1798777"/>
              <a:gd name="connsiteX297" fmla="*/ 2541971 w 3050590"/>
              <a:gd name="connsiteY297" fmla="*/ 832851 h 1798777"/>
              <a:gd name="connsiteX298" fmla="*/ 2562835 w 3050590"/>
              <a:gd name="connsiteY298" fmla="*/ 836798 h 1798777"/>
              <a:gd name="connsiteX299" fmla="*/ 2563399 w 3050590"/>
              <a:gd name="connsiteY299" fmla="*/ 836798 h 1798777"/>
              <a:gd name="connsiteX300" fmla="*/ 2589901 w 3050590"/>
              <a:gd name="connsiteY300" fmla="*/ 833979 h 1798777"/>
              <a:gd name="connsiteX301" fmla="*/ 2581443 w 3050590"/>
              <a:gd name="connsiteY301" fmla="*/ 819882 h 1798777"/>
              <a:gd name="connsiteX302" fmla="*/ 2581443 w 3050590"/>
              <a:gd name="connsiteY302" fmla="*/ 819882 h 1798777"/>
              <a:gd name="connsiteX303" fmla="*/ 2574676 w 3050590"/>
              <a:gd name="connsiteY303" fmla="*/ 818754 h 1798777"/>
              <a:gd name="connsiteX304" fmla="*/ 2574676 w 3050590"/>
              <a:gd name="connsiteY304" fmla="*/ 818754 h 1798777"/>
              <a:gd name="connsiteX305" fmla="*/ 2574676 w 3050590"/>
              <a:gd name="connsiteY305" fmla="*/ 818754 h 1798777"/>
              <a:gd name="connsiteX306" fmla="*/ 2566782 w 3050590"/>
              <a:gd name="connsiteY306" fmla="*/ 817062 h 1798777"/>
              <a:gd name="connsiteX307" fmla="*/ 2564526 w 3050590"/>
              <a:gd name="connsiteY307" fmla="*/ 807476 h 1798777"/>
              <a:gd name="connsiteX308" fmla="*/ 2535769 w 3050590"/>
              <a:gd name="connsiteY308" fmla="*/ 810296 h 1798777"/>
              <a:gd name="connsiteX309" fmla="*/ 2507575 w 3050590"/>
              <a:gd name="connsiteY309" fmla="*/ 818190 h 1798777"/>
              <a:gd name="connsiteX310" fmla="*/ 2493478 w 3050590"/>
              <a:gd name="connsiteY310" fmla="*/ 805221 h 1798777"/>
              <a:gd name="connsiteX311" fmla="*/ 2479381 w 3050590"/>
              <a:gd name="connsiteY311" fmla="*/ 800710 h 1798777"/>
              <a:gd name="connsiteX312" fmla="*/ 2496861 w 3050590"/>
              <a:gd name="connsiteY312" fmla="*/ 782102 h 1798777"/>
              <a:gd name="connsiteX313" fmla="*/ 2466975 w 3050590"/>
              <a:gd name="connsiteY313" fmla="*/ 793379 h 1798777"/>
              <a:gd name="connsiteX314" fmla="*/ 2439345 w 3050590"/>
              <a:gd name="connsiteY314" fmla="*/ 805221 h 1798777"/>
              <a:gd name="connsiteX315" fmla="*/ 2413407 w 3050590"/>
              <a:gd name="connsiteY315" fmla="*/ 813679 h 1798777"/>
              <a:gd name="connsiteX316" fmla="*/ 2401565 w 3050590"/>
              <a:gd name="connsiteY316" fmla="*/ 801837 h 1798777"/>
              <a:gd name="connsiteX317" fmla="*/ 2370552 w 3050590"/>
              <a:gd name="connsiteY317" fmla="*/ 809168 h 1798777"/>
              <a:gd name="connsiteX318" fmla="*/ 2372807 w 3050590"/>
              <a:gd name="connsiteY318" fmla="*/ 804093 h 1798777"/>
              <a:gd name="connsiteX319" fmla="*/ 2398746 w 3050590"/>
              <a:gd name="connsiteY319" fmla="*/ 789432 h 1798777"/>
              <a:gd name="connsiteX320" fmla="*/ 2425248 w 3050590"/>
              <a:gd name="connsiteY320" fmla="*/ 775335 h 1798777"/>
              <a:gd name="connsiteX321" fmla="*/ 2458517 w 3050590"/>
              <a:gd name="connsiteY321" fmla="*/ 763494 h 1798777"/>
              <a:gd name="connsiteX322" fmla="*/ 2458517 w 3050590"/>
              <a:gd name="connsiteY322" fmla="*/ 763494 h 1798777"/>
              <a:gd name="connsiteX323" fmla="*/ 2458517 w 3050590"/>
              <a:gd name="connsiteY323" fmla="*/ 763494 h 1798777"/>
              <a:gd name="connsiteX324" fmla="*/ 2428631 w 3050590"/>
              <a:gd name="connsiteY324" fmla="*/ 754472 h 1798777"/>
              <a:gd name="connsiteX325" fmla="*/ 2403821 w 3050590"/>
              <a:gd name="connsiteY325" fmla="*/ 758982 h 1798777"/>
              <a:gd name="connsiteX326" fmla="*/ 2382393 w 3050590"/>
              <a:gd name="connsiteY326" fmla="*/ 748269 h 1798777"/>
              <a:gd name="connsiteX327" fmla="*/ 2356455 w 3050590"/>
              <a:gd name="connsiteY327" fmla="*/ 742630 h 1798777"/>
              <a:gd name="connsiteX328" fmla="*/ 2338411 w 3050590"/>
              <a:gd name="connsiteY328" fmla="*/ 740375 h 1798777"/>
              <a:gd name="connsiteX329" fmla="*/ 2332772 w 3050590"/>
              <a:gd name="connsiteY329" fmla="*/ 734736 h 1798777"/>
              <a:gd name="connsiteX330" fmla="*/ 2337283 w 3050590"/>
              <a:gd name="connsiteY330" fmla="*/ 715564 h 1798777"/>
              <a:gd name="connsiteX331" fmla="*/ 980587 w 3050590"/>
              <a:gd name="connsiteY331" fmla="*/ 451104 h 1798777"/>
              <a:gd name="connsiteX332" fmla="*/ 1019495 w 3050590"/>
              <a:gd name="connsiteY332" fmla="*/ 435315 h 1798777"/>
              <a:gd name="connsiteX333" fmla="*/ 1019495 w 3050590"/>
              <a:gd name="connsiteY333" fmla="*/ 425166 h 1798777"/>
              <a:gd name="connsiteX334" fmla="*/ 1004834 w 3050590"/>
              <a:gd name="connsiteY334" fmla="*/ 422910 h 1798777"/>
              <a:gd name="connsiteX335" fmla="*/ 985662 w 3050590"/>
              <a:gd name="connsiteY335" fmla="*/ 427985 h 1798777"/>
              <a:gd name="connsiteX336" fmla="*/ 949574 w 3050590"/>
              <a:gd name="connsiteY336" fmla="*/ 439826 h 1798777"/>
              <a:gd name="connsiteX337" fmla="*/ 937169 w 3050590"/>
              <a:gd name="connsiteY337" fmla="*/ 455051 h 1798777"/>
              <a:gd name="connsiteX338" fmla="*/ 941116 w 3050590"/>
              <a:gd name="connsiteY338" fmla="*/ 464073 h 1798777"/>
              <a:gd name="connsiteX339" fmla="*/ 980587 w 3050590"/>
              <a:gd name="connsiteY339" fmla="*/ 451104 h 1798777"/>
              <a:gd name="connsiteX340" fmla="*/ 762366 w 3050590"/>
              <a:gd name="connsiteY340" fmla="*/ 358628 h 1798777"/>
              <a:gd name="connsiteX341" fmla="*/ 775335 w 3050590"/>
              <a:gd name="connsiteY341" fmla="*/ 345658 h 1798777"/>
              <a:gd name="connsiteX342" fmla="*/ 758983 w 3050590"/>
              <a:gd name="connsiteY342" fmla="*/ 342839 h 1798777"/>
              <a:gd name="connsiteX343" fmla="*/ 726841 w 3050590"/>
              <a:gd name="connsiteY343" fmla="*/ 348478 h 1798777"/>
              <a:gd name="connsiteX344" fmla="*/ 731352 w 3050590"/>
              <a:gd name="connsiteY344" fmla="*/ 357500 h 1798777"/>
              <a:gd name="connsiteX345" fmla="*/ 740374 w 3050590"/>
              <a:gd name="connsiteY345" fmla="*/ 363703 h 1798777"/>
              <a:gd name="connsiteX346" fmla="*/ 762366 w 3050590"/>
              <a:gd name="connsiteY346" fmla="*/ 358628 h 1798777"/>
              <a:gd name="connsiteX347" fmla="*/ 769132 w 3050590"/>
              <a:gd name="connsiteY347" fmla="*/ 232882 h 1798777"/>
              <a:gd name="connsiteX348" fmla="*/ 751652 w 3050590"/>
              <a:gd name="connsiteY348" fmla="*/ 245288 h 1798777"/>
              <a:gd name="connsiteX349" fmla="*/ 753908 w 3050590"/>
              <a:gd name="connsiteY349" fmla="*/ 248107 h 1798777"/>
              <a:gd name="connsiteX350" fmla="*/ 777591 w 3050590"/>
              <a:gd name="connsiteY350" fmla="*/ 245852 h 1798777"/>
              <a:gd name="connsiteX351" fmla="*/ 779282 w 3050590"/>
              <a:gd name="connsiteY351" fmla="*/ 252054 h 1798777"/>
              <a:gd name="connsiteX352" fmla="*/ 788868 w 3050590"/>
              <a:gd name="connsiteY352" fmla="*/ 258821 h 1798777"/>
              <a:gd name="connsiteX353" fmla="*/ 816498 w 3050590"/>
              <a:gd name="connsiteY353" fmla="*/ 252054 h 1798777"/>
              <a:gd name="connsiteX354" fmla="*/ 823265 w 3050590"/>
              <a:gd name="connsiteY354" fmla="*/ 248671 h 1798777"/>
              <a:gd name="connsiteX355" fmla="*/ 804657 w 3050590"/>
              <a:gd name="connsiteY355" fmla="*/ 244160 h 1798777"/>
              <a:gd name="connsiteX356" fmla="*/ 795635 w 3050590"/>
              <a:gd name="connsiteY356" fmla="*/ 235702 h 1798777"/>
              <a:gd name="connsiteX357" fmla="*/ 776463 w 3050590"/>
              <a:gd name="connsiteY357" fmla="*/ 239085 h 1798777"/>
              <a:gd name="connsiteX358" fmla="*/ 769132 w 3050590"/>
              <a:gd name="connsiteY358" fmla="*/ 232882 h 1798777"/>
              <a:gd name="connsiteX359" fmla="*/ 1473419 w 3050590"/>
              <a:gd name="connsiteY359" fmla="*/ 6203 h 1798777"/>
              <a:gd name="connsiteX360" fmla="*/ 1448608 w 3050590"/>
              <a:gd name="connsiteY360" fmla="*/ 0 h 1798777"/>
              <a:gd name="connsiteX361" fmla="*/ 1391092 w 3050590"/>
              <a:gd name="connsiteY361" fmla="*/ 15789 h 1798777"/>
              <a:gd name="connsiteX362" fmla="*/ 1373048 w 3050590"/>
              <a:gd name="connsiteY362" fmla="*/ 14097 h 1798777"/>
              <a:gd name="connsiteX363" fmla="*/ 1311021 w 3050590"/>
              <a:gd name="connsiteY363" fmla="*/ 27066 h 1798777"/>
              <a:gd name="connsiteX364" fmla="*/ 1283955 w 3050590"/>
              <a:gd name="connsiteY364" fmla="*/ 30450 h 1798777"/>
              <a:gd name="connsiteX365" fmla="*/ 1239972 w 3050590"/>
              <a:gd name="connsiteY365" fmla="*/ 44547 h 1798777"/>
              <a:gd name="connsiteX366" fmla="*/ 1212906 w 3050590"/>
              <a:gd name="connsiteY366" fmla="*/ 59207 h 1798777"/>
              <a:gd name="connsiteX367" fmla="*/ 1164412 w 3050590"/>
              <a:gd name="connsiteY367" fmla="*/ 73304 h 1798777"/>
              <a:gd name="connsiteX368" fmla="*/ 1121557 w 3050590"/>
              <a:gd name="connsiteY368" fmla="*/ 73868 h 1798777"/>
              <a:gd name="connsiteX369" fmla="*/ 1086033 w 3050590"/>
              <a:gd name="connsiteY369" fmla="*/ 90221 h 1798777"/>
              <a:gd name="connsiteX370" fmla="*/ 1104077 w 3050590"/>
              <a:gd name="connsiteY370" fmla="*/ 99807 h 1798777"/>
              <a:gd name="connsiteX371" fmla="*/ 1108024 w 3050590"/>
              <a:gd name="connsiteY371" fmla="*/ 112776 h 1798777"/>
              <a:gd name="connsiteX372" fmla="*/ 1103513 w 3050590"/>
              <a:gd name="connsiteY372" fmla="*/ 128001 h 1798777"/>
              <a:gd name="connsiteX373" fmla="*/ 1116483 w 3050590"/>
              <a:gd name="connsiteY373" fmla="*/ 139842 h 1798777"/>
              <a:gd name="connsiteX374" fmla="*/ 1109716 w 3050590"/>
              <a:gd name="connsiteY374" fmla="*/ 159578 h 1798777"/>
              <a:gd name="connsiteX375" fmla="*/ 1057839 w 3050590"/>
              <a:gd name="connsiteY375" fmla="*/ 160706 h 1798777"/>
              <a:gd name="connsiteX376" fmla="*/ 1082086 w 3050590"/>
              <a:gd name="connsiteY376" fmla="*/ 144917 h 1798777"/>
              <a:gd name="connsiteX377" fmla="*/ 1062914 w 3050590"/>
              <a:gd name="connsiteY377" fmla="*/ 144917 h 1798777"/>
              <a:gd name="connsiteX378" fmla="*/ 989046 w 3050590"/>
              <a:gd name="connsiteY378" fmla="*/ 160142 h 1798777"/>
              <a:gd name="connsiteX379" fmla="*/ 937732 w 3050590"/>
              <a:gd name="connsiteY379" fmla="*/ 173111 h 1798777"/>
              <a:gd name="connsiteX380" fmla="*/ 943371 w 3050590"/>
              <a:gd name="connsiteY380" fmla="*/ 191719 h 1798777"/>
              <a:gd name="connsiteX381" fmla="*/ 936605 w 3050590"/>
              <a:gd name="connsiteY381" fmla="*/ 204125 h 1798777"/>
              <a:gd name="connsiteX382" fmla="*/ 961979 w 3050590"/>
              <a:gd name="connsiteY382" fmla="*/ 212019 h 1798777"/>
              <a:gd name="connsiteX383" fmla="*/ 1000887 w 3050590"/>
              <a:gd name="connsiteY383" fmla="*/ 208072 h 1798777"/>
              <a:gd name="connsiteX384" fmla="*/ 1011037 w 3050590"/>
              <a:gd name="connsiteY384" fmla="*/ 215402 h 1798777"/>
              <a:gd name="connsiteX385" fmla="*/ 1027389 w 3050590"/>
              <a:gd name="connsiteY385" fmla="*/ 208072 h 1798777"/>
              <a:gd name="connsiteX386" fmla="*/ 1061786 w 3050590"/>
              <a:gd name="connsiteY386" fmla="*/ 201305 h 1798777"/>
              <a:gd name="connsiteX387" fmla="*/ 1077011 w 3050590"/>
              <a:gd name="connsiteY387" fmla="*/ 201305 h 1798777"/>
              <a:gd name="connsiteX388" fmla="*/ 1043742 w 3050590"/>
              <a:gd name="connsiteY388" fmla="*/ 213147 h 1798777"/>
              <a:gd name="connsiteX389" fmla="*/ 1049945 w 3050590"/>
              <a:gd name="connsiteY389" fmla="*/ 218785 h 1798777"/>
              <a:gd name="connsiteX390" fmla="*/ 1035848 w 3050590"/>
              <a:gd name="connsiteY390" fmla="*/ 233446 h 1798777"/>
              <a:gd name="connsiteX391" fmla="*/ 1004834 w 3050590"/>
              <a:gd name="connsiteY391" fmla="*/ 243596 h 1798777"/>
              <a:gd name="connsiteX392" fmla="*/ 990737 w 3050590"/>
              <a:gd name="connsiteY392" fmla="*/ 240777 h 1798777"/>
              <a:gd name="connsiteX393" fmla="*/ 951266 w 3050590"/>
              <a:gd name="connsiteY393" fmla="*/ 256002 h 1798777"/>
              <a:gd name="connsiteX394" fmla="*/ 941116 w 3050590"/>
              <a:gd name="connsiteY394" fmla="*/ 250927 h 1798777"/>
              <a:gd name="connsiteX395" fmla="*/ 917997 w 3050590"/>
              <a:gd name="connsiteY395" fmla="*/ 253182 h 1798777"/>
              <a:gd name="connsiteX396" fmla="*/ 888111 w 3050590"/>
              <a:gd name="connsiteY396" fmla="*/ 270099 h 1798777"/>
              <a:gd name="connsiteX397" fmla="*/ 845256 w 3050590"/>
              <a:gd name="connsiteY397" fmla="*/ 287579 h 1798777"/>
              <a:gd name="connsiteX398" fmla="*/ 812551 w 3050590"/>
              <a:gd name="connsiteY398" fmla="*/ 306751 h 1798777"/>
              <a:gd name="connsiteX399" fmla="*/ 814243 w 3050590"/>
              <a:gd name="connsiteY399" fmla="*/ 320284 h 1798777"/>
              <a:gd name="connsiteX400" fmla="*/ 791688 w 3050590"/>
              <a:gd name="connsiteY400" fmla="*/ 338892 h 1798777"/>
              <a:gd name="connsiteX401" fmla="*/ 799582 w 3050590"/>
              <a:gd name="connsiteY401" fmla="*/ 346786 h 1798777"/>
              <a:gd name="connsiteX402" fmla="*/ 802401 w 3050590"/>
              <a:gd name="connsiteY402" fmla="*/ 362011 h 1798777"/>
              <a:gd name="connsiteX403" fmla="*/ 843001 w 3050590"/>
              <a:gd name="connsiteY403" fmla="*/ 355808 h 1798777"/>
              <a:gd name="connsiteX404" fmla="*/ 845256 w 3050590"/>
              <a:gd name="connsiteY404" fmla="*/ 367650 h 1798777"/>
              <a:gd name="connsiteX405" fmla="*/ 826648 w 3050590"/>
              <a:gd name="connsiteY405" fmla="*/ 379491 h 1798777"/>
              <a:gd name="connsiteX406" fmla="*/ 806348 w 3050590"/>
              <a:gd name="connsiteY406" fmla="*/ 399227 h 1798777"/>
              <a:gd name="connsiteX407" fmla="*/ 822137 w 3050590"/>
              <a:gd name="connsiteY407" fmla="*/ 399227 h 1798777"/>
              <a:gd name="connsiteX408" fmla="*/ 862736 w 3050590"/>
              <a:gd name="connsiteY408" fmla="*/ 386258 h 1798777"/>
              <a:gd name="connsiteX409" fmla="*/ 853714 w 3050590"/>
              <a:gd name="connsiteY409" fmla="*/ 402610 h 1798777"/>
              <a:gd name="connsiteX410" fmla="*/ 874014 w 3050590"/>
              <a:gd name="connsiteY410" fmla="*/ 390769 h 1798777"/>
              <a:gd name="connsiteX411" fmla="*/ 871759 w 3050590"/>
              <a:gd name="connsiteY411" fmla="*/ 407685 h 1798777"/>
              <a:gd name="connsiteX412" fmla="*/ 898825 w 3050590"/>
              <a:gd name="connsiteY412" fmla="*/ 395280 h 1798777"/>
              <a:gd name="connsiteX413" fmla="*/ 901080 w 3050590"/>
              <a:gd name="connsiteY413" fmla="*/ 401483 h 1798777"/>
              <a:gd name="connsiteX414" fmla="*/ 941680 w 3050590"/>
              <a:gd name="connsiteY414" fmla="*/ 391333 h 1798777"/>
              <a:gd name="connsiteX415" fmla="*/ 906719 w 3050590"/>
              <a:gd name="connsiteY415" fmla="*/ 410505 h 1798777"/>
              <a:gd name="connsiteX416" fmla="*/ 874578 w 3050590"/>
              <a:gd name="connsiteY416" fmla="*/ 435879 h 1798777"/>
              <a:gd name="connsiteX417" fmla="*/ 842437 w 3050590"/>
              <a:gd name="connsiteY417" fmla="*/ 447721 h 1798777"/>
              <a:gd name="connsiteX418" fmla="*/ 829468 w 3050590"/>
              <a:gd name="connsiteY418" fmla="*/ 454487 h 1798777"/>
              <a:gd name="connsiteX419" fmla="*/ 771388 w 3050590"/>
              <a:gd name="connsiteY419" fmla="*/ 474787 h 1798777"/>
              <a:gd name="connsiteX420" fmla="*/ 743758 w 3050590"/>
              <a:gd name="connsiteY420" fmla="*/ 488320 h 1798777"/>
              <a:gd name="connsiteX421" fmla="*/ 707106 w 3050590"/>
              <a:gd name="connsiteY421" fmla="*/ 492267 h 1798777"/>
              <a:gd name="connsiteX422" fmla="*/ 659176 w 3050590"/>
              <a:gd name="connsiteY422" fmla="*/ 510875 h 1798777"/>
              <a:gd name="connsiteX423" fmla="*/ 621960 w 3050590"/>
              <a:gd name="connsiteY423" fmla="*/ 521025 h 1798777"/>
              <a:gd name="connsiteX424" fmla="*/ 576285 w 3050590"/>
              <a:gd name="connsiteY424" fmla="*/ 536814 h 1798777"/>
              <a:gd name="connsiteX425" fmla="*/ 574030 w 3050590"/>
              <a:gd name="connsiteY425" fmla="*/ 542453 h 1798777"/>
              <a:gd name="connsiteX426" fmla="*/ 630418 w 3050590"/>
              <a:gd name="connsiteY426" fmla="*/ 532867 h 1798777"/>
              <a:gd name="connsiteX427" fmla="*/ 664251 w 3050590"/>
              <a:gd name="connsiteY427" fmla="*/ 521589 h 1798777"/>
              <a:gd name="connsiteX428" fmla="*/ 703158 w 3050590"/>
              <a:gd name="connsiteY428" fmla="*/ 510311 h 1798777"/>
              <a:gd name="connsiteX429" fmla="*/ 737555 w 3050590"/>
              <a:gd name="connsiteY429" fmla="*/ 500725 h 1798777"/>
              <a:gd name="connsiteX430" fmla="*/ 753344 w 3050590"/>
              <a:gd name="connsiteY430" fmla="*/ 503545 h 1798777"/>
              <a:gd name="connsiteX431" fmla="*/ 799018 w 3050590"/>
              <a:gd name="connsiteY431" fmla="*/ 488884 h 1798777"/>
              <a:gd name="connsiteX432" fmla="*/ 824393 w 3050590"/>
              <a:gd name="connsiteY432" fmla="*/ 473095 h 1798777"/>
              <a:gd name="connsiteX433" fmla="*/ 883600 w 3050590"/>
              <a:gd name="connsiteY433" fmla="*/ 455615 h 1798777"/>
              <a:gd name="connsiteX434" fmla="*/ 905591 w 3050590"/>
              <a:gd name="connsiteY434" fmla="*/ 440954 h 1798777"/>
              <a:gd name="connsiteX435" fmla="*/ 942807 w 3050590"/>
              <a:gd name="connsiteY435" fmla="*/ 430804 h 1798777"/>
              <a:gd name="connsiteX436" fmla="*/ 985662 w 3050590"/>
              <a:gd name="connsiteY436" fmla="*/ 416707 h 1798777"/>
              <a:gd name="connsiteX437" fmla="*/ 1035848 w 3050590"/>
              <a:gd name="connsiteY437" fmla="*/ 393024 h 1798777"/>
              <a:gd name="connsiteX438" fmla="*/ 1034720 w 3050590"/>
              <a:gd name="connsiteY438" fmla="*/ 376672 h 1798777"/>
              <a:gd name="connsiteX439" fmla="*/ 1097310 w 3050590"/>
              <a:gd name="connsiteY439" fmla="*/ 353553 h 1798777"/>
              <a:gd name="connsiteX440" fmla="*/ 1139038 w 3050590"/>
              <a:gd name="connsiteY440" fmla="*/ 331561 h 1798777"/>
              <a:gd name="connsiteX441" fmla="*/ 1190915 w 3050590"/>
              <a:gd name="connsiteY441" fmla="*/ 313517 h 1798777"/>
              <a:gd name="connsiteX442" fmla="*/ 1188659 w 3050590"/>
              <a:gd name="connsiteY442" fmla="*/ 321412 h 1798777"/>
              <a:gd name="connsiteX443" fmla="*/ 1150879 w 3050590"/>
              <a:gd name="connsiteY443" fmla="*/ 331561 h 1798777"/>
              <a:gd name="connsiteX444" fmla="*/ 1104077 w 3050590"/>
              <a:gd name="connsiteY444" fmla="*/ 363703 h 1798777"/>
              <a:gd name="connsiteX445" fmla="*/ 1086033 w 3050590"/>
              <a:gd name="connsiteY445" fmla="*/ 383438 h 1798777"/>
              <a:gd name="connsiteX446" fmla="*/ 1122121 w 3050590"/>
              <a:gd name="connsiteY446" fmla="*/ 376108 h 1798777"/>
              <a:gd name="connsiteX447" fmla="*/ 1156518 w 3050590"/>
              <a:gd name="connsiteY447" fmla="*/ 365394 h 1798777"/>
              <a:gd name="connsiteX448" fmla="*/ 1193170 w 3050590"/>
              <a:gd name="connsiteY448" fmla="*/ 358064 h 1798777"/>
              <a:gd name="connsiteX449" fmla="*/ 1209523 w 3050590"/>
              <a:gd name="connsiteY449" fmla="*/ 356372 h 1798777"/>
              <a:gd name="connsiteX450" fmla="*/ 1229259 w 3050590"/>
              <a:gd name="connsiteY450" fmla="*/ 333253 h 1798777"/>
              <a:gd name="connsiteX451" fmla="*/ 1264783 w 3050590"/>
              <a:gd name="connsiteY451" fmla="*/ 326487 h 1798777"/>
              <a:gd name="connsiteX452" fmla="*/ 1279444 w 3050590"/>
              <a:gd name="connsiteY452" fmla="*/ 340584 h 1798777"/>
              <a:gd name="connsiteX453" fmla="*/ 1313277 w 3050590"/>
              <a:gd name="connsiteY453" fmla="*/ 355808 h 1798777"/>
              <a:gd name="connsiteX454" fmla="*/ 1351056 w 3050590"/>
              <a:gd name="connsiteY454" fmla="*/ 352989 h 1798777"/>
              <a:gd name="connsiteX455" fmla="*/ 1383198 w 3050590"/>
              <a:gd name="connsiteY455" fmla="*/ 364267 h 1798777"/>
              <a:gd name="connsiteX456" fmla="*/ 1401242 w 3050590"/>
              <a:gd name="connsiteY456" fmla="*/ 370469 h 1798777"/>
              <a:gd name="connsiteX457" fmla="*/ 1419850 w 3050590"/>
              <a:gd name="connsiteY457" fmla="*/ 404866 h 1798777"/>
              <a:gd name="connsiteX458" fmla="*/ 1440714 w 3050590"/>
              <a:gd name="connsiteY458" fmla="*/ 414452 h 1798777"/>
              <a:gd name="connsiteX459" fmla="*/ 1480749 w 3050590"/>
              <a:gd name="connsiteY459" fmla="*/ 415580 h 1798777"/>
              <a:gd name="connsiteX460" fmla="*/ 1503868 w 3050590"/>
              <a:gd name="connsiteY460" fmla="*/ 417835 h 1798777"/>
              <a:gd name="connsiteX461" fmla="*/ 1488643 w 3050590"/>
              <a:gd name="connsiteY461" fmla="*/ 448849 h 1798777"/>
              <a:gd name="connsiteX462" fmla="*/ 1497665 w 3050590"/>
              <a:gd name="connsiteY462" fmla="*/ 476479 h 1798777"/>
              <a:gd name="connsiteX463" fmla="*/ 1479057 w 3050590"/>
              <a:gd name="connsiteY463" fmla="*/ 505800 h 1798777"/>
              <a:gd name="connsiteX464" fmla="*/ 1493154 w 3050590"/>
              <a:gd name="connsiteY464" fmla="*/ 516514 h 1798777"/>
              <a:gd name="connsiteX465" fmla="*/ 1496538 w 3050590"/>
              <a:gd name="connsiteY465" fmla="*/ 528920 h 1798777"/>
              <a:gd name="connsiteX466" fmla="*/ 1496538 w 3050590"/>
              <a:gd name="connsiteY466" fmla="*/ 528920 h 1798777"/>
              <a:gd name="connsiteX467" fmla="*/ 1525296 w 3050590"/>
              <a:gd name="connsiteY467" fmla="*/ 512567 h 1798777"/>
              <a:gd name="connsiteX468" fmla="*/ 1542776 w 3050590"/>
              <a:gd name="connsiteY468" fmla="*/ 491703 h 1798777"/>
              <a:gd name="connsiteX469" fmla="*/ 1516837 w 3050590"/>
              <a:gd name="connsiteY469" fmla="*/ 470276 h 1798777"/>
              <a:gd name="connsiteX470" fmla="*/ 1525296 w 3050590"/>
              <a:gd name="connsiteY470" fmla="*/ 431932 h 1798777"/>
              <a:gd name="connsiteX471" fmla="*/ 1531498 w 3050590"/>
              <a:gd name="connsiteY471" fmla="*/ 408249 h 1798777"/>
              <a:gd name="connsiteX472" fmla="*/ 1521912 w 3050590"/>
              <a:gd name="connsiteY472" fmla="*/ 393024 h 1798777"/>
              <a:gd name="connsiteX473" fmla="*/ 1517965 w 3050590"/>
              <a:gd name="connsiteY473" fmla="*/ 379491 h 1798777"/>
              <a:gd name="connsiteX474" fmla="*/ 1520784 w 3050590"/>
              <a:gd name="connsiteY474" fmla="*/ 362575 h 1798777"/>
              <a:gd name="connsiteX475" fmla="*/ 1484696 w 3050590"/>
              <a:gd name="connsiteY475" fmla="*/ 373289 h 1798777"/>
              <a:gd name="connsiteX476" fmla="*/ 1441841 w 3050590"/>
              <a:gd name="connsiteY476" fmla="*/ 391897 h 1798777"/>
              <a:gd name="connsiteX477" fmla="*/ 1440714 w 3050590"/>
              <a:gd name="connsiteY477" fmla="*/ 369905 h 1798777"/>
              <a:gd name="connsiteX478" fmla="*/ 1437330 w 3050590"/>
              <a:gd name="connsiteY478" fmla="*/ 355244 h 1798777"/>
              <a:gd name="connsiteX479" fmla="*/ 1422105 w 3050590"/>
              <a:gd name="connsiteY479" fmla="*/ 346222 h 1798777"/>
              <a:gd name="connsiteX480" fmla="*/ 1398423 w 3050590"/>
              <a:gd name="connsiteY480" fmla="*/ 345658 h 1798777"/>
              <a:gd name="connsiteX481" fmla="*/ 1598036 w 3050590"/>
              <a:gd name="connsiteY481" fmla="*/ 162961 h 1798777"/>
              <a:gd name="connsiteX482" fmla="*/ 1735059 w 3050590"/>
              <a:gd name="connsiteY482" fmla="*/ 49058 h 1798777"/>
              <a:gd name="connsiteX483" fmla="*/ 1735059 w 3050590"/>
              <a:gd name="connsiteY483" fmla="*/ 49058 h 1798777"/>
              <a:gd name="connsiteX484" fmla="*/ 1735059 w 3050590"/>
              <a:gd name="connsiteY484" fmla="*/ 49058 h 1798777"/>
              <a:gd name="connsiteX485" fmla="*/ 1715323 w 3050590"/>
              <a:gd name="connsiteY485" fmla="*/ 45110 h 1798777"/>
              <a:gd name="connsiteX486" fmla="*/ 1692204 w 3050590"/>
              <a:gd name="connsiteY486" fmla="*/ 36088 h 1798777"/>
              <a:gd name="connsiteX487" fmla="*/ 1655552 w 3050590"/>
              <a:gd name="connsiteY487" fmla="*/ 40599 h 1798777"/>
              <a:gd name="connsiteX488" fmla="*/ 1643146 w 3050590"/>
              <a:gd name="connsiteY488" fmla="*/ 36652 h 1798777"/>
              <a:gd name="connsiteX489" fmla="*/ 1603111 w 3050590"/>
              <a:gd name="connsiteY489" fmla="*/ 33833 h 1798777"/>
              <a:gd name="connsiteX490" fmla="*/ 1568150 w 3050590"/>
              <a:gd name="connsiteY490" fmla="*/ 24811 h 1798777"/>
              <a:gd name="connsiteX491" fmla="*/ 1541084 w 3050590"/>
              <a:gd name="connsiteY491" fmla="*/ 27630 h 1798777"/>
              <a:gd name="connsiteX492" fmla="*/ 1513454 w 3050590"/>
              <a:gd name="connsiteY492" fmla="*/ 22555 h 1798777"/>
              <a:gd name="connsiteX493" fmla="*/ 1524732 w 3050590"/>
              <a:gd name="connsiteY493" fmla="*/ 15789 h 1798777"/>
              <a:gd name="connsiteX494" fmla="*/ 1489207 w 3050590"/>
              <a:gd name="connsiteY494" fmla="*/ 14097 h 1798777"/>
              <a:gd name="connsiteX495" fmla="*/ 1470599 w 3050590"/>
              <a:gd name="connsiteY495" fmla="*/ 19736 h 1798777"/>
              <a:gd name="connsiteX496" fmla="*/ 1473419 w 3050590"/>
              <a:gd name="connsiteY496" fmla="*/ 6203 h 1798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</a:cxnLst>
            <a:rect l="l" t="t" r="r" b="b"/>
            <a:pathLst>
              <a:path w="3050590" h="1798777">
                <a:moveTo>
                  <a:pt x="107137" y="1795958"/>
                </a:moveTo>
                <a:lnTo>
                  <a:pt x="118415" y="1790883"/>
                </a:lnTo>
                <a:lnTo>
                  <a:pt x="132512" y="1782989"/>
                </a:lnTo>
                <a:lnTo>
                  <a:pt x="133640" y="1780733"/>
                </a:lnTo>
                <a:lnTo>
                  <a:pt x="128565" y="1768328"/>
                </a:lnTo>
                <a:lnTo>
                  <a:pt x="124618" y="1763817"/>
                </a:lnTo>
                <a:lnTo>
                  <a:pt x="120106" y="1760433"/>
                </a:lnTo>
                <a:lnTo>
                  <a:pt x="109393" y="1754231"/>
                </a:lnTo>
                <a:lnTo>
                  <a:pt x="107137" y="1753667"/>
                </a:lnTo>
                <a:lnTo>
                  <a:pt x="104882" y="1757050"/>
                </a:lnTo>
                <a:lnTo>
                  <a:pt x="104882" y="1764381"/>
                </a:lnTo>
                <a:lnTo>
                  <a:pt x="98115" y="1770019"/>
                </a:lnTo>
                <a:lnTo>
                  <a:pt x="95860" y="1773967"/>
                </a:lnTo>
                <a:lnTo>
                  <a:pt x="98115" y="1786936"/>
                </a:lnTo>
                <a:lnTo>
                  <a:pt x="94732" y="1797086"/>
                </a:lnTo>
                <a:lnTo>
                  <a:pt x="101498" y="1802161"/>
                </a:lnTo>
                <a:lnTo>
                  <a:pt x="107137" y="1795958"/>
                </a:lnTo>
                <a:close/>
                <a:moveTo>
                  <a:pt x="103754" y="1740134"/>
                </a:moveTo>
                <a:lnTo>
                  <a:pt x="107137" y="1736187"/>
                </a:lnTo>
                <a:lnTo>
                  <a:pt x="100371" y="1730548"/>
                </a:lnTo>
                <a:lnTo>
                  <a:pt x="90221" y="1727165"/>
                </a:lnTo>
                <a:lnTo>
                  <a:pt x="86274" y="1729984"/>
                </a:lnTo>
                <a:lnTo>
                  <a:pt x="86274" y="1732239"/>
                </a:lnTo>
                <a:lnTo>
                  <a:pt x="89093" y="1735059"/>
                </a:lnTo>
                <a:lnTo>
                  <a:pt x="92476" y="1742953"/>
                </a:lnTo>
                <a:lnTo>
                  <a:pt x="103754" y="1740134"/>
                </a:lnTo>
                <a:close/>
                <a:moveTo>
                  <a:pt x="86838" y="1720962"/>
                </a:moveTo>
                <a:lnTo>
                  <a:pt x="72177" y="1719834"/>
                </a:lnTo>
                <a:lnTo>
                  <a:pt x="68793" y="1723781"/>
                </a:lnTo>
                <a:lnTo>
                  <a:pt x="85146" y="1724909"/>
                </a:lnTo>
                <a:lnTo>
                  <a:pt x="86838" y="1720962"/>
                </a:lnTo>
                <a:close/>
                <a:moveTo>
                  <a:pt x="60335" y="1715887"/>
                </a:moveTo>
                <a:lnTo>
                  <a:pt x="54133" y="1704045"/>
                </a:lnTo>
                <a:lnTo>
                  <a:pt x="52441" y="1701790"/>
                </a:lnTo>
                <a:lnTo>
                  <a:pt x="42855" y="1706865"/>
                </a:lnTo>
                <a:lnTo>
                  <a:pt x="43419" y="1707993"/>
                </a:lnTo>
                <a:lnTo>
                  <a:pt x="45674" y="1716451"/>
                </a:lnTo>
                <a:lnTo>
                  <a:pt x="55824" y="1717579"/>
                </a:lnTo>
                <a:lnTo>
                  <a:pt x="58080" y="1718142"/>
                </a:lnTo>
                <a:lnTo>
                  <a:pt x="60335" y="1715887"/>
                </a:lnTo>
                <a:close/>
                <a:moveTo>
                  <a:pt x="13533" y="1692204"/>
                </a:moveTo>
                <a:lnTo>
                  <a:pt x="15225" y="1683746"/>
                </a:lnTo>
                <a:lnTo>
                  <a:pt x="7894" y="1683182"/>
                </a:lnTo>
                <a:lnTo>
                  <a:pt x="2256" y="1686565"/>
                </a:lnTo>
                <a:lnTo>
                  <a:pt x="0" y="1689385"/>
                </a:lnTo>
                <a:lnTo>
                  <a:pt x="9022" y="1695587"/>
                </a:lnTo>
                <a:lnTo>
                  <a:pt x="13533" y="1692204"/>
                </a:lnTo>
                <a:close/>
                <a:moveTo>
                  <a:pt x="2337283" y="715564"/>
                </a:moveTo>
                <a:lnTo>
                  <a:pt x="2328261" y="715564"/>
                </a:lnTo>
                <a:lnTo>
                  <a:pt x="2320930" y="729097"/>
                </a:lnTo>
                <a:lnTo>
                  <a:pt x="2263978" y="729097"/>
                </a:lnTo>
                <a:lnTo>
                  <a:pt x="2169246" y="729097"/>
                </a:lnTo>
                <a:lnTo>
                  <a:pt x="2075079" y="729097"/>
                </a:lnTo>
                <a:lnTo>
                  <a:pt x="1991624" y="729097"/>
                </a:lnTo>
                <a:lnTo>
                  <a:pt x="1908734" y="729097"/>
                </a:lnTo>
                <a:lnTo>
                  <a:pt x="1826971" y="729097"/>
                </a:lnTo>
                <a:lnTo>
                  <a:pt x="1742389" y="729097"/>
                </a:lnTo>
                <a:lnTo>
                  <a:pt x="1715323" y="729097"/>
                </a:lnTo>
                <a:lnTo>
                  <a:pt x="1632996" y="729097"/>
                </a:lnTo>
                <a:lnTo>
                  <a:pt x="1554617" y="729097"/>
                </a:lnTo>
                <a:lnTo>
                  <a:pt x="1545595" y="757855"/>
                </a:lnTo>
                <a:lnTo>
                  <a:pt x="1532062" y="786613"/>
                </a:lnTo>
                <a:lnTo>
                  <a:pt x="1519093" y="795635"/>
                </a:lnTo>
                <a:lnTo>
                  <a:pt x="1525296" y="762366"/>
                </a:lnTo>
                <a:lnTo>
                  <a:pt x="1492590" y="750524"/>
                </a:lnTo>
                <a:lnTo>
                  <a:pt x="1484696" y="757291"/>
                </a:lnTo>
                <a:lnTo>
                  <a:pt x="1482441" y="773643"/>
                </a:lnTo>
                <a:lnTo>
                  <a:pt x="1472291" y="804093"/>
                </a:lnTo>
                <a:lnTo>
                  <a:pt x="1448608" y="850895"/>
                </a:lnTo>
                <a:lnTo>
                  <a:pt x="1426053" y="882472"/>
                </a:lnTo>
                <a:lnTo>
                  <a:pt x="1403497" y="914049"/>
                </a:lnTo>
                <a:lnTo>
                  <a:pt x="1373048" y="946755"/>
                </a:lnTo>
                <a:lnTo>
                  <a:pt x="1366845" y="973257"/>
                </a:lnTo>
                <a:lnTo>
                  <a:pt x="1351056" y="1003143"/>
                </a:lnTo>
                <a:lnTo>
                  <a:pt x="1329065" y="1032464"/>
                </a:lnTo>
                <a:lnTo>
                  <a:pt x="1334704" y="1051636"/>
                </a:lnTo>
                <a:lnTo>
                  <a:pt x="1323990" y="1080958"/>
                </a:lnTo>
                <a:lnTo>
                  <a:pt x="1332449" y="1111408"/>
                </a:lnTo>
                <a:lnTo>
                  <a:pt x="1339779" y="1123813"/>
                </a:lnTo>
                <a:lnTo>
                  <a:pt x="1335268" y="1132271"/>
                </a:lnTo>
                <a:lnTo>
                  <a:pt x="1337523" y="1183020"/>
                </a:lnTo>
                <a:lnTo>
                  <a:pt x="1351620" y="1219673"/>
                </a:lnTo>
                <a:lnTo>
                  <a:pt x="1347109" y="1239408"/>
                </a:lnTo>
                <a:lnTo>
                  <a:pt x="1352748" y="1245047"/>
                </a:lnTo>
                <a:lnTo>
                  <a:pt x="1378687" y="1248994"/>
                </a:lnTo>
                <a:lnTo>
                  <a:pt x="1386017" y="1258580"/>
                </a:lnTo>
                <a:lnTo>
                  <a:pt x="1401806" y="1260272"/>
                </a:lnTo>
                <a:lnTo>
                  <a:pt x="1401242" y="1270986"/>
                </a:lnTo>
                <a:lnTo>
                  <a:pt x="1413647" y="1274933"/>
                </a:lnTo>
                <a:lnTo>
                  <a:pt x="1425489" y="1295796"/>
                </a:lnTo>
                <a:lnTo>
                  <a:pt x="1423797" y="1313841"/>
                </a:lnTo>
                <a:lnTo>
                  <a:pt x="1459322" y="1311021"/>
                </a:lnTo>
                <a:lnTo>
                  <a:pt x="1498793" y="1307074"/>
                </a:lnTo>
                <a:lnTo>
                  <a:pt x="1493154" y="1314404"/>
                </a:lnTo>
                <a:lnTo>
                  <a:pt x="1533190" y="1331885"/>
                </a:lnTo>
                <a:lnTo>
                  <a:pt x="1593525" y="1356695"/>
                </a:lnTo>
                <a:lnTo>
                  <a:pt x="1653860" y="1356695"/>
                </a:lnTo>
                <a:lnTo>
                  <a:pt x="1678107" y="1356695"/>
                </a:lnTo>
                <a:lnTo>
                  <a:pt x="1682618" y="1342035"/>
                </a:lnTo>
                <a:lnTo>
                  <a:pt x="1735059" y="1342035"/>
                </a:lnTo>
                <a:lnTo>
                  <a:pt x="1742389" y="1354440"/>
                </a:lnTo>
                <a:lnTo>
                  <a:pt x="1754231" y="1365717"/>
                </a:lnTo>
                <a:lnTo>
                  <a:pt x="1767764" y="1381506"/>
                </a:lnTo>
                <a:lnTo>
                  <a:pt x="1772275" y="1400114"/>
                </a:lnTo>
                <a:lnTo>
                  <a:pt x="1774530" y="1419850"/>
                </a:lnTo>
                <a:lnTo>
                  <a:pt x="1786936" y="1430564"/>
                </a:lnTo>
                <a:lnTo>
                  <a:pt x="1809491" y="1441277"/>
                </a:lnTo>
                <a:lnTo>
                  <a:pt x="1836557" y="1413083"/>
                </a:lnTo>
                <a:lnTo>
                  <a:pt x="1861368" y="1412520"/>
                </a:lnTo>
                <a:lnTo>
                  <a:pt x="1878848" y="1426617"/>
                </a:lnTo>
                <a:lnTo>
                  <a:pt x="1887870" y="1451427"/>
                </a:lnTo>
                <a:lnTo>
                  <a:pt x="1893509" y="1472291"/>
                </a:lnTo>
                <a:lnTo>
                  <a:pt x="1907042" y="1492590"/>
                </a:lnTo>
                <a:lnTo>
                  <a:pt x="1908170" y="1517965"/>
                </a:lnTo>
                <a:lnTo>
                  <a:pt x="1912681" y="1534881"/>
                </a:lnTo>
                <a:lnTo>
                  <a:pt x="1934672" y="1546159"/>
                </a:lnTo>
                <a:lnTo>
                  <a:pt x="1954972" y="1554053"/>
                </a:lnTo>
                <a:lnTo>
                  <a:pt x="1966814" y="1552926"/>
                </a:lnTo>
                <a:lnTo>
                  <a:pt x="1963430" y="1540520"/>
                </a:lnTo>
                <a:lnTo>
                  <a:pt x="1965686" y="1523040"/>
                </a:lnTo>
                <a:lnTo>
                  <a:pt x="1971324" y="1498229"/>
                </a:lnTo>
                <a:lnTo>
                  <a:pt x="1982038" y="1482441"/>
                </a:lnTo>
                <a:lnTo>
                  <a:pt x="2002902" y="1464960"/>
                </a:lnTo>
                <a:lnTo>
                  <a:pt x="2036735" y="1449736"/>
                </a:lnTo>
                <a:lnTo>
                  <a:pt x="2071131" y="1423233"/>
                </a:lnTo>
                <a:lnTo>
                  <a:pt x="2098761" y="1414775"/>
                </a:lnTo>
                <a:lnTo>
                  <a:pt x="2118497" y="1412520"/>
                </a:lnTo>
                <a:lnTo>
                  <a:pt x="2138233" y="1420414"/>
                </a:lnTo>
                <a:lnTo>
                  <a:pt x="2165863" y="1415903"/>
                </a:lnTo>
                <a:lnTo>
                  <a:pt x="2184471" y="1435075"/>
                </a:lnTo>
                <a:lnTo>
                  <a:pt x="2205899" y="1436202"/>
                </a:lnTo>
                <a:lnTo>
                  <a:pt x="2219432" y="1429436"/>
                </a:lnTo>
                <a:lnTo>
                  <a:pt x="2229018" y="1434511"/>
                </a:lnTo>
                <a:lnTo>
                  <a:pt x="2236348" y="1430000"/>
                </a:lnTo>
                <a:lnTo>
                  <a:pt x="2231273" y="1422669"/>
                </a:lnTo>
                <a:lnTo>
                  <a:pt x="2235220" y="1408572"/>
                </a:lnTo>
                <a:lnTo>
                  <a:pt x="2232401" y="1398986"/>
                </a:lnTo>
                <a:lnTo>
                  <a:pt x="2245934" y="1393348"/>
                </a:lnTo>
                <a:lnTo>
                  <a:pt x="2269617" y="1391092"/>
                </a:lnTo>
                <a:lnTo>
                  <a:pt x="2296119" y="1395039"/>
                </a:lnTo>
                <a:lnTo>
                  <a:pt x="2331080" y="1390528"/>
                </a:lnTo>
                <a:lnTo>
                  <a:pt x="2347996" y="1398986"/>
                </a:lnTo>
                <a:lnTo>
                  <a:pt x="2359274" y="1415903"/>
                </a:lnTo>
                <a:lnTo>
                  <a:pt x="2364349" y="1417594"/>
                </a:lnTo>
                <a:lnTo>
                  <a:pt x="2398746" y="1401242"/>
                </a:lnTo>
                <a:lnTo>
                  <a:pt x="2409459" y="1406881"/>
                </a:lnTo>
                <a:lnTo>
                  <a:pt x="2426376" y="1436766"/>
                </a:lnTo>
                <a:lnTo>
                  <a:pt x="2430887" y="1456502"/>
                </a:lnTo>
                <a:lnTo>
                  <a:pt x="2419609" y="1480185"/>
                </a:lnTo>
                <a:lnTo>
                  <a:pt x="2421865" y="1494282"/>
                </a:lnTo>
                <a:lnTo>
                  <a:pt x="2430887" y="1521912"/>
                </a:lnTo>
                <a:lnTo>
                  <a:pt x="2442164" y="1552926"/>
                </a:lnTo>
                <a:lnTo>
                  <a:pt x="2452314" y="1560820"/>
                </a:lnTo>
                <a:lnTo>
                  <a:pt x="2454570" y="1576609"/>
                </a:lnTo>
                <a:lnTo>
                  <a:pt x="2469231" y="1581120"/>
                </a:lnTo>
                <a:lnTo>
                  <a:pt x="2478817" y="1576609"/>
                </a:lnTo>
                <a:lnTo>
                  <a:pt x="2490094" y="1554617"/>
                </a:lnTo>
                <a:lnTo>
                  <a:pt x="2494041" y="1540520"/>
                </a:lnTo>
                <a:lnTo>
                  <a:pt x="2499116" y="1516273"/>
                </a:lnTo>
                <a:lnTo>
                  <a:pt x="2492350" y="1474546"/>
                </a:lnTo>
                <a:lnTo>
                  <a:pt x="2495169" y="1459322"/>
                </a:lnTo>
                <a:lnTo>
                  <a:pt x="2486711" y="1433947"/>
                </a:lnTo>
                <a:lnTo>
                  <a:pt x="2482764" y="1403497"/>
                </a:lnTo>
                <a:lnTo>
                  <a:pt x="2483328" y="1378687"/>
                </a:lnTo>
                <a:lnTo>
                  <a:pt x="2493478" y="1353312"/>
                </a:lnTo>
                <a:lnTo>
                  <a:pt x="2513213" y="1331885"/>
                </a:lnTo>
                <a:lnTo>
                  <a:pt x="2534077" y="1314968"/>
                </a:lnTo>
                <a:lnTo>
                  <a:pt x="2572985" y="1291849"/>
                </a:lnTo>
                <a:lnTo>
                  <a:pt x="2580315" y="1279444"/>
                </a:lnTo>
                <a:lnTo>
                  <a:pt x="2598923" y="1266475"/>
                </a:lnTo>
                <a:lnTo>
                  <a:pt x="2614712" y="1264219"/>
                </a:lnTo>
                <a:lnTo>
                  <a:pt x="2639522" y="1242792"/>
                </a:lnTo>
                <a:lnTo>
                  <a:pt x="2673355" y="1232078"/>
                </a:lnTo>
                <a:lnTo>
                  <a:pt x="2699294" y="1205012"/>
                </a:lnTo>
                <a:lnTo>
                  <a:pt x="2704369" y="1168359"/>
                </a:lnTo>
                <a:lnTo>
                  <a:pt x="2704933" y="1155954"/>
                </a:lnTo>
                <a:lnTo>
                  <a:pt x="2697038" y="1153699"/>
                </a:lnTo>
                <a:lnTo>
                  <a:pt x="2705496" y="1118738"/>
                </a:lnTo>
                <a:lnTo>
                  <a:pt x="2688580" y="1106897"/>
                </a:lnTo>
                <a:lnTo>
                  <a:pt x="2706624" y="1112535"/>
                </a:lnTo>
                <a:lnTo>
                  <a:pt x="2706624" y="1089416"/>
                </a:lnTo>
                <a:lnTo>
                  <a:pt x="2717338" y="1074192"/>
                </a:lnTo>
                <a:lnTo>
                  <a:pt x="2711699" y="1104077"/>
                </a:lnTo>
                <a:lnTo>
                  <a:pt x="2722977" y="1118174"/>
                </a:lnTo>
                <a:lnTo>
                  <a:pt x="2706624" y="1142985"/>
                </a:lnTo>
                <a:lnTo>
                  <a:pt x="2708880" y="1144113"/>
                </a:lnTo>
                <a:lnTo>
                  <a:pt x="2733690" y="1115355"/>
                </a:lnTo>
                <a:lnTo>
                  <a:pt x="2747224" y="1101258"/>
                </a:lnTo>
                <a:lnTo>
                  <a:pt x="2750607" y="1087161"/>
                </a:lnTo>
                <a:lnTo>
                  <a:pt x="2745532" y="1080958"/>
                </a:lnTo>
                <a:lnTo>
                  <a:pt x="2744968" y="1061222"/>
                </a:lnTo>
                <a:lnTo>
                  <a:pt x="2751735" y="1070244"/>
                </a:lnTo>
                <a:lnTo>
                  <a:pt x="2757937" y="1072500"/>
                </a:lnTo>
                <a:lnTo>
                  <a:pt x="2757373" y="1081522"/>
                </a:lnTo>
                <a:lnTo>
                  <a:pt x="2786695" y="1053892"/>
                </a:lnTo>
                <a:lnTo>
                  <a:pt x="2800792" y="1028517"/>
                </a:lnTo>
                <a:lnTo>
                  <a:pt x="2792898" y="1026825"/>
                </a:lnTo>
                <a:lnTo>
                  <a:pt x="2804739" y="1016676"/>
                </a:lnTo>
                <a:lnTo>
                  <a:pt x="2802484" y="1021187"/>
                </a:lnTo>
                <a:lnTo>
                  <a:pt x="2821092" y="1021187"/>
                </a:lnTo>
                <a:lnTo>
                  <a:pt x="2865074" y="1010473"/>
                </a:lnTo>
                <a:lnTo>
                  <a:pt x="2858872" y="1003707"/>
                </a:lnTo>
                <a:lnTo>
                  <a:pt x="2814325" y="1010473"/>
                </a:lnTo>
                <a:lnTo>
                  <a:pt x="2841391" y="1000323"/>
                </a:lnTo>
                <a:lnTo>
                  <a:pt x="2858872" y="998631"/>
                </a:lnTo>
                <a:lnTo>
                  <a:pt x="2872405" y="996940"/>
                </a:lnTo>
                <a:lnTo>
                  <a:pt x="2895524" y="990737"/>
                </a:lnTo>
                <a:lnTo>
                  <a:pt x="2909057" y="991301"/>
                </a:lnTo>
                <a:lnTo>
                  <a:pt x="2930485" y="985662"/>
                </a:lnTo>
                <a:lnTo>
                  <a:pt x="2936123" y="976076"/>
                </a:lnTo>
                <a:lnTo>
                  <a:pt x="2929921" y="968182"/>
                </a:lnTo>
                <a:lnTo>
                  <a:pt x="2928793" y="980587"/>
                </a:lnTo>
                <a:lnTo>
                  <a:pt x="2916951" y="980024"/>
                </a:lnTo>
                <a:lnTo>
                  <a:pt x="2913568" y="961416"/>
                </a:lnTo>
                <a:lnTo>
                  <a:pt x="2919771" y="942807"/>
                </a:lnTo>
                <a:lnTo>
                  <a:pt x="2927665" y="935477"/>
                </a:lnTo>
                <a:lnTo>
                  <a:pt x="2949656" y="914613"/>
                </a:lnTo>
                <a:lnTo>
                  <a:pt x="2982925" y="904464"/>
                </a:lnTo>
                <a:lnTo>
                  <a:pt x="3016758" y="892622"/>
                </a:lnTo>
                <a:lnTo>
                  <a:pt x="3052283" y="875706"/>
                </a:lnTo>
                <a:lnTo>
                  <a:pt x="3051155" y="864428"/>
                </a:lnTo>
                <a:lnTo>
                  <a:pt x="3039313" y="844692"/>
                </a:lnTo>
                <a:lnTo>
                  <a:pt x="3055102" y="796763"/>
                </a:lnTo>
                <a:lnTo>
                  <a:pt x="3046644" y="786613"/>
                </a:lnTo>
                <a:lnTo>
                  <a:pt x="3025780" y="792815"/>
                </a:lnTo>
                <a:lnTo>
                  <a:pt x="3019578" y="783229"/>
                </a:lnTo>
                <a:lnTo>
                  <a:pt x="2988564" y="809732"/>
                </a:lnTo>
                <a:lnTo>
                  <a:pt x="2970520" y="837362"/>
                </a:lnTo>
                <a:lnTo>
                  <a:pt x="2955295" y="853151"/>
                </a:lnTo>
                <a:lnTo>
                  <a:pt x="2941198" y="858225"/>
                </a:lnTo>
                <a:lnTo>
                  <a:pt x="2931612" y="859917"/>
                </a:lnTo>
                <a:lnTo>
                  <a:pt x="2925973" y="868939"/>
                </a:lnTo>
                <a:lnTo>
                  <a:pt x="2873533" y="868939"/>
                </a:lnTo>
                <a:lnTo>
                  <a:pt x="2830114" y="868939"/>
                </a:lnTo>
                <a:lnTo>
                  <a:pt x="2814889" y="875706"/>
                </a:lnTo>
                <a:lnTo>
                  <a:pt x="2777109" y="899389"/>
                </a:lnTo>
                <a:lnTo>
                  <a:pt x="2778237" y="904464"/>
                </a:lnTo>
                <a:lnTo>
                  <a:pt x="2774854" y="917997"/>
                </a:lnTo>
                <a:lnTo>
                  <a:pt x="2748915" y="929274"/>
                </a:lnTo>
                <a:lnTo>
                  <a:pt x="2726924" y="926455"/>
                </a:lnTo>
                <a:lnTo>
                  <a:pt x="2704369" y="925327"/>
                </a:lnTo>
                <a:lnTo>
                  <a:pt x="2689708" y="929274"/>
                </a:lnTo>
                <a:lnTo>
                  <a:pt x="2688016" y="939424"/>
                </a:lnTo>
                <a:lnTo>
                  <a:pt x="2688016" y="939424"/>
                </a:lnTo>
                <a:lnTo>
                  <a:pt x="2687452" y="942807"/>
                </a:lnTo>
                <a:lnTo>
                  <a:pt x="2654747" y="963671"/>
                </a:lnTo>
                <a:lnTo>
                  <a:pt x="2629373" y="973821"/>
                </a:lnTo>
                <a:lnTo>
                  <a:pt x="2613020" y="978332"/>
                </a:lnTo>
                <a:lnTo>
                  <a:pt x="2592157" y="987918"/>
                </a:lnTo>
                <a:lnTo>
                  <a:pt x="2569601" y="992993"/>
                </a:lnTo>
                <a:lnTo>
                  <a:pt x="2555504" y="991301"/>
                </a:lnTo>
                <a:lnTo>
                  <a:pt x="2540280" y="983971"/>
                </a:lnTo>
                <a:lnTo>
                  <a:pt x="2555504" y="970437"/>
                </a:lnTo>
                <a:lnTo>
                  <a:pt x="2555504" y="970437"/>
                </a:lnTo>
                <a:lnTo>
                  <a:pt x="2566782" y="958032"/>
                </a:lnTo>
                <a:lnTo>
                  <a:pt x="2587645" y="938860"/>
                </a:lnTo>
                <a:lnTo>
                  <a:pt x="2587645" y="938860"/>
                </a:lnTo>
                <a:lnTo>
                  <a:pt x="2587645" y="938860"/>
                </a:lnTo>
                <a:lnTo>
                  <a:pt x="2591593" y="924763"/>
                </a:lnTo>
                <a:lnTo>
                  <a:pt x="2594412" y="905028"/>
                </a:lnTo>
                <a:lnTo>
                  <a:pt x="2585390" y="901080"/>
                </a:lnTo>
                <a:lnTo>
                  <a:pt x="2561143" y="916869"/>
                </a:lnTo>
                <a:lnTo>
                  <a:pt x="2556068" y="916305"/>
                </a:lnTo>
                <a:lnTo>
                  <a:pt x="2557760" y="907847"/>
                </a:lnTo>
                <a:lnTo>
                  <a:pt x="2579187" y="893750"/>
                </a:lnTo>
                <a:lnTo>
                  <a:pt x="2588209" y="877961"/>
                </a:lnTo>
                <a:lnTo>
                  <a:pt x="2592157" y="862173"/>
                </a:lnTo>
                <a:lnTo>
                  <a:pt x="2576932" y="848640"/>
                </a:lnTo>
                <a:lnTo>
                  <a:pt x="2556068" y="841309"/>
                </a:lnTo>
                <a:lnTo>
                  <a:pt x="2546482" y="854842"/>
                </a:lnTo>
                <a:lnTo>
                  <a:pt x="2538588" y="858225"/>
                </a:lnTo>
                <a:lnTo>
                  <a:pt x="2526183" y="875706"/>
                </a:lnTo>
                <a:lnTo>
                  <a:pt x="2528438" y="863864"/>
                </a:lnTo>
                <a:lnTo>
                  <a:pt x="2513777" y="872322"/>
                </a:lnTo>
                <a:lnTo>
                  <a:pt x="2501936" y="883600"/>
                </a:lnTo>
                <a:lnTo>
                  <a:pt x="2487275" y="901080"/>
                </a:lnTo>
                <a:lnTo>
                  <a:pt x="2479944" y="915741"/>
                </a:lnTo>
                <a:lnTo>
                  <a:pt x="2480508" y="937169"/>
                </a:lnTo>
                <a:lnTo>
                  <a:pt x="2470358" y="959724"/>
                </a:lnTo>
                <a:lnTo>
                  <a:pt x="2451750" y="976640"/>
                </a:lnTo>
                <a:lnTo>
                  <a:pt x="2443856" y="981715"/>
                </a:lnTo>
                <a:lnTo>
                  <a:pt x="2434834" y="985662"/>
                </a:lnTo>
                <a:lnTo>
                  <a:pt x="2424684" y="985662"/>
                </a:lnTo>
                <a:lnTo>
                  <a:pt x="2422993" y="983407"/>
                </a:lnTo>
                <a:lnTo>
                  <a:pt x="2422429" y="964799"/>
                </a:lnTo>
                <a:lnTo>
                  <a:pt x="2426376" y="955777"/>
                </a:lnTo>
                <a:lnTo>
                  <a:pt x="2430323" y="947319"/>
                </a:lnTo>
                <a:lnTo>
                  <a:pt x="2433706" y="930402"/>
                </a:lnTo>
                <a:lnTo>
                  <a:pt x="2447803" y="910666"/>
                </a:lnTo>
                <a:lnTo>
                  <a:pt x="2464156" y="886419"/>
                </a:lnTo>
                <a:lnTo>
                  <a:pt x="2490094" y="859917"/>
                </a:lnTo>
                <a:lnTo>
                  <a:pt x="2486147" y="859917"/>
                </a:lnTo>
                <a:lnTo>
                  <a:pt x="2455698" y="882472"/>
                </a:lnTo>
                <a:lnTo>
                  <a:pt x="2453442" y="878525"/>
                </a:lnTo>
                <a:lnTo>
                  <a:pt x="2469795" y="865556"/>
                </a:lnTo>
                <a:lnTo>
                  <a:pt x="2496297" y="843001"/>
                </a:lnTo>
                <a:lnTo>
                  <a:pt x="2517160" y="840181"/>
                </a:lnTo>
                <a:lnTo>
                  <a:pt x="2541971" y="832851"/>
                </a:lnTo>
                <a:lnTo>
                  <a:pt x="2562835" y="836798"/>
                </a:lnTo>
                <a:lnTo>
                  <a:pt x="2563399" y="836798"/>
                </a:lnTo>
                <a:lnTo>
                  <a:pt x="2589901" y="833979"/>
                </a:lnTo>
                <a:lnTo>
                  <a:pt x="2581443" y="819882"/>
                </a:lnTo>
                <a:lnTo>
                  <a:pt x="2581443" y="819882"/>
                </a:lnTo>
                <a:lnTo>
                  <a:pt x="2574676" y="818754"/>
                </a:lnTo>
                <a:lnTo>
                  <a:pt x="2574676" y="818754"/>
                </a:lnTo>
                <a:lnTo>
                  <a:pt x="2574676" y="818754"/>
                </a:lnTo>
                <a:lnTo>
                  <a:pt x="2566782" y="817062"/>
                </a:lnTo>
                <a:lnTo>
                  <a:pt x="2564526" y="807476"/>
                </a:lnTo>
                <a:lnTo>
                  <a:pt x="2535769" y="810296"/>
                </a:lnTo>
                <a:lnTo>
                  <a:pt x="2507575" y="818190"/>
                </a:lnTo>
                <a:lnTo>
                  <a:pt x="2493478" y="805221"/>
                </a:lnTo>
                <a:lnTo>
                  <a:pt x="2479381" y="800710"/>
                </a:lnTo>
                <a:lnTo>
                  <a:pt x="2496861" y="782102"/>
                </a:lnTo>
                <a:lnTo>
                  <a:pt x="2466975" y="793379"/>
                </a:lnTo>
                <a:lnTo>
                  <a:pt x="2439345" y="805221"/>
                </a:lnTo>
                <a:lnTo>
                  <a:pt x="2413407" y="813679"/>
                </a:lnTo>
                <a:lnTo>
                  <a:pt x="2401565" y="801837"/>
                </a:lnTo>
                <a:lnTo>
                  <a:pt x="2370552" y="809168"/>
                </a:lnTo>
                <a:lnTo>
                  <a:pt x="2372807" y="804093"/>
                </a:lnTo>
                <a:lnTo>
                  <a:pt x="2398746" y="789432"/>
                </a:lnTo>
                <a:lnTo>
                  <a:pt x="2425248" y="775335"/>
                </a:lnTo>
                <a:lnTo>
                  <a:pt x="2458517" y="763494"/>
                </a:lnTo>
                <a:lnTo>
                  <a:pt x="2458517" y="763494"/>
                </a:lnTo>
                <a:lnTo>
                  <a:pt x="2458517" y="763494"/>
                </a:lnTo>
                <a:lnTo>
                  <a:pt x="2428631" y="754472"/>
                </a:lnTo>
                <a:lnTo>
                  <a:pt x="2403821" y="758982"/>
                </a:lnTo>
                <a:lnTo>
                  <a:pt x="2382393" y="748269"/>
                </a:lnTo>
                <a:lnTo>
                  <a:pt x="2356455" y="742630"/>
                </a:lnTo>
                <a:lnTo>
                  <a:pt x="2338411" y="740375"/>
                </a:lnTo>
                <a:lnTo>
                  <a:pt x="2332772" y="734736"/>
                </a:lnTo>
                <a:lnTo>
                  <a:pt x="2337283" y="715564"/>
                </a:lnTo>
                <a:close/>
                <a:moveTo>
                  <a:pt x="980587" y="451104"/>
                </a:moveTo>
                <a:lnTo>
                  <a:pt x="1019495" y="435315"/>
                </a:lnTo>
                <a:lnTo>
                  <a:pt x="1019495" y="425166"/>
                </a:lnTo>
                <a:lnTo>
                  <a:pt x="1004834" y="422910"/>
                </a:lnTo>
                <a:lnTo>
                  <a:pt x="985662" y="427985"/>
                </a:lnTo>
                <a:lnTo>
                  <a:pt x="949574" y="439826"/>
                </a:lnTo>
                <a:lnTo>
                  <a:pt x="937169" y="455051"/>
                </a:lnTo>
                <a:lnTo>
                  <a:pt x="941116" y="464073"/>
                </a:lnTo>
                <a:lnTo>
                  <a:pt x="980587" y="451104"/>
                </a:lnTo>
                <a:close/>
                <a:moveTo>
                  <a:pt x="762366" y="358628"/>
                </a:moveTo>
                <a:lnTo>
                  <a:pt x="775335" y="345658"/>
                </a:lnTo>
                <a:lnTo>
                  <a:pt x="758983" y="342839"/>
                </a:lnTo>
                <a:lnTo>
                  <a:pt x="726841" y="348478"/>
                </a:lnTo>
                <a:lnTo>
                  <a:pt x="731352" y="357500"/>
                </a:lnTo>
                <a:lnTo>
                  <a:pt x="740374" y="363703"/>
                </a:lnTo>
                <a:lnTo>
                  <a:pt x="762366" y="358628"/>
                </a:lnTo>
                <a:close/>
                <a:moveTo>
                  <a:pt x="769132" y="232882"/>
                </a:moveTo>
                <a:lnTo>
                  <a:pt x="751652" y="245288"/>
                </a:lnTo>
                <a:lnTo>
                  <a:pt x="753908" y="248107"/>
                </a:lnTo>
                <a:lnTo>
                  <a:pt x="777591" y="245852"/>
                </a:lnTo>
                <a:lnTo>
                  <a:pt x="779282" y="252054"/>
                </a:lnTo>
                <a:lnTo>
                  <a:pt x="788868" y="258821"/>
                </a:lnTo>
                <a:lnTo>
                  <a:pt x="816498" y="252054"/>
                </a:lnTo>
                <a:lnTo>
                  <a:pt x="823265" y="248671"/>
                </a:lnTo>
                <a:lnTo>
                  <a:pt x="804657" y="244160"/>
                </a:lnTo>
                <a:lnTo>
                  <a:pt x="795635" y="235702"/>
                </a:lnTo>
                <a:lnTo>
                  <a:pt x="776463" y="239085"/>
                </a:lnTo>
                <a:lnTo>
                  <a:pt x="769132" y="232882"/>
                </a:lnTo>
                <a:close/>
                <a:moveTo>
                  <a:pt x="1473419" y="6203"/>
                </a:moveTo>
                <a:lnTo>
                  <a:pt x="1448608" y="0"/>
                </a:lnTo>
                <a:lnTo>
                  <a:pt x="1391092" y="15789"/>
                </a:lnTo>
                <a:lnTo>
                  <a:pt x="1373048" y="14097"/>
                </a:lnTo>
                <a:lnTo>
                  <a:pt x="1311021" y="27066"/>
                </a:lnTo>
                <a:lnTo>
                  <a:pt x="1283955" y="30450"/>
                </a:lnTo>
                <a:lnTo>
                  <a:pt x="1239972" y="44547"/>
                </a:lnTo>
                <a:lnTo>
                  <a:pt x="1212906" y="59207"/>
                </a:lnTo>
                <a:lnTo>
                  <a:pt x="1164412" y="73304"/>
                </a:lnTo>
                <a:lnTo>
                  <a:pt x="1121557" y="73868"/>
                </a:lnTo>
                <a:lnTo>
                  <a:pt x="1086033" y="90221"/>
                </a:lnTo>
                <a:lnTo>
                  <a:pt x="1104077" y="99807"/>
                </a:lnTo>
                <a:lnTo>
                  <a:pt x="1108024" y="112776"/>
                </a:lnTo>
                <a:lnTo>
                  <a:pt x="1103513" y="128001"/>
                </a:lnTo>
                <a:lnTo>
                  <a:pt x="1116483" y="139842"/>
                </a:lnTo>
                <a:lnTo>
                  <a:pt x="1109716" y="159578"/>
                </a:lnTo>
                <a:lnTo>
                  <a:pt x="1057839" y="160706"/>
                </a:lnTo>
                <a:lnTo>
                  <a:pt x="1082086" y="144917"/>
                </a:lnTo>
                <a:lnTo>
                  <a:pt x="1062914" y="144917"/>
                </a:lnTo>
                <a:lnTo>
                  <a:pt x="989046" y="160142"/>
                </a:lnTo>
                <a:lnTo>
                  <a:pt x="937732" y="173111"/>
                </a:lnTo>
                <a:lnTo>
                  <a:pt x="943371" y="191719"/>
                </a:lnTo>
                <a:lnTo>
                  <a:pt x="936605" y="204125"/>
                </a:lnTo>
                <a:lnTo>
                  <a:pt x="961979" y="212019"/>
                </a:lnTo>
                <a:lnTo>
                  <a:pt x="1000887" y="208072"/>
                </a:lnTo>
                <a:lnTo>
                  <a:pt x="1011037" y="215402"/>
                </a:lnTo>
                <a:lnTo>
                  <a:pt x="1027389" y="208072"/>
                </a:lnTo>
                <a:lnTo>
                  <a:pt x="1061786" y="201305"/>
                </a:lnTo>
                <a:lnTo>
                  <a:pt x="1077011" y="201305"/>
                </a:lnTo>
                <a:lnTo>
                  <a:pt x="1043742" y="213147"/>
                </a:lnTo>
                <a:lnTo>
                  <a:pt x="1049945" y="218785"/>
                </a:lnTo>
                <a:lnTo>
                  <a:pt x="1035848" y="233446"/>
                </a:lnTo>
                <a:lnTo>
                  <a:pt x="1004834" y="243596"/>
                </a:lnTo>
                <a:lnTo>
                  <a:pt x="990737" y="240777"/>
                </a:lnTo>
                <a:lnTo>
                  <a:pt x="951266" y="256002"/>
                </a:lnTo>
                <a:lnTo>
                  <a:pt x="941116" y="250927"/>
                </a:lnTo>
                <a:lnTo>
                  <a:pt x="917997" y="253182"/>
                </a:lnTo>
                <a:lnTo>
                  <a:pt x="888111" y="270099"/>
                </a:lnTo>
                <a:lnTo>
                  <a:pt x="845256" y="287579"/>
                </a:lnTo>
                <a:lnTo>
                  <a:pt x="812551" y="306751"/>
                </a:lnTo>
                <a:lnTo>
                  <a:pt x="814243" y="320284"/>
                </a:lnTo>
                <a:lnTo>
                  <a:pt x="791688" y="338892"/>
                </a:lnTo>
                <a:lnTo>
                  <a:pt x="799582" y="346786"/>
                </a:lnTo>
                <a:lnTo>
                  <a:pt x="802401" y="362011"/>
                </a:lnTo>
                <a:lnTo>
                  <a:pt x="843001" y="355808"/>
                </a:lnTo>
                <a:lnTo>
                  <a:pt x="845256" y="367650"/>
                </a:lnTo>
                <a:lnTo>
                  <a:pt x="826648" y="379491"/>
                </a:lnTo>
                <a:lnTo>
                  <a:pt x="806348" y="399227"/>
                </a:lnTo>
                <a:lnTo>
                  <a:pt x="822137" y="399227"/>
                </a:lnTo>
                <a:lnTo>
                  <a:pt x="862736" y="386258"/>
                </a:lnTo>
                <a:lnTo>
                  <a:pt x="853714" y="402610"/>
                </a:lnTo>
                <a:lnTo>
                  <a:pt x="874014" y="390769"/>
                </a:lnTo>
                <a:lnTo>
                  <a:pt x="871759" y="407685"/>
                </a:lnTo>
                <a:lnTo>
                  <a:pt x="898825" y="395280"/>
                </a:lnTo>
                <a:lnTo>
                  <a:pt x="901080" y="401483"/>
                </a:lnTo>
                <a:lnTo>
                  <a:pt x="941680" y="391333"/>
                </a:lnTo>
                <a:lnTo>
                  <a:pt x="906719" y="410505"/>
                </a:lnTo>
                <a:lnTo>
                  <a:pt x="874578" y="435879"/>
                </a:lnTo>
                <a:lnTo>
                  <a:pt x="842437" y="447721"/>
                </a:lnTo>
                <a:lnTo>
                  <a:pt x="829468" y="454487"/>
                </a:lnTo>
                <a:lnTo>
                  <a:pt x="771388" y="474787"/>
                </a:lnTo>
                <a:lnTo>
                  <a:pt x="743758" y="488320"/>
                </a:lnTo>
                <a:lnTo>
                  <a:pt x="707106" y="492267"/>
                </a:lnTo>
                <a:lnTo>
                  <a:pt x="659176" y="510875"/>
                </a:lnTo>
                <a:lnTo>
                  <a:pt x="621960" y="521025"/>
                </a:lnTo>
                <a:lnTo>
                  <a:pt x="576285" y="536814"/>
                </a:lnTo>
                <a:lnTo>
                  <a:pt x="574030" y="542453"/>
                </a:lnTo>
                <a:lnTo>
                  <a:pt x="630418" y="532867"/>
                </a:lnTo>
                <a:lnTo>
                  <a:pt x="664251" y="521589"/>
                </a:lnTo>
                <a:lnTo>
                  <a:pt x="703158" y="510311"/>
                </a:lnTo>
                <a:lnTo>
                  <a:pt x="737555" y="500725"/>
                </a:lnTo>
                <a:lnTo>
                  <a:pt x="753344" y="503545"/>
                </a:lnTo>
                <a:lnTo>
                  <a:pt x="799018" y="488884"/>
                </a:lnTo>
                <a:lnTo>
                  <a:pt x="824393" y="473095"/>
                </a:lnTo>
                <a:lnTo>
                  <a:pt x="883600" y="455615"/>
                </a:lnTo>
                <a:lnTo>
                  <a:pt x="905591" y="440954"/>
                </a:lnTo>
                <a:lnTo>
                  <a:pt x="942807" y="430804"/>
                </a:lnTo>
                <a:lnTo>
                  <a:pt x="985662" y="416707"/>
                </a:lnTo>
                <a:lnTo>
                  <a:pt x="1035848" y="393024"/>
                </a:lnTo>
                <a:lnTo>
                  <a:pt x="1034720" y="376672"/>
                </a:lnTo>
                <a:lnTo>
                  <a:pt x="1097310" y="353553"/>
                </a:lnTo>
                <a:lnTo>
                  <a:pt x="1139038" y="331561"/>
                </a:lnTo>
                <a:lnTo>
                  <a:pt x="1190915" y="313517"/>
                </a:lnTo>
                <a:lnTo>
                  <a:pt x="1188659" y="321412"/>
                </a:lnTo>
                <a:lnTo>
                  <a:pt x="1150879" y="331561"/>
                </a:lnTo>
                <a:lnTo>
                  <a:pt x="1104077" y="363703"/>
                </a:lnTo>
                <a:lnTo>
                  <a:pt x="1086033" y="383438"/>
                </a:lnTo>
                <a:lnTo>
                  <a:pt x="1122121" y="376108"/>
                </a:lnTo>
                <a:lnTo>
                  <a:pt x="1156518" y="365394"/>
                </a:lnTo>
                <a:lnTo>
                  <a:pt x="1193170" y="358064"/>
                </a:lnTo>
                <a:lnTo>
                  <a:pt x="1209523" y="356372"/>
                </a:lnTo>
                <a:lnTo>
                  <a:pt x="1229259" y="333253"/>
                </a:lnTo>
                <a:lnTo>
                  <a:pt x="1264783" y="326487"/>
                </a:lnTo>
                <a:lnTo>
                  <a:pt x="1279444" y="340584"/>
                </a:lnTo>
                <a:lnTo>
                  <a:pt x="1313277" y="355808"/>
                </a:lnTo>
                <a:lnTo>
                  <a:pt x="1351056" y="352989"/>
                </a:lnTo>
                <a:lnTo>
                  <a:pt x="1383198" y="364267"/>
                </a:lnTo>
                <a:lnTo>
                  <a:pt x="1401242" y="370469"/>
                </a:lnTo>
                <a:lnTo>
                  <a:pt x="1419850" y="404866"/>
                </a:lnTo>
                <a:lnTo>
                  <a:pt x="1440714" y="414452"/>
                </a:lnTo>
                <a:lnTo>
                  <a:pt x="1480749" y="415580"/>
                </a:lnTo>
                <a:lnTo>
                  <a:pt x="1503868" y="417835"/>
                </a:lnTo>
                <a:lnTo>
                  <a:pt x="1488643" y="448849"/>
                </a:lnTo>
                <a:lnTo>
                  <a:pt x="1497665" y="476479"/>
                </a:lnTo>
                <a:lnTo>
                  <a:pt x="1479057" y="505800"/>
                </a:lnTo>
                <a:lnTo>
                  <a:pt x="1493154" y="516514"/>
                </a:lnTo>
                <a:lnTo>
                  <a:pt x="1496538" y="528920"/>
                </a:lnTo>
                <a:lnTo>
                  <a:pt x="1496538" y="528920"/>
                </a:lnTo>
                <a:lnTo>
                  <a:pt x="1525296" y="512567"/>
                </a:lnTo>
                <a:lnTo>
                  <a:pt x="1542776" y="491703"/>
                </a:lnTo>
                <a:lnTo>
                  <a:pt x="1516837" y="470276"/>
                </a:lnTo>
                <a:lnTo>
                  <a:pt x="1525296" y="431932"/>
                </a:lnTo>
                <a:lnTo>
                  <a:pt x="1531498" y="408249"/>
                </a:lnTo>
                <a:lnTo>
                  <a:pt x="1521912" y="393024"/>
                </a:lnTo>
                <a:lnTo>
                  <a:pt x="1517965" y="379491"/>
                </a:lnTo>
                <a:lnTo>
                  <a:pt x="1520784" y="362575"/>
                </a:lnTo>
                <a:lnTo>
                  <a:pt x="1484696" y="373289"/>
                </a:lnTo>
                <a:lnTo>
                  <a:pt x="1441841" y="391897"/>
                </a:lnTo>
                <a:lnTo>
                  <a:pt x="1440714" y="369905"/>
                </a:lnTo>
                <a:lnTo>
                  <a:pt x="1437330" y="355244"/>
                </a:lnTo>
                <a:lnTo>
                  <a:pt x="1422105" y="346222"/>
                </a:lnTo>
                <a:lnTo>
                  <a:pt x="1398423" y="345658"/>
                </a:lnTo>
                <a:lnTo>
                  <a:pt x="1598036" y="162961"/>
                </a:lnTo>
                <a:lnTo>
                  <a:pt x="1735059" y="49058"/>
                </a:lnTo>
                <a:lnTo>
                  <a:pt x="1735059" y="49058"/>
                </a:lnTo>
                <a:lnTo>
                  <a:pt x="1735059" y="49058"/>
                </a:lnTo>
                <a:lnTo>
                  <a:pt x="1715323" y="45110"/>
                </a:lnTo>
                <a:lnTo>
                  <a:pt x="1692204" y="36088"/>
                </a:lnTo>
                <a:lnTo>
                  <a:pt x="1655552" y="40599"/>
                </a:lnTo>
                <a:lnTo>
                  <a:pt x="1643146" y="36652"/>
                </a:lnTo>
                <a:lnTo>
                  <a:pt x="1603111" y="33833"/>
                </a:lnTo>
                <a:lnTo>
                  <a:pt x="1568150" y="24811"/>
                </a:lnTo>
                <a:lnTo>
                  <a:pt x="1541084" y="27630"/>
                </a:lnTo>
                <a:lnTo>
                  <a:pt x="1513454" y="22555"/>
                </a:lnTo>
                <a:lnTo>
                  <a:pt x="1524732" y="15789"/>
                </a:lnTo>
                <a:lnTo>
                  <a:pt x="1489207" y="14097"/>
                </a:lnTo>
                <a:lnTo>
                  <a:pt x="1470599" y="19736"/>
                </a:lnTo>
                <a:lnTo>
                  <a:pt x="1473419" y="6203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5" name="Freeform: Shape 398">
            <a:extLst>
              <a:ext uri="{FF2B5EF4-FFF2-40B4-BE49-F238E27FC236}">
                <a16:creationId xmlns:a16="http://schemas.microsoft.com/office/drawing/2014/main" id="{12AA48F5-D913-4196-9D16-0AA8A926DBD6}"/>
              </a:ext>
            </a:extLst>
          </p:cNvPr>
          <p:cNvSpPr/>
          <p:nvPr/>
        </p:nvSpPr>
        <p:spPr>
          <a:xfrm>
            <a:off x="7029773" y="2902991"/>
            <a:ext cx="400310" cy="219117"/>
          </a:xfrm>
          <a:custGeom>
            <a:avLst/>
            <a:gdLst>
              <a:gd name="connsiteX0" fmla="*/ 458998 w 535686"/>
              <a:gd name="connsiteY0" fmla="*/ 115031 h 293217"/>
              <a:gd name="connsiteX1" fmla="*/ 444901 w 535686"/>
              <a:gd name="connsiteY1" fmla="*/ 121798 h 293217"/>
              <a:gd name="connsiteX2" fmla="*/ 414452 w 535686"/>
              <a:gd name="connsiteY2" fmla="*/ 146045 h 293217"/>
              <a:gd name="connsiteX3" fmla="*/ 409377 w 535686"/>
              <a:gd name="connsiteY3" fmla="*/ 171419 h 293217"/>
              <a:gd name="connsiteX4" fmla="*/ 398663 w 535686"/>
              <a:gd name="connsiteY4" fmla="*/ 171419 h 293217"/>
              <a:gd name="connsiteX5" fmla="*/ 385694 w 535686"/>
              <a:gd name="connsiteY5" fmla="*/ 154503 h 293217"/>
              <a:gd name="connsiteX6" fmla="*/ 348477 w 535686"/>
              <a:gd name="connsiteY6" fmla="*/ 153375 h 293217"/>
              <a:gd name="connsiteX7" fmla="*/ 333817 w 535686"/>
              <a:gd name="connsiteY7" fmla="*/ 125181 h 293217"/>
              <a:gd name="connsiteX8" fmla="*/ 319720 w 535686"/>
              <a:gd name="connsiteY8" fmla="*/ 124617 h 293217"/>
              <a:gd name="connsiteX9" fmla="*/ 311262 w 535686"/>
              <a:gd name="connsiteY9" fmla="*/ 89657 h 293217"/>
              <a:gd name="connsiteX10" fmla="*/ 268971 w 535686"/>
              <a:gd name="connsiteY10" fmla="*/ 64282 h 293217"/>
              <a:gd name="connsiteX11" fmla="*/ 220477 w 535686"/>
              <a:gd name="connsiteY11" fmla="*/ 67102 h 293217"/>
              <a:gd name="connsiteX12" fmla="*/ 188336 w 535686"/>
              <a:gd name="connsiteY12" fmla="*/ 72177 h 293217"/>
              <a:gd name="connsiteX13" fmla="*/ 151684 w 535686"/>
              <a:gd name="connsiteY13" fmla="*/ 41163 h 293217"/>
              <a:gd name="connsiteX14" fmla="*/ 124617 w 535686"/>
              <a:gd name="connsiteY14" fmla="*/ 28194 h 293217"/>
              <a:gd name="connsiteX15" fmla="*/ 73304 w 535686"/>
              <a:gd name="connsiteY15" fmla="*/ 2819 h 293217"/>
              <a:gd name="connsiteX16" fmla="*/ 67102 w 535686"/>
              <a:gd name="connsiteY16" fmla="*/ 0 h 293217"/>
              <a:gd name="connsiteX17" fmla="*/ 0 w 535686"/>
              <a:gd name="connsiteY17" fmla="*/ 20300 h 293217"/>
              <a:gd name="connsiteX18" fmla="*/ 34960 w 535686"/>
              <a:gd name="connsiteY18" fmla="*/ 148864 h 293217"/>
              <a:gd name="connsiteX19" fmla="*/ 67666 w 535686"/>
              <a:gd name="connsiteY19" fmla="*/ 148300 h 293217"/>
              <a:gd name="connsiteX20" fmla="*/ 58644 w 535686"/>
              <a:gd name="connsiteY20" fmla="*/ 130820 h 293217"/>
              <a:gd name="connsiteX21" fmla="*/ 80071 w 535686"/>
              <a:gd name="connsiteY21" fmla="*/ 118415 h 293217"/>
              <a:gd name="connsiteX22" fmla="*/ 98679 w 535686"/>
              <a:gd name="connsiteY22" fmla="*/ 98115 h 293217"/>
              <a:gd name="connsiteX23" fmla="*/ 142661 w 535686"/>
              <a:gd name="connsiteY23" fmla="*/ 116723 h 293217"/>
              <a:gd name="connsiteX24" fmla="*/ 153375 w 535686"/>
              <a:gd name="connsiteY24" fmla="*/ 144353 h 293217"/>
              <a:gd name="connsiteX25" fmla="*/ 166345 w 535686"/>
              <a:gd name="connsiteY25" fmla="*/ 151684 h 293217"/>
              <a:gd name="connsiteX26" fmla="*/ 197358 w 535686"/>
              <a:gd name="connsiteY26" fmla="*/ 149992 h 293217"/>
              <a:gd name="connsiteX27" fmla="*/ 208636 w 535686"/>
              <a:gd name="connsiteY27" fmla="*/ 156759 h 293217"/>
              <a:gd name="connsiteX28" fmla="*/ 232882 w 535686"/>
              <a:gd name="connsiteY28" fmla="*/ 192847 h 293217"/>
              <a:gd name="connsiteX29" fmla="*/ 272354 w 535686"/>
              <a:gd name="connsiteY29" fmla="*/ 217658 h 293217"/>
              <a:gd name="connsiteX30" fmla="*/ 296037 w 535686"/>
              <a:gd name="connsiteY30" fmla="*/ 234574 h 293217"/>
              <a:gd name="connsiteX31" fmla="*/ 330997 w 535686"/>
              <a:gd name="connsiteY31" fmla="*/ 252618 h 293217"/>
              <a:gd name="connsiteX32" fmla="*/ 374416 w 535686"/>
              <a:gd name="connsiteY32" fmla="*/ 267843 h 293217"/>
              <a:gd name="connsiteX33" fmla="*/ 378927 w 535686"/>
              <a:gd name="connsiteY33" fmla="*/ 290398 h 293217"/>
              <a:gd name="connsiteX34" fmla="*/ 395280 w 535686"/>
              <a:gd name="connsiteY34" fmla="*/ 290398 h 293217"/>
              <a:gd name="connsiteX35" fmla="*/ 419527 w 535686"/>
              <a:gd name="connsiteY35" fmla="*/ 298293 h 293217"/>
              <a:gd name="connsiteX36" fmla="*/ 426857 w 535686"/>
              <a:gd name="connsiteY36" fmla="*/ 261076 h 293217"/>
              <a:gd name="connsiteX37" fmla="*/ 413324 w 535686"/>
              <a:gd name="connsiteY37" fmla="*/ 234574 h 293217"/>
              <a:gd name="connsiteX38" fmla="*/ 389641 w 535686"/>
              <a:gd name="connsiteY38" fmla="*/ 225552 h 293217"/>
              <a:gd name="connsiteX39" fmla="*/ 393024 w 535686"/>
              <a:gd name="connsiteY39" fmla="*/ 209763 h 293217"/>
              <a:gd name="connsiteX40" fmla="*/ 417835 w 535686"/>
              <a:gd name="connsiteY40" fmla="*/ 211455 h 293217"/>
              <a:gd name="connsiteX41" fmla="*/ 426293 w 535686"/>
              <a:gd name="connsiteY41" fmla="*/ 191719 h 293217"/>
              <a:gd name="connsiteX42" fmla="*/ 429113 w 535686"/>
              <a:gd name="connsiteY42" fmla="*/ 169164 h 293217"/>
              <a:gd name="connsiteX43" fmla="*/ 465201 w 535686"/>
              <a:gd name="connsiteY43" fmla="*/ 160706 h 293217"/>
              <a:gd name="connsiteX44" fmla="*/ 464073 w 535686"/>
              <a:gd name="connsiteY44" fmla="*/ 177058 h 293217"/>
              <a:gd name="connsiteX45" fmla="*/ 471404 w 535686"/>
              <a:gd name="connsiteY45" fmla="*/ 187208 h 293217"/>
              <a:gd name="connsiteX46" fmla="*/ 483245 w 535686"/>
              <a:gd name="connsiteY46" fmla="*/ 186080 h 293217"/>
              <a:gd name="connsiteX47" fmla="*/ 506364 w 535686"/>
              <a:gd name="connsiteY47" fmla="*/ 189464 h 293217"/>
              <a:gd name="connsiteX48" fmla="*/ 535686 w 535686"/>
              <a:gd name="connsiteY48" fmla="*/ 164089 h 293217"/>
              <a:gd name="connsiteX49" fmla="*/ 495651 w 535686"/>
              <a:gd name="connsiteY49" fmla="*/ 145481 h 293217"/>
              <a:gd name="connsiteX50" fmla="*/ 477606 w 535686"/>
              <a:gd name="connsiteY50" fmla="*/ 154503 h 293217"/>
              <a:gd name="connsiteX51" fmla="*/ 451668 w 535686"/>
              <a:gd name="connsiteY51" fmla="*/ 141534 h 293217"/>
              <a:gd name="connsiteX52" fmla="*/ 469148 w 535686"/>
              <a:gd name="connsiteY52" fmla="*/ 118415 h 293217"/>
              <a:gd name="connsiteX53" fmla="*/ 458998 w 535686"/>
              <a:gd name="connsiteY53" fmla="*/ 115031 h 2932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535686" h="293217">
                <a:moveTo>
                  <a:pt x="458998" y="115031"/>
                </a:moveTo>
                <a:lnTo>
                  <a:pt x="444901" y="121798"/>
                </a:lnTo>
                <a:lnTo>
                  <a:pt x="414452" y="146045"/>
                </a:lnTo>
                <a:lnTo>
                  <a:pt x="409377" y="171419"/>
                </a:lnTo>
                <a:lnTo>
                  <a:pt x="398663" y="171419"/>
                </a:lnTo>
                <a:lnTo>
                  <a:pt x="385694" y="154503"/>
                </a:lnTo>
                <a:lnTo>
                  <a:pt x="348477" y="153375"/>
                </a:lnTo>
                <a:lnTo>
                  <a:pt x="333817" y="125181"/>
                </a:lnTo>
                <a:lnTo>
                  <a:pt x="319720" y="124617"/>
                </a:lnTo>
                <a:lnTo>
                  <a:pt x="311262" y="89657"/>
                </a:lnTo>
                <a:lnTo>
                  <a:pt x="268971" y="64282"/>
                </a:lnTo>
                <a:lnTo>
                  <a:pt x="220477" y="67102"/>
                </a:lnTo>
                <a:lnTo>
                  <a:pt x="188336" y="72177"/>
                </a:lnTo>
                <a:lnTo>
                  <a:pt x="151684" y="41163"/>
                </a:lnTo>
                <a:lnTo>
                  <a:pt x="124617" y="28194"/>
                </a:lnTo>
                <a:lnTo>
                  <a:pt x="73304" y="2819"/>
                </a:lnTo>
                <a:lnTo>
                  <a:pt x="67102" y="0"/>
                </a:lnTo>
                <a:lnTo>
                  <a:pt x="0" y="20300"/>
                </a:lnTo>
                <a:lnTo>
                  <a:pt x="34960" y="148864"/>
                </a:lnTo>
                <a:lnTo>
                  <a:pt x="67666" y="148300"/>
                </a:lnTo>
                <a:lnTo>
                  <a:pt x="58644" y="130820"/>
                </a:lnTo>
                <a:lnTo>
                  <a:pt x="80071" y="118415"/>
                </a:lnTo>
                <a:lnTo>
                  <a:pt x="98679" y="98115"/>
                </a:lnTo>
                <a:lnTo>
                  <a:pt x="142661" y="116723"/>
                </a:lnTo>
                <a:lnTo>
                  <a:pt x="153375" y="144353"/>
                </a:lnTo>
                <a:lnTo>
                  <a:pt x="166345" y="151684"/>
                </a:lnTo>
                <a:lnTo>
                  <a:pt x="197358" y="149992"/>
                </a:lnTo>
                <a:lnTo>
                  <a:pt x="208636" y="156759"/>
                </a:lnTo>
                <a:lnTo>
                  <a:pt x="232882" y="192847"/>
                </a:lnTo>
                <a:lnTo>
                  <a:pt x="272354" y="217658"/>
                </a:lnTo>
                <a:lnTo>
                  <a:pt x="296037" y="234574"/>
                </a:lnTo>
                <a:lnTo>
                  <a:pt x="330997" y="252618"/>
                </a:lnTo>
                <a:lnTo>
                  <a:pt x="374416" y="267843"/>
                </a:lnTo>
                <a:lnTo>
                  <a:pt x="378927" y="290398"/>
                </a:lnTo>
                <a:lnTo>
                  <a:pt x="395280" y="290398"/>
                </a:lnTo>
                <a:lnTo>
                  <a:pt x="419527" y="298293"/>
                </a:lnTo>
                <a:lnTo>
                  <a:pt x="426857" y="261076"/>
                </a:lnTo>
                <a:lnTo>
                  <a:pt x="413324" y="234574"/>
                </a:lnTo>
                <a:lnTo>
                  <a:pt x="389641" y="225552"/>
                </a:lnTo>
                <a:lnTo>
                  <a:pt x="393024" y="209763"/>
                </a:lnTo>
                <a:lnTo>
                  <a:pt x="417835" y="211455"/>
                </a:lnTo>
                <a:lnTo>
                  <a:pt x="426293" y="191719"/>
                </a:lnTo>
                <a:lnTo>
                  <a:pt x="429113" y="169164"/>
                </a:lnTo>
                <a:lnTo>
                  <a:pt x="465201" y="160706"/>
                </a:lnTo>
                <a:lnTo>
                  <a:pt x="464073" y="177058"/>
                </a:lnTo>
                <a:lnTo>
                  <a:pt x="471404" y="187208"/>
                </a:lnTo>
                <a:lnTo>
                  <a:pt x="483245" y="186080"/>
                </a:lnTo>
                <a:lnTo>
                  <a:pt x="506364" y="189464"/>
                </a:lnTo>
                <a:lnTo>
                  <a:pt x="535686" y="164089"/>
                </a:lnTo>
                <a:lnTo>
                  <a:pt x="495651" y="145481"/>
                </a:lnTo>
                <a:lnTo>
                  <a:pt x="477606" y="154503"/>
                </a:lnTo>
                <a:lnTo>
                  <a:pt x="451668" y="141534"/>
                </a:lnTo>
                <a:lnTo>
                  <a:pt x="469148" y="118415"/>
                </a:lnTo>
                <a:lnTo>
                  <a:pt x="458998" y="115031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6" name="Freeform: Shape 399">
            <a:extLst>
              <a:ext uri="{FF2B5EF4-FFF2-40B4-BE49-F238E27FC236}">
                <a16:creationId xmlns:a16="http://schemas.microsoft.com/office/drawing/2014/main" id="{B03234B7-3B18-4889-9CFF-A0C60A9D7655}"/>
              </a:ext>
            </a:extLst>
          </p:cNvPr>
          <p:cNvSpPr/>
          <p:nvPr/>
        </p:nvSpPr>
        <p:spPr>
          <a:xfrm>
            <a:off x="4113410" y="3796734"/>
            <a:ext cx="316034" cy="303393"/>
          </a:xfrm>
          <a:custGeom>
            <a:avLst/>
            <a:gdLst>
              <a:gd name="connsiteX0" fmla="*/ 426857 w 422910"/>
              <a:gd name="connsiteY0" fmla="*/ 135895 h 405993"/>
              <a:gd name="connsiteX1" fmla="*/ 414452 w 422910"/>
              <a:gd name="connsiteY1" fmla="*/ 127437 h 405993"/>
              <a:gd name="connsiteX2" fmla="*/ 398100 w 422910"/>
              <a:gd name="connsiteY2" fmla="*/ 128565 h 405993"/>
              <a:gd name="connsiteX3" fmla="*/ 394152 w 422910"/>
              <a:gd name="connsiteY3" fmla="*/ 99807 h 405993"/>
              <a:gd name="connsiteX4" fmla="*/ 371033 w 422910"/>
              <a:gd name="connsiteY4" fmla="*/ 81763 h 405993"/>
              <a:gd name="connsiteX5" fmla="*/ 346222 w 422910"/>
              <a:gd name="connsiteY5" fmla="*/ 79507 h 405993"/>
              <a:gd name="connsiteX6" fmla="*/ 336073 w 422910"/>
              <a:gd name="connsiteY6" fmla="*/ 62591 h 405993"/>
              <a:gd name="connsiteX7" fmla="*/ 363139 w 422910"/>
              <a:gd name="connsiteY7" fmla="*/ 51877 h 405993"/>
              <a:gd name="connsiteX8" fmla="*/ 325359 w 422910"/>
              <a:gd name="connsiteY8" fmla="*/ 52441 h 405993"/>
              <a:gd name="connsiteX9" fmla="*/ 286451 w 422910"/>
              <a:gd name="connsiteY9" fmla="*/ 54696 h 405993"/>
              <a:gd name="connsiteX10" fmla="*/ 285324 w 422910"/>
              <a:gd name="connsiteY10" fmla="*/ 63719 h 405993"/>
              <a:gd name="connsiteX11" fmla="*/ 267279 w 422910"/>
              <a:gd name="connsiteY11" fmla="*/ 74432 h 405993"/>
              <a:gd name="connsiteX12" fmla="*/ 243596 w 422910"/>
              <a:gd name="connsiteY12" fmla="*/ 70485 h 405993"/>
              <a:gd name="connsiteX13" fmla="*/ 226116 w 422910"/>
              <a:gd name="connsiteY13" fmla="*/ 54133 h 405993"/>
              <a:gd name="connsiteX14" fmla="*/ 192283 w 422910"/>
              <a:gd name="connsiteY14" fmla="*/ 58080 h 405993"/>
              <a:gd name="connsiteX15" fmla="*/ 164089 w 422910"/>
              <a:gd name="connsiteY15" fmla="*/ 57516 h 405993"/>
              <a:gd name="connsiteX16" fmla="*/ 163525 w 422910"/>
              <a:gd name="connsiteY16" fmla="*/ 45674 h 405993"/>
              <a:gd name="connsiteX17" fmla="*/ 143789 w 422910"/>
              <a:gd name="connsiteY17" fmla="*/ 25939 h 405993"/>
              <a:gd name="connsiteX18" fmla="*/ 121798 w 422910"/>
              <a:gd name="connsiteY18" fmla="*/ 25375 h 405993"/>
              <a:gd name="connsiteX19" fmla="*/ 112212 w 422910"/>
              <a:gd name="connsiteY19" fmla="*/ 0 h 405993"/>
              <a:gd name="connsiteX20" fmla="*/ 100371 w 422910"/>
              <a:gd name="connsiteY20" fmla="*/ 11278 h 405993"/>
              <a:gd name="connsiteX21" fmla="*/ 103754 w 422910"/>
              <a:gd name="connsiteY21" fmla="*/ 28194 h 405993"/>
              <a:gd name="connsiteX22" fmla="*/ 63718 w 422910"/>
              <a:gd name="connsiteY22" fmla="*/ 42855 h 405993"/>
              <a:gd name="connsiteX23" fmla="*/ 63718 w 422910"/>
              <a:gd name="connsiteY23" fmla="*/ 69921 h 405993"/>
              <a:gd name="connsiteX24" fmla="*/ 72741 w 422910"/>
              <a:gd name="connsiteY24" fmla="*/ 82327 h 405993"/>
              <a:gd name="connsiteX25" fmla="*/ 64282 w 422910"/>
              <a:gd name="connsiteY25" fmla="*/ 108265 h 405993"/>
              <a:gd name="connsiteX26" fmla="*/ 50749 w 422910"/>
              <a:gd name="connsiteY26" fmla="*/ 110521 h 405993"/>
              <a:gd name="connsiteX27" fmla="*/ 40036 w 422910"/>
              <a:gd name="connsiteY27" fmla="*/ 82327 h 405993"/>
              <a:gd name="connsiteX28" fmla="*/ 55260 w 422910"/>
              <a:gd name="connsiteY28" fmla="*/ 61463 h 405993"/>
              <a:gd name="connsiteX29" fmla="*/ 56952 w 422910"/>
              <a:gd name="connsiteY29" fmla="*/ 42855 h 405993"/>
              <a:gd name="connsiteX30" fmla="*/ 47366 w 422910"/>
              <a:gd name="connsiteY30" fmla="*/ 26502 h 405993"/>
              <a:gd name="connsiteX31" fmla="*/ 65974 w 422910"/>
              <a:gd name="connsiteY31" fmla="*/ 21991 h 405993"/>
              <a:gd name="connsiteX32" fmla="*/ 67666 w 422910"/>
              <a:gd name="connsiteY32" fmla="*/ 13533 h 405993"/>
              <a:gd name="connsiteX33" fmla="*/ 46802 w 422910"/>
              <a:gd name="connsiteY33" fmla="*/ 19736 h 405993"/>
              <a:gd name="connsiteX34" fmla="*/ 37780 w 422910"/>
              <a:gd name="connsiteY34" fmla="*/ 37780 h 405993"/>
              <a:gd name="connsiteX35" fmla="*/ 25375 w 422910"/>
              <a:gd name="connsiteY35" fmla="*/ 47930 h 405993"/>
              <a:gd name="connsiteX36" fmla="*/ 15225 w 422910"/>
              <a:gd name="connsiteY36" fmla="*/ 61463 h 405993"/>
              <a:gd name="connsiteX37" fmla="*/ 10150 w 422910"/>
              <a:gd name="connsiteY37" fmla="*/ 86838 h 405993"/>
              <a:gd name="connsiteX38" fmla="*/ 0 w 422910"/>
              <a:gd name="connsiteY38" fmla="*/ 107701 h 405993"/>
              <a:gd name="connsiteX39" fmla="*/ 16353 w 422910"/>
              <a:gd name="connsiteY39" fmla="*/ 110521 h 405993"/>
              <a:gd name="connsiteX40" fmla="*/ 19736 w 422910"/>
              <a:gd name="connsiteY40" fmla="*/ 126873 h 405993"/>
              <a:gd name="connsiteX41" fmla="*/ 25939 w 422910"/>
              <a:gd name="connsiteY41" fmla="*/ 134767 h 405993"/>
              <a:gd name="connsiteX42" fmla="*/ 28194 w 422910"/>
              <a:gd name="connsiteY42" fmla="*/ 148864 h 405993"/>
              <a:gd name="connsiteX43" fmla="*/ 23683 w 422910"/>
              <a:gd name="connsiteY43" fmla="*/ 162397 h 405993"/>
              <a:gd name="connsiteX44" fmla="*/ 24811 w 422910"/>
              <a:gd name="connsiteY44" fmla="*/ 169728 h 405993"/>
              <a:gd name="connsiteX45" fmla="*/ 32141 w 422910"/>
              <a:gd name="connsiteY45" fmla="*/ 173111 h 405993"/>
              <a:gd name="connsiteX46" fmla="*/ 39472 w 422910"/>
              <a:gd name="connsiteY46" fmla="*/ 185517 h 405993"/>
              <a:gd name="connsiteX47" fmla="*/ 80071 w 422910"/>
              <a:gd name="connsiteY47" fmla="*/ 182133 h 405993"/>
              <a:gd name="connsiteX48" fmla="*/ 98115 w 422910"/>
              <a:gd name="connsiteY48" fmla="*/ 186645 h 405993"/>
              <a:gd name="connsiteX49" fmla="*/ 119543 w 422910"/>
              <a:gd name="connsiteY49" fmla="*/ 217658 h 405993"/>
              <a:gd name="connsiteX50" fmla="*/ 132512 w 422910"/>
              <a:gd name="connsiteY50" fmla="*/ 213711 h 405993"/>
              <a:gd name="connsiteX51" fmla="*/ 155067 w 422910"/>
              <a:gd name="connsiteY51" fmla="*/ 215402 h 405993"/>
              <a:gd name="connsiteX52" fmla="*/ 173111 w 422910"/>
              <a:gd name="connsiteY52" fmla="*/ 211455 h 405993"/>
              <a:gd name="connsiteX53" fmla="*/ 184389 w 422910"/>
              <a:gd name="connsiteY53" fmla="*/ 217658 h 405993"/>
              <a:gd name="connsiteX54" fmla="*/ 177622 w 422910"/>
              <a:gd name="connsiteY54" fmla="*/ 236830 h 405993"/>
              <a:gd name="connsiteX55" fmla="*/ 170292 w 422910"/>
              <a:gd name="connsiteY55" fmla="*/ 248671 h 405993"/>
              <a:gd name="connsiteX56" fmla="*/ 167472 w 422910"/>
              <a:gd name="connsiteY56" fmla="*/ 274610 h 405993"/>
              <a:gd name="connsiteX57" fmla="*/ 173111 w 422910"/>
              <a:gd name="connsiteY57" fmla="*/ 298293 h 405993"/>
              <a:gd name="connsiteX58" fmla="*/ 181569 w 422910"/>
              <a:gd name="connsiteY58" fmla="*/ 309006 h 405993"/>
              <a:gd name="connsiteX59" fmla="*/ 182697 w 422910"/>
              <a:gd name="connsiteY59" fmla="*/ 317464 h 405993"/>
              <a:gd name="connsiteX60" fmla="*/ 166345 w 422910"/>
              <a:gd name="connsiteY60" fmla="*/ 334945 h 405993"/>
              <a:gd name="connsiteX61" fmla="*/ 177622 w 422910"/>
              <a:gd name="connsiteY61" fmla="*/ 342839 h 405993"/>
              <a:gd name="connsiteX62" fmla="*/ 185517 w 422910"/>
              <a:gd name="connsiteY62" fmla="*/ 355244 h 405993"/>
              <a:gd name="connsiteX63" fmla="*/ 195103 w 422910"/>
              <a:gd name="connsiteY63" fmla="*/ 391333 h 405993"/>
              <a:gd name="connsiteX64" fmla="*/ 212019 w 422910"/>
              <a:gd name="connsiteY64" fmla="*/ 410505 h 405993"/>
              <a:gd name="connsiteX65" fmla="*/ 236830 w 422910"/>
              <a:gd name="connsiteY65" fmla="*/ 407685 h 405993"/>
              <a:gd name="connsiteX66" fmla="*/ 243032 w 422910"/>
              <a:gd name="connsiteY66" fmla="*/ 396972 h 405993"/>
              <a:gd name="connsiteX67" fmla="*/ 266715 w 422910"/>
              <a:gd name="connsiteY67" fmla="*/ 388513 h 405993"/>
              <a:gd name="connsiteX68" fmla="*/ 279685 w 422910"/>
              <a:gd name="connsiteY68" fmla="*/ 382875 h 405993"/>
              <a:gd name="connsiteX69" fmla="*/ 283632 w 422910"/>
              <a:gd name="connsiteY69" fmla="*/ 367650 h 405993"/>
              <a:gd name="connsiteX70" fmla="*/ 306751 w 422910"/>
              <a:gd name="connsiteY70" fmla="*/ 357500 h 405993"/>
              <a:gd name="connsiteX71" fmla="*/ 305059 w 422910"/>
              <a:gd name="connsiteY71" fmla="*/ 349606 h 405993"/>
              <a:gd name="connsiteX72" fmla="*/ 277993 w 422910"/>
              <a:gd name="connsiteY72" fmla="*/ 346786 h 405993"/>
              <a:gd name="connsiteX73" fmla="*/ 274046 w 422910"/>
              <a:gd name="connsiteY73" fmla="*/ 324231 h 405993"/>
              <a:gd name="connsiteX74" fmla="*/ 275737 w 422910"/>
              <a:gd name="connsiteY74" fmla="*/ 299984 h 405993"/>
              <a:gd name="connsiteX75" fmla="*/ 262204 w 422910"/>
              <a:gd name="connsiteY75" fmla="*/ 290962 h 405993"/>
              <a:gd name="connsiteX76" fmla="*/ 267843 w 422910"/>
              <a:gd name="connsiteY76" fmla="*/ 287579 h 405993"/>
              <a:gd name="connsiteX77" fmla="*/ 291526 w 422910"/>
              <a:gd name="connsiteY77" fmla="*/ 292090 h 405993"/>
              <a:gd name="connsiteX78" fmla="*/ 316337 w 422910"/>
              <a:gd name="connsiteY78" fmla="*/ 301112 h 405993"/>
              <a:gd name="connsiteX79" fmla="*/ 325923 w 422910"/>
              <a:gd name="connsiteY79" fmla="*/ 292654 h 405993"/>
              <a:gd name="connsiteX80" fmla="*/ 348478 w 422910"/>
              <a:gd name="connsiteY80" fmla="*/ 287015 h 405993"/>
              <a:gd name="connsiteX81" fmla="*/ 384566 w 422910"/>
              <a:gd name="connsiteY81" fmla="*/ 273482 h 405993"/>
              <a:gd name="connsiteX82" fmla="*/ 396408 w 422910"/>
              <a:gd name="connsiteY82" fmla="*/ 259949 h 405993"/>
              <a:gd name="connsiteX83" fmla="*/ 392461 w 422910"/>
              <a:gd name="connsiteY83" fmla="*/ 249799 h 405993"/>
              <a:gd name="connsiteX84" fmla="*/ 371597 w 422910"/>
              <a:gd name="connsiteY84" fmla="*/ 222733 h 405993"/>
              <a:gd name="connsiteX85" fmla="*/ 380619 w 422910"/>
              <a:gd name="connsiteY85" fmla="*/ 212583 h 405993"/>
              <a:gd name="connsiteX86" fmla="*/ 380619 w 422910"/>
              <a:gd name="connsiteY86" fmla="*/ 196230 h 405993"/>
              <a:gd name="connsiteX87" fmla="*/ 399791 w 422910"/>
              <a:gd name="connsiteY87" fmla="*/ 190028 h 405993"/>
              <a:gd name="connsiteX88" fmla="*/ 408249 w 422910"/>
              <a:gd name="connsiteY88" fmla="*/ 183261 h 405993"/>
              <a:gd name="connsiteX89" fmla="*/ 397535 w 422910"/>
              <a:gd name="connsiteY89" fmla="*/ 170292 h 405993"/>
              <a:gd name="connsiteX90" fmla="*/ 400919 w 422910"/>
              <a:gd name="connsiteY90" fmla="*/ 157323 h 405993"/>
              <a:gd name="connsiteX91" fmla="*/ 426857 w 422910"/>
              <a:gd name="connsiteY91" fmla="*/ 135895 h 4059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</a:cxnLst>
            <a:rect l="l" t="t" r="r" b="b"/>
            <a:pathLst>
              <a:path w="422910" h="405993">
                <a:moveTo>
                  <a:pt x="426857" y="135895"/>
                </a:moveTo>
                <a:lnTo>
                  <a:pt x="414452" y="127437"/>
                </a:lnTo>
                <a:lnTo>
                  <a:pt x="398100" y="128565"/>
                </a:lnTo>
                <a:lnTo>
                  <a:pt x="394152" y="99807"/>
                </a:lnTo>
                <a:lnTo>
                  <a:pt x="371033" y="81763"/>
                </a:lnTo>
                <a:lnTo>
                  <a:pt x="346222" y="79507"/>
                </a:lnTo>
                <a:lnTo>
                  <a:pt x="336073" y="62591"/>
                </a:lnTo>
                <a:lnTo>
                  <a:pt x="363139" y="51877"/>
                </a:lnTo>
                <a:lnTo>
                  <a:pt x="325359" y="52441"/>
                </a:lnTo>
                <a:lnTo>
                  <a:pt x="286451" y="54696"/>
                </a:lnTo>
                <a:lnTo>
                  <a:pt x="285324" y="63719"/>
                </a:lnTo>
                <a:lnTo>
                  <a:pt x="267279" y="74432"/>
                </a:lnTo>
                <a:lnTo>
                  <a:pt x="243596" y="70485"/>
                </a:lnTo>
                <a:lnTo>
                  <a:pt x="226116" y="54133"/>
                </a:lnTo>
                <a:lnTo>
                  <a:pt x="192283" y="58080"/>
                </a:lnTo>
                <a:lnTo>
                  <a:pt x="164089" y="57516"/>
                </a:lnTo>
                <a:lnTo>
                  <a:pt x="163525" y="45674"/>
                </a:lnTo>
                <a:lnTo>
                  <a:pt x="143789" y="25939"/>
                </a:lnTo>
                <a:lnTo>
                  <a:pt x="121798" y="25375"/>
                </a:lnTo>
                <a:lnTo>
                  <a:pt x="112212" y="0"/>
                </a:lnTo>
                <a:lnTo>
                  <a:pt x="100371" y="11278"/>
                </a:lnTo>
                <a:lnTo>
                  <a:pt x="103754" y="28194"/>
                </a:lnTo>
                <a:lnTo>
                  <a:pt x="63718" y="42855"/>
                </a:lnTo>
                <a:lnTo>
                  <a:pt x="63718" y="69921"/>
                </a:lnTo>
                <a:lnTo>
                  <a:pt x="72741" y="82327"/>
                </a:lnTo>
                <a:lnTo>
                  <a:pt x="64282" y="108265"/>
                </a:lnTo>
                <a:lnTo>
                  <a:pt x="50749" y="110521"/>
                </a:lnTo>
                <a:lnTo>
                  <a:pt x="40036" y="82327"/>
                </a:lnTo>
                <a:lnTo>
                  <a:pt x="55260" y="61463"/>
                </a:lnTo>
                <a:lnTo>
                  <a:pt x="56952" y="42855"/>
                </a:lnTo>
                <a:lnTo>
                  <a:pt x="47366" y="26502"/>
                </a:lnTo>
                <a:lnTo>
                  <a:pt x="65974" y="21991"/>
                </a:lnTo>
                <a:lnTo>
                  <a:pt x="67666" y="13533"/>
                </a:lnTo>
                <a:lnTo>
                  <a:pt x="46802" y="19736"/>
                </a:lnTo>
                <a:lnTo>
                  <a:pt x="37780" y="37780"/>
                </a:lnTo>
                <a:lnTo>
                  <a:pt x="25375" y="47930"/>
                </a:lnTo>
                <a:lnTo>
                  <a:pt x="15225" y="61463"/>
                </a:lnTo>
                <a:lnTo>
                  <a:pt x="10150" y="86838"/>
                </a:lnTo>
                <a:lnTo>
                  <a:pt x="0" y="107701"/>
                </a:lnTo>
                <a:lnTo>
                  <a:pt x="16353" y="110521"/>
                </a:lnTo>
                <a:lnTo>
                  <a:pt x="19736" y="126873"/>
                </a:lnTo>
                <a:lnTo>
                  <a:pt x="25939" y="134767"/>
                </a:lnTo>
                <a:lnTo>
                  <a:pt x="28194" y="148864"/>
                </a:lnTo>
                <a:lnTo>
                  <a:pt x="23683" y="162397"/>
                </a:lnTo>
                <a:lnTo>
                  <a:pt x="24811" y="169728"/>
                </a:lnTo>
                <a:lnTo>
                  <a:pt x="32141" y="173111"/>
                </a:lnTo>
                <a:lnTo>
                  <a:pt x="39472" y="185517"/>
                </a:lnTo>
                <a:lnTo>
                  <a:pt x="80071" y="182133"/>
                </a:lnTo>
                <a:lnTo>
                  <a:pt x="98115" y="186645"/>
                </a:lnTo>
                <a:lnTo>
                  <a:pt x="119543" y="217658"/>
                </a:lnTo>
                <a:lnTo>
                  <a:pt x="132512" y="213711"/>
                </a:lnTo>
                <a:lnTo>
                  <a:pt x="155067" y="215402"/>
                </a:lnTo>
                <a:lnTo>
                  <a:pt x="173111" y="211455"/>
                </a:lnTo>
                <a:lnTo>
                  <a:pt x="184389" y="217658"/>
                </a:lnTo>
                <a:lnTo>
                  <a:pt x="177622" y="236830"/>
                </a:lnTo>
                <a:lnTo>
                  <a:pt x="170292" y="248671"/>
                </a:lnTo>
                <a:lnTo>
                  <a:pt x="167472" y="274610"/>
                </a:lnTo>
                <a:lnTo>
                  <a:pt x="173111" y="298293"/>
                </a:lnTo>
                <a:lnTo>
                  <a:pt x="181569" y="309006"/>
                </a:lnTo>
                <a:lnTo>
                  <a:pt x="182697" y="317464"/>
                </a:lnTo>
                <a:lnTo>
                  <a:pt x="166345" y="334945"/>
                </a:lnTo>
                <a:lnTo>
                  <a:pt x="177622" y="342839"/>
                </a:lnTo>
                <a:lnTo>
                  <a:pt x="185517" y="355244"/>
                </a:lnTo>
                <a:lnTo>
                  <a:pt x="195103" y="391333"/>
                </a:lnTo>
                <a:lnTo>
                  <a:pt x="212019" y="410505"/>
                </a:lnTo>
                <a:lnTo>
                  <a:pt x="236830" y="407685"/>
                </a:lnTo>
                <a:lnTo>
                  <a:pt x="243032" y="396972"/>
                </a:lnTo>
                <a:lnTo>
                  <a:pt x="266715" y="388513"/>
                </a:lnTo>
                <a:lnTo>
                  <a:pt x="279685" y="382875"/>
                </a:lnTo>
                <a:lnTo>
                  <a:pt x="283632" y="367650"/>
                </a:lnTo>
                <a:lnTo>
                  <a:pt x="306751" y="357500"/>
                </a:lnTo>
                <a:lnTo>
                  <a:pt x="305059" y="349606"/>
                </a:lnTo>
                <a:lnTo>
                  <a:pt x="277993" y="346786"/>
                </a:lnTo>
                <a:lnTo>
                  <a:pt x="274046" y="324231"/>
                </a:lnTo>
                <a:lnTo>
                  <a:pt x="275737" y="299984"/>
                </a:lnTo>
                <a:lnTo>
                  <a:pt x="262204" y="290962"/>
                </a:lnTo>
                <a:lnTo>
                  <a:pt x="267843" y="287579"/>
                </a:lnTo>
                <a:lnTo>
                  <a:pt x="291526" y="292090"/>
                </a:lnTo>
                <a:lnTo>
                  <a:pt x="316337" y="301112"/>
                </a:lnTo>
                <a:lnTo>
                  <a:pt x="325923" y="292654"/>
                </a:lnTo>
                <a:lnTo>
                  <a:pt x="348478" y="287015"/>
                </a:lnTo>
                <a:lnTo>
                  <a:pt x="384566" y="273482"/>
                </a:lnTo>
                <a:lnTo>
                  <a:pt x="396408" y="259949"/>
                </a:lnTo>
                <a:lnTo>
                  <a:pt x="392461" y="249799"/>
                </a:lnTo>
                <a:lnTo>
                  <a:pt x="371597" y="222733"/>
                </a:lnTo>
                <a:lnTo>
                  <a:pt x="380619" y="212583"/>
                </a:lnTo>
                <a:lnTo>
                  <a:pt x="380619" y="196230"/>
                </a:lnTo>
                <a:lnTo>
                  <a:pt x="399791" y="190028"/>
                </a:lnTo>
                <a:lnTo>
                  <a:pt x="408249" y="183261"/>
                </a:lnTo>
                <a:lnTo>
                  <a:pt x="397535" y="170292"/>
                </a:lnTo>
                <a:lnTo>
                  <a:pt x="400919" y="157323"/>
                </a:lnTo>
                <a:lnTo>
                  <a:pt x="426857" y="135895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7" name="Freeform: Shape 400">
            <a:extLst>
              <a:ext uri="{FF2B5EF4-FFF2-40B4-BE49-F238E27FC236}">
                <a16:creationId xmlns:a16="http://schemas.microsoft.com/office/drawing/2014/main" id="{0E1FDD0B-1D75-4B59-B814-5487D92A2687}"/>
              </a:ext>
            </a:extLst>
          </p:cNvPr>
          <p:cNvSpPr/>
          <p:nvPr/>
        </p:nvSpPr>
        <p:spPr>
          <a:xfrm>
            <a:off x="8209213" y="3496714"/>
            <a:ext cx="202261" cy="391882"/>
          </a:xfrm>
          <a:custGeom>
            <a:avLst/>
            <a:gdLst>
              <a:gd name="connsiteX0" fmla="*/ 187772 w 270662"/>
              <a:gd name="connsiteY0" fmla="*/ 64282 h 524408"/>
              <a:gd name="connsiteX1" fmla="*/ 154503 w 270662"/>
              <a:gd name="connsiteY1" fmla="*/ 55260 h 524408"/>
              <a:gd name="connsiteX2" fmla="*/ 137586 w 270662"/>
              <a:gd name="connsiteY2" fmla="*/ 40599 h 524408"/>
              <a:gd name="connsiteX3" fmla="*/ 138714 w 270662"/>
              <a:gd name="connsiteY3" fmla="*/ 19736 h 524408"/>
              <a:gd name="connsiteX4" fmla="*/ 109392 w 270662"/>
              <a:gd name="connsiteY4" fmla="*/ 13533 h 524408"/>
              <a:gd name="connsiteX5" fmla="*/ 92476 w 270662"/>
              <a:gd name="connsiteY5" fmla="*/ 0 h 524408"/>
              <a:gd name="connsiteX6" fmla="*/ 69357 w 270662"/>
              <a:gd name="connsiteY6" fmla="*/ 19172 h 524408"/>
              <a:gd name="connsiteX7" fmla="*/ 39472 w 270662"/>
              <a:gd name="connsiteY7" fmla="*/ 23119 h 524408"/>
              <a:gd name="connsiteX8" fmla="*/ 15224 w 270662"/>
              <a:gd name="connsiteY8" fmla="*/ 23119 h 524408"/>
              <a:gd name="connsiteX9" fmla="*/ 0 w 270662"/>
              <a:gd name="connsiteY9" fmla="*/ 31577 h 524408"/>
              <a:gd name="connsiteX10" fmla="*/ 22555 w 270662"/>
              <a:gd name="connsiteY10" fmla="*/ 60335 h 524408"/>
              <a:gd name="connsiteX11" fmla="*/ 41727 w 270662"/>
              <a:gd name="connsiteY11" fmla="*/ 92476 h 524408"/>
              <a:gd name="connsiteX12" fmla="*/ 80071 w 270662"/>
              <a:gd name="connsiteY12" fmla="*/ 93040 h 524408"/>
              <a:gd name="connsiteX13" fmla="*/ 96987 w 270662"/>
              <a:gd name="connsiteY13" fmla="*/ 124054 h 524408"/>
              <a:gd name="connsiteX14" fmla="*/ 78379 w 270662"/>
              <a:gd name="connsiteY14" fmla="*/ 133639 h 524408"/>
              <a:gd name="connsiteX15" fmla="*/ 71049 w 270662"/>
              <a:gd name="connsiteY15" fmla="*/ 146609 h 524408"/>
              <a:gd name="connsiteX16" fmla="*/ 112212 w 270662"/>
              <a:gd name="connsiteY16" fmla="*/ 168036 h 524408"/>
              <a:gd name="connsiteX17" fmla="*/ 144353 w 270662"/>
              <a:gd name="connsiteY17" fmla="*/ 210327 h 524408"/>
              <a:gd name="connsiteX18" fmla="*/ 168600 w 270662"/>
              <a:gd name="connsiteY18" fmla="*/ 241905 h 524408"/>
              <a:gd name="connsiteX19" fmla="*/ 195666 w 270662"/>
              <a:gd name="connsiteY19" fmla="*/ 266715 h 524408"/>
              <a:gd name="connsiteX20" fmla="*/ 206944 w 270662"/>
              <a:gd name="connsiteY20" fmla="*/ 292090 h 524408"/>
              <a:gd name="connsiteX21" fmla="*/ 205816 w 270662"/>
              <a:gd name="connsiteY21" fmla="*/ 328178 h 524408"/>
              <a:gd name="connsiteX22" fmla="*/ 215966 w 270662"/>
              <a:gd name="connsiteY22" fmla="*/ 351861 h 524408"/>
              <a:gd name="connsiteX23" fmla="*/ 216529 w 270662"/>
              <a:gd name="connsiteY23" fmla="*/ 395280 h 524408"/>
              <a:gd name="connsiteX24" fmla="*/ 166345 w 270662"/>
              <a:gd name="connsiteY24" fmla="*/ 422910 h 524408"/>
              <a:gd name="connsiteX25" fmla="*/ 182133 w 270662"/>
              <a:gd name="connsiteY25" fmla="*/ 444337 h 524408"/>
              <a:gd name="connsiteX26" fmla="*/ 149428 w 270662"/>
              <a:gd name="connsiteY26" fmla="*/ 447157 h 524408"/>
              <a:gd name="connsiteX27" fmla="*/ 122925 w 270662"/>
              <a:gd name="connsiteY27" fmla="*/ 461254 h 524408"/>
              <a:gd name="connsiteX28" fmla="*/ 148300 w 270662"/>
              <a:gd name="connsiteY28" fmla="*/ 482117 h 524408"/>
              <a:gd name="connsiteX29" fmla="*/ 140970 w 270662"/>
              <a:gd name="connsiteY29" fmla="*/ 506364 h 524408"/>
              <a:gd name="connsiteX30" fmla="*/ 153939 w 270662"/>
              <a:gd name="connsiteY30" fmla="*/ 528920 h 524408"/>
              <a:gd name="connsiteX31" fmla="*/ 191155 w 270662"/>
              <a:gd name="connsiteY31" fmla="*/ 495651 h 524408"/>
              <a:gd name="connsiteX32" fmla="*/ 214274 w 270662"/>
              <a:gd name="connsiteY32" fmla="*/ 465765 h 524408"/>
              <a:gd name="connsiteX33" fmla="*/ 248671 w 270662"/>
              <a:gd name="connsiteY33" fmla="*/ 442646 h 524408"/>
              <a:gd name="connsiteX34" fmla="*/ 272917 w 270662"/>
              <a:gd name="connsiteY34" fmla="*/ 418963 h 524408"/>
              <a:gd name="connsiteX35" fmla="*/ 270662 w 270662"/>
              <a:gd name="connsiteY35" fmla="*/ 355808 h 524408"/>
              <a:gd name="connsiteX36" fmla="*/ 248107 w 270662"/>
              <a:gd name="connsiteY36" fmla="*/ 289834 h 524408"/>
              <a:gd name="connsiteX37" fmla="*/ 224988 w 270662"/>
              <a:gd name="connsiteY37" fmla="*/ 261076 h 524408"/>
              <a:gd name="connsiteX38" fmla="*/ 193410 w 270662"/>
              <a:gd name="connsiteY38" fmla="*/ 238521 h 524408"/>
              <a:gd name="connsiteX39" fmla="*/ 157322 w 270662"/>
              <a:gd name="connsiteY39" fmla="*/ 191719 h 524408"/>
              <a:gd name="connsiteX40" fmla="*/ 127437 w 270662"/>
              <a:gd name="connsiteY40" fmla="*/ 153939 h 524408"/>
              <a:gd name="connsiteX41" fmla="*/ 130256 w 270662"/>
              <a:gd name="connsiteY41" fmla="*/ 129128 h 524408"/>
              <a:gd name="connsiteX42" fmla="*/ 151119 w 270662"/>
              <a:gd name="connsiteY42" fmla="*/ 95296 h 524408"/>
              <a:gd name="connsiteX43" fmla="*/ 187772 w 270662"/>
              <a:gd name="connsiteY43" fmla="*/ 64282 h 5244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270662" h="524408">
                <a:moveTo>
                  <a:pt x="187772" y="64282"/>
                </a:moveTo>
                <a:lnTo>
                  <a:pt x="154503" y="55260"/>
                </a:lnTo>
                <a:lnTo>
                  <a:pt x="137586" y="40599"/>
                </a:lnTo>
                <a:lnTo>
                  <a:pt x="138714" y="19736"/>
                </a:lnTo>
                <a:lnTo>
                  <a:pt x="109392" y="13533"/>
                </a:lnTo>
                <a:lnTo>
                  <a:pt x="92476" y="0"/>
                </a:lnTo>
                <a:lnTo>
                  <a:pt x="69357" y="19172"/>
                </a:lnTo>
                <a:lnTo>
                  <a:pt x="39472" y="23119"/>
                </a:lnTo>
                <a:lnTo>
                  <a:pt x="15224" y="23119"/>
                </a:lnTo>
                <a:lnTo>
                  <a:pt x="0" y="31577"/>
                </a:lnTo>
                <a:lnTo>
                  <a:pt x="22555" y="60335"/>
                </a:lnTo>
                <a:lnTo>
                  <a:pt x="41727" y="92476"/>
                </a:lnTo>
                <a:lnTo>
                  <a:pt x="80071" y="93040"/>
                </a:lnTo>
                <a:lnTo>
                  <a:pt x="96987" y="124054"/>
                </a:lnTo>
                <a:lnTo>
                  <a:pt x="78379" y="133639"/>
                </a:lnTo>
                <a:lnTo>
                  <a:pt x="71049" y="146609"/>
                </a:lnTo>
                <a:lnTo>
                  <a:pt x="112212" y="168036"/>
                </a:lnTo>
                <a:lnTo>
                  <a:pt x="144353" y="210327"/>
                </a:lnTo>
                <a:lnTo>
                  <a:pt x="168600" y="241905"/>
                </a:lnTo>
                <a:lnTo>
                  <a:pt x="195666" y="266715"/>
                </a:lnTo>
                <a:lnTo>
                  <a:pt x="206944" y="292090"/>
                </a:lnTo>
                <a:lnTo>
                  <a:pt x="205816" y="328178"/>
                </a:lnTo>
                <a:lnTo>
                  <a:pt x="215966" y="351861"/>
                </a:lnTo>
                <a:lnTo>
                  <a:pt x="216529" y="395280"/>
                </a:lnTo>
                <a:lnTo>
                  <a:pt x="166345" y="422910"/>
                </a:lnTo>
                <a:lnTo>
                  <a:pt x="182133" y="444337"/>
                </a:lnTo>
                <a:lnTo>
                  <a:pt x="149428" y="447157"/>
                </a:lnTo>
                <a:lnTo>
                  <a:pt x="122925" y="461254"/>
                </a:lnTo>
                <a:lnTo>
                  <a:pt x="148300" y="482117"/>
                </a:lnTo>
                <a:lnTo>
                  <a:pt x="140970" y="506364"/>
                </a:lnTo>
                <a:lnTo>
                  <a:pt x="153939" y="528920"/>
                </a:lnTo>
                <a:lnTo>
                  <a:pt x="191155" y="495651"/>
                </a:lnTo>
                <a:lnTo>
                  <a:pt x="214274" y="465765"/>
                </a:lnTo>
                <a:lnTo>
                  <a:pt x="248671" y="442646"/>
                </a:lnTo>
                <a:lnTo>
                  <a:pt x="272917" y="418963"/>
                </a:lnTo>
                <a:lnTo>
                  <a:pt x="270662" y="355808"/>
                </a:lnTo>
                <a:lnTo>
                  <a:pt x="248107" y="289834"/>
                </a:lnTo>
                <a:lnTo>
                  <a:pt x="224988" y="261076"/>
                </a:lnTo>
                <a:lnTo>
                  <a:pt x="193410" y="238521"/>
                </a:lnTo>
                <a:lnTo>
                  <a:pt x="157322" y="191719"/>
                </a:lnTo>
                <a:lnTo>
                  <a:pt x="127437" y="153939"/>
                </a:lnTo>
                <a:lnTo>
                  <a:pt x="130256" y="129128"/>
                </a:lnTo>
                <a:lnTo>
                  <a:pt x="151119" y="95296"/>
                </a:lnTo>
                <a:lnTo>
                  <a:pt x="187772" y="64282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8" name="Freeform: Shape 401">
            <a:extLst>
              <a:ext uri="{FF2B5EF4-FFF2-40B4-BE49-F238E27FC236}">
                <a16:creationId xmlns:a16="http://schemas.microsoft.com/office/drawing/2014/main" id="{F2D3BD85-A04D-4545-B4B0-A466984F09C6}"/>
              </a:ext>
            </a:extLst>
          </p:cNvPr>
          <p:cNvSpPr/>
          <p:nvPr/>
        </p:nvSpPr>
        <p:spPr>
          <a:xfrm>
            <a:off x="9747667" y="4514764"/>
            <a:ext cx="21069" cy="50566"/>
          </a:xfrm>
          <a:custGeom>
            <a:avLst/>
            <a:gdLst>
              <a:gd name="connsiteX0" fmla="*/ 29321 w 28194"/>
              <a:gd name="connsiteY0" fmla="*/ 65974 h 67665"/>
              <a:gd name="connsiteX1" fmla="*/ 14097 w 28194"/>
              <a:gd name="connsiteY1" fmla="*/ 45674 h 67665"/>
              <a:gd name="connsiteX2" fmla="*/ 10714 w 28194"/>
              <a:gd name="connsiteY2" fmla="*/ 55260 h 67665"/>
              <a:gd name="connsiteX3" fmla="*/ 18044 w 28194"/>
              <a:gd name="connsiteY3" fmla="*/ 71049 h 67665"/>
              <a:gd name="connsiteX4" fmla="*/ 29321 w 28194"/>
              <a:gd name="connsiteY4" fmla="*/ 65974 h 67665"/>
              <a:gd name="connsiteX5" fmla="*/ 18044 w 28194"/>
              <a:gd name="connsiteY5" fmla="*/ 11278 h 67665"/>
              <a:gd name="connsiteX6" fmla="*/ 5075 w 28194"/>
              <a:gd name="connsiteY6" fmla="*/ 0 h 67665"/>
              <a:gd name="connsiteX7" fmla="*/ 0 w 28194"/>
              <a:gd name="connsiteY7" fmla="*/ 27630 h 67665"/>
              <a:gd name="connsiteX8" fmla="*/ 2819 w 28194"/>
              <a:gd name="connsiteY8" fmla="*/ 37780 h 67665"/>
              <a:gd name="connsiteX9" fmla="*/ 9586 w 28194"/>
              <a:gd name="connsiteY9" fmla="*/ 35524 h 67665"/>
              <a:gd name="connsiteX10" fmla="*/ 16916 w 28194"/>
              <a:gd name="connsiteY10" fmla="*/ 40035 h 67665"/>
              <a:gd name="connsiteX11" fmla="*/ 18044 w 28194"/>
              <a:gd name="connsiteY11" fmla="*/ 11278 h 676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8194" h="67665">
                <a:moveTo>
                  <a:pt x="29321" y="65974"/>
                </a:moveTo>
                <a:lnTo>
                  <a:pt x="14097" y="45674"/>
                </a:lnTo>
                <a:lnTo>
                  <a:pt x="10714" y="55260"/>
                </a:lnTo>
                <a:lnTo>
                  <a:pt x="18044" y="71049"/>
                </a:lnTo>
                <a:lnTo>
                  <a:pt x="29321" y="65974"/>
                </a:lnTo>
                <a:close/>
                <a:moveTo>
                  <a:pt x="18044" y="11278"/>
                </a:moveTo>
                <a:lnTo>
                  <a:pt x="5075" y="0"/>
                </a:lnTo>
                <a:lnTo>
                  <a:pt x="0" y="27630"/>
                </a:lnTo>
                <a:lnTo>
                  <a:pt x="2819" y="37780"/>
                </a:lnTo>
                <a:lnTo>
                  <a:pt x="9586" y="35524"/>
                </a:lnTo>
                <a:lnTo>
                  <a:pt x="16916" y="40035"/>
                </a:lnTo>
                <a:lnTo>
                  <a:pt x="18044" y="11278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9" name="Freeform: Shape 402">
            <a:extLst>
              <a:ext uri="{FF2B5EF4-FFF2-40B4-BE49-F238E27FC236}">
                <a16:creationId xmlns:a16="http://schemas.microsoft.com/office/drawing/2014/main" id="{BE0747E5-D5E8-4B37-9B54-AA8579D076C4}"/>
              </a:ext>
            </a:extLst>
          </p:cNvPr>
          <p:cNvSpPr/>
          <p:nvPr/>
        </p:nvSpPr>
        <p:spPr>
          <a:xfrm>
            <a:off x="6841417" y="3613434"/>
            <a:ext cx="240186" cy="168552"/>
          </a:xfrm>
          <a:custGeom>
            <a:avLst/>
            <a:gdLst>
              <a:gd name="connsiteX0" fmla="*/ 325923 w 321411"/>
              <a:gd name="connsiteY0" fmla="*/ 84018 h 225552"/>
              <a:gd name="connsiteX1" fmla="*/ 314082 w 321411"/>
              <a:gd name="connsiteY1" fmla="*/ 59207 h 225552"/>
              <a:gd name="connsiteX2" fmla="*/ 284759 w 321411"/>
              <a:gd name="connsiteY2" fmla="*/ 0 h 225552"/>
              <a:gd name="connsiteX3" fmla="*/ 196231 w 321411"/>
              <a:gd name="connsiteY3" fmla="*/ 13533 h 225552"/>
              <a:gd name="connsiteX4" fmla="*/ 168037 w 321411"/>
              <a:gd name="connsiteY4" fmla="*/ 29886 h 225552"/>
              <a:gd name="connsiteX5" fmla="*/ 148301 w 321411"/>
              <a:gd name="connsiteY5" fmla="*/ 67666 h 225552"/>
              <a:gd name="connsiteX6" fmla="*/ 134204 w 321411"/>
              <a:gd name="connsiteY6" fmla="*/ 73304 h 225552"/>
              <a:gd name="connsiteX7" fmla="*/ 125182 w 321411"/>
              <a:gd name="connsiteY7" fmla="*/ 61463 h 225552"/>
              <a:gd name="connsiteX8" fmla="*/ 113340 w 321411"/>
              <a:gd name="connsiteY8" fmla="*/ 63155 h 225552"/>
              <a:gd name="connsiteX9" fmla="*/ 82891 w 321411"/>
              <a:gd name="connsiteY9" fmla="*/ 59771 h 225552"/>
              <a:gd name="connsiteX10" fmla="*/ 77252 w 321411"/>
              <a:gd name="connsiteY10" fmla="*/ 55824 h 225552"/>
              <a:gd name="connsiteX11" fmla="*/ 41164 w 321411"/>
              <a:gd name="connsiteY11" fmla="*/ 56952 h 225552"/>
              <a:gd name="connsiteX12" fmla="*/ 32705 w 321411"/>
              <a:gd name="connsiteY12" fmla="*/ 60335 h 225552"/>
              <a:gd name="connsiteX13" fmla="*/ 19172 w 321411"/>
              <a:gd name="connsiteY13" fmla="*/ 50749 h 225552"/>
              <a:gd name="connsiteX14" fmla="*/ 12406 w 321411"/>
              <a:gd name="connsiteY14" fmla="*/ 68230 h 225552"/>
              <a:gd name="connsiteX15" fmla="*/ 16353 w 321411"/>
              <a:gd name="connsiteY15" fmla="*/ 83454 h 225552"/>
              <a:gd name="connsiteX16" fmla="*/ 3384 w 321411"/>
              <a:gd name="connsiteY16" fmla="*/ 95296 h 225552"/>
              <a:gd name="connsiteX17" fmla="*/ 5639 w 321411"/>
              <a:gd name="connsiteY17" fmla="*/ 110521 h 225552"/>
              <a:gd name="connsiteX18" fmla="*/ 2256 w 321411"/>
              <a:gd name="connsiteY18" fmla="*/ 117851 h 225552"/>
              <a:gd name="connsiteX19" fmla="*/ 6203 w 321411"/>
              <a:gd name="connsiteY19" fmla="*/ 134204 h 225552"/>
              <a:gd name="connsiteX20" fmla="*/ 0 w 321411"/>
              <a:gd name="connsiteY20" fmla="*/ 135895 h 225552"/>
              <a:gd name="connsiteX21" fmla="*/ 9586 w 321411"/>
              <a:gd name="connsiteY21" fmla="*/ 150556 h 225552"/>
              <a:gd name="connsiteX22" fmla="*/ 16916 w 321411"/>
              <a:gd name="connsiteY22" fmla="*/ 177058 h 225552"/>
              <a:gd name="connsiteX23" fmla="*/ 22555 w 321411"/>
              <a:gd name="connsiteY23" fmla="*/ 187772 h 225552"/>
              <a:gd name="connsiteX24" fmla="*/ 22555 w 321411"/>
              <a:gd name="connsiteY24" fmla="*/ 206944 h 225552"/>
              <a:gd name="connsiteX25" fmla="*/ 31578 w 321411"/>
              <a:gd name="connsiteY25" fmla="*/ 228371 h 225552"/>
              <a:gd name="connsiteX26" fmla="*/ 53569 w 321411"/>
              <a:gd name="connsiteY26" fmla="*/ 230063 h 225552"/>
              <a:gd name="connsiteX27" fmla="*/ 63719 w 321411"/>
              <a:gd name="connsiteY27" fmla="*/ 224988 h 225552"/>
              <a:gd name="connsiteX28" fmla="*/ 78943 w 321411"/>
              <a:gd name="connsiteY28" fmla="*/ 226116 h 225552"/>
              <a:gd name="connsiteX29" fmla="*/ 83455 w 321411"/>
              <a:gd name="connsiteY29" fmla="*/ 216530 h 225552"/>
              <a:gd name="connsiteX30" fmla="*/ 91913 w 321411"/>
              <a:gd name="connsiteY30" fmla="*/ 214274 h 225552"/>
              <a:gd name="connsiteX31" fmla="*/ 98115 w 321411"/>
              <a:gd name="connsiteY31" fmla="*/ 204689 h 225552"/>
              <a:gd name="connsiteX32" fmla="*/ 106010 w 321411"/>
              <a:gd name="connsiteY32" fmla="*/ 202433 h 225552"/>
              <a:gd name="connsiteX33" fmla="*/ 132512 w 321411"/>
              <a:gd name="connsiteY33" fmla="*/ 200741 h 225552"/>
              <a:gd name="connsiteX34" fmla="*/ 152248 w 321411"/>
              <a:gd name="connsiteY34" fmla="*/ 193975 h 225552"/>
              <a:gd name="connsiteX35" fmla="*/ 169728 w 321411"/>
              <a:gd name="connsiteY35" fmla="*/ 178750 h 225552"/>
              <a:gd name="connsiteX36" fmla="*/ 179314 w 321411"/>
              <a:gd name="connsiteY36" fmla="*/ 181006 h 225552"/>
              <a:gd name="connsiteX37" fmla="*/ 192847 w 321411"/>
              <a:gd name="connsiteY37" fmla="*/ 179314 h 225552"/>
              <a:gd name="connsiteX38" fmla="*/ 219349 w 321411"/>
              <a:gd name="connsiteY38" fmla="*/ 153939 h 225552"/>
              <a:gd name="connsiteX39" fmla="*/ 268971 w 321411"/>
              <a:gd name="connsiteY39" fmla="*/ 137023 h 225552"/>
              <a:gd name="connsiteX40" fmla="*/ 298856 w 321411"/>
              <a:gd name="connsiteY40" fmla="*/ 121798 h 225552"/>
              <a:gd name="connsiteX41" fmla="*/ 298856 w 321411"/>
              <a:gd name="connsiteY41" fmla="*/ 109957 h 225552"/>
              <a:gd name="connsiteX42" fmla="*/ 303931 w 321411"/>
              <a:gd name="connsiteY42" fmla="*/ 93604 h 225552"/>
              <a:gd name="connsiteX43" fmla="*/ 325923 w 321411"/>
              <a:gd name="connsiteY43" fmla="*/ 84018 h 2255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321411" h="225552">
                <a:moveTo>
                  <a:pt x="325923" y="84018"/>
                </a:moveTo>
                <a:lnTo>
                  <a:pt x="314082" y="59207"/>
                </a:lnTo>
                <a:lnTo>
                  <a:pt x="284759" y="0"/>
                </a:lnTo>
                <a:lnTo>
                  <a:pt x="196231" y="13533"/>
                </a:lnTo>
                <a:lnTo>
                  <a:pt x="168037" y="29886"/>
                </a:lnTo>
                <a:lnTo>
                  <a:pt x="148301" y="67666"/>
                </a:lnTo>
                <a:lnTo>
                  <a:pt x="134204" y="73304"/>
                </a:lnTo>
                <a:lnTo>
                  <a:pt x="125182" y="61463"/>
                </a:lnTo>
                <a:lnTo>
                  <a:pt x="113340" y="63155"/>
                </a:lnTo>
                <a:lnTo>
                  <a:pt x="82891" y="59771"/>
                </a:lnTo>
                <a:lnTo>
                  <a:pt x="77252" y="55824"/>
                </a:lnTo>
                <a:lnTo>
                  <a:pt x="41164" y="56952"/>
                </a:lnTo>
                <a:lnTo>
                  <a:pt x="32705" y="60335"/>
                </a:lnTo>
                <a:lnTo>
                  <a:pt x="19172" y="50749"/>
                </a:lnTo>
                <a:lnTo>
                  <a:pt x="12406" y="68230"/>
                </a:lnTo>
                <a:lnTo>
                  <a:pt x="16353" y="83454"/>
                </a:lnTo>
                <a:lnTo>
                  <a:pt x="3384" y="95296"/>
                </a:lnTo>
                <a:lnTo>
                  <a:pt x="5639" y="110521"/>
                </a:lnTo>
                <a:lnTo>
                  <a:pt x="2256" y="117851"/>
                </a:lnTo>
                <a:lnTo>
                  <a:pt x="6203" y="134204"/>
                </a:lnTo>
                <a:lnTo>
                  <a:pt x="0" y="135895"/>
                </a:lnTo>
                <a:lnTo>
                  <a:pt x="9586" y="150556"/>
                </a:lnTo>
                <a:lnTo>
                  <a:pt x="16916" y="177058"/>
                </a:lnTo>
                <a:lnTo>
                  <a:pt x="22555" y="187772"/>
                </a:lnTo>
                <a:lnTo>
                  <a:pt x="22555" y="206944"/>
                </a:lnTo>
                <a:lnTo>
                  <a:pt x="31578" y="228371"/>
                </a:lnTo>
                <a:lnTo>
                  <a:pt x="53569" y="230063"/>
                </a:lnTo>
                <a:lnTo>
                  <a:pt x="63719" y="224988"/>
                </a:lnTo>
                <a:lnTo>
                  <a:pt x="78943" y="226116"/>
                </a:lnTo>
                <a:lnTo>
                  <a:pt x="83455" y="216530"/>
                </a:lnTo>
                <a:lnTo>
                  <a:pt x="91913" y="214274"/>
                </a:lnTo>
                <a:lnTo>
                  <a:pt x="98115" y="204689"/>
                </a:lnTo>
                <a:lnTo>
                  <a:pt x="106010" y="202433"/>
                </a:lnTo>
                <a:lnTo>
                  <a:pt x="132512" y="200741"/>
                </a:lnTo>
                <a:lnTo>
                  <a:pt x="152248" y="193975"/>
                </a:lnTo>
                <a:lnTo>
                  <a:pt x="169728" y="178750"/>
                </a:lnTo>
                <a:lnTo>
                  <a:pt x="179314" y="181006"/>
                </a:lnTo>
                <a:lnTo>
                  <a:pt x="192847" y="179314"/>
                </a:lnTo>
                <a:lnTo>
                  <a:pt x="219349" y="153939"/>
                </a:lnTo>
                <a:lnTo>
                  <a:pt x="268971" y="137023"/>
                </a:lnTo>
                <a:lnTo>
                  <a:pt x="298856" y="121798"/>
                </a:lnTo>
                <a:lnTo>
                  <a:pt x="298856" y="109957"/>
                </a:lnTo>
                <a:lnTo>
                  <a:pt x="303931" y="93604"/>
                </a:lnTo>
                <a:lnTo>
                  <a:pt x="325923" y="84018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0" name="Freeform: Shape 403">
            <a:extLst>
              <a:ext uri="{FF2B5EF4-FFF2-40B4-BE49-F238E27FC236}">
                <a16:creationId xmlns:a16="http://schemas.microsoft.com/office/drawing/2014/main" id="{A755BD8E-EB75-4B94-959D-57C2C5ADE989}"/>
              </a:ext>
            </a:extLst>
          </p:cNvPr>
          <p:cNvSpPr/>
          <p:nvPr/>
        </p:nvSpPr>
        <p:spPr>
          <a:xfrm>
            <a:off x="6216091" y="4714919"/>
            <a:ext cx="379241" cy="341317"/>
          </a:xfrm>
          <a:custGeom>
            <a:avLst/>
            <a:gdLst>
              <a:gd name="connsiteX0" fmla="*/ 467456 w 507492"/>
              <a:gd name="connsiteY0" fmla="*/ 5639 h 456742"/>
              <a:gd name="connsiteX1" fmla="*/ 451104 w 507492"/>
              <a:gd name="connsiteY1" fmla="*/ 2255 h 456742"/>
              <a:gd name="connsiteX2" fmla="*/ 440390 w 507492"/>
              <a:gd name="connsiteY2" fmla="*/ 6767 h 456742"/>
              <a:gd name="connsiteX3" fmla="*/ 425729 w 507492"/>
              <a:gd name="connsiteY3" fmla="*/ 564 h 456742"/>
              <a:gd name="connsiteX4" fmla="*/ 413324 w 507492"/>
              <a:gd name="connsiteY4" fmla="*/ 0 h 456742"/>
              <a:gd name="connsiteX5" fmla="*/ 368213 w 507492"/>
              <a:gd name="connsiteY5" fmla="*/ 26502 h 456742"/>
              <a:gd name="connsiteX6" fmla="*/ 338892 w 507492"/>
              <a:gd name="connsiteY6" fmla="*/ 53005 h 456742"/>
              <a:gd name="connsiteX7" fmla="*/ 327614 w 507492"/>
              <a:gd name="connsiteY7" fmla="*/ 77252 h 456742"/>
              <a:gd name="connsiteX8" fmla="*/ 318028 w 507492"/>
              <a:gd name="connsiteY8" fmla="*/ 90785 h 456742"/>
              <a:gd name="connsiteX9" fmla="*/ 301111 w 507492"/>
              <a:gd name="connsiteY9" fmla="*/ 93604 h 456742"/>
              <a:gd name="connsiteX10" fmla="*/ 294345 w 507492"/>
              <a:gd name="connsiteY10" fmla="*/ 110520 h 456742"/>
              <a:gd name="connsiteX11" fmla="*/ 290962 w 507492"/>
              <a:gd name="connsiteY11" fmla="*/ 121798 h 456742"/>
              <a:gd name="connsiteX12" fmla="*/ 270662 w 507492"/>
              <a:gd name="connsiteY12" fmla="*/ 130256 h 456742"/>
              <a:gd name="connsiteX13" fmla="*/ 245852 w 507492"/>
              <a:gd name="connsiteY13" fmla="*/ 128565 h 456742"/>
              <a:gd name="connsiteX14" fmla="*/ 231755 w 507492"/>
              <a:gd name="connsiteY14" fmla="*/ 118415 h 456742"/>
              <a:gd name="connsiteX15" fmla="*/ 218785 w 507492"/>
              <a:gd name="connsiteY15" fmla="*/ 113904 h 456742"/>
              <a:gd name="connsiteX16" fmla="*/ 203561 w 507492"/>
              <a:gd name="connsiteY16" fmla="*/ 122362 h 456742"/>
              <a:gd name="connsiteX17" fmla="*/ 195102 w 507492"/>
              <a:gd name="connsiteY17" fmla="*/ 139842 h 456742"/>
              <a:gd name="connsiteX18" fmla="*/ 179877 w 507492"/>
              <a:gd name="connsiteY18" fmla="*/ 150556 h 456742"/>
              <a:gd name="connsiteX19" fmla="*/ 164089 w 507492"/>
              <a:gd name="connsiteY19" fmla="*/ 166345 h 456742"/>
              <a:gd name="connsiteX20" fmla="*/ 141534 w 507492"/>
              <a:gd name="connsiteY20" fmla="*/ 170292 h 456742"/>
              <a:gd name="connsiteX21" fmla="*/ 135331 w 507492"/>
              <a:gd name="connsiteY21" fmla="*/ 157322 h 456742"/>
              <a:gd name="connsiteX22" fmla="*/ 139278 w 507492"/>
              <a:gd name="connsiteY22" fmla="*/ 135895 h 456742"/>
              <a:gd name="connsiteX23" fmla="*/ 122362 w 507492"/>
              <a:gd name="connsiteY23" fmla="*/ 101498 h 456742"/>
              <a:gd name="connsiteX24" fmla="*/ 114467 w 507492"/>
              <a:gd name="connsiteY24" fmla="*/ 95860 h 456742"/>
              <a:gd name="connsiteX25" fmla="*/ 108265 w 507492"/>
              <a:gd name="connsiteY25" fmla="*/ 228935 h 456742"/>
              <a:gd name="connsiteX26" fmla="*/ 80071 w 507492"/>
              <a:gd name="connsiteY26" fmla="*/ 246979 h 456742"/>
              <a:gd name="connsiteX27" fmla="*/ 63718 w 507492"/>
              <a:gd name="connsiteY27" fmla="*/ 249799 h 456742"/>
              <a:gd name="connsiteX28" fmla="*/ 45110 w 507492"/>
              <a:gd name="connsiteY28" fmla="*/ 243032 h 456742"/>
              <a:gd name="connsiteX29" fmla="*/ 31577 w 507492"/>
              <a:gd name="connsiteY29" fmla="*/ 240213 h 456742"/>
              <a:gd name="connsiteX30" fmla="*/ 27066 w 507492"/>
              <a:gd name="connsiteY30" fmla="*/ 224988 h 456742"/>
              <a:gd name="connsiteX31" fmla="*/ 15224 w 507492"/>
              <a:gd name="connsiteY31" fmla="*/ 214838 h 456742"/>
              <a:gd name="connsiteX32" fmla="*/ 0 w 507492"/>
              <a:gd name="connsiteY32" fmla="*/ 232882 h 456742"/>
              <a:gd name="connsiteX33" fmla="*/ 19736 w 507492"/>
              <a:gd name="connsiteY33" fmla="*/ 279121 h 456742"/>
              <a:gd name="connsiteX34" fmla="*/ 19736 w 507492"/>
              <a:gd name="connsiteY34" fmla="*/ 279684 h 456742"/>
              <a:gd name="connsiteX35" fmla="*/ 33833 w 507492"/>
              <a:gd name="connsiteY35" fmla="*/ 309570 h 456742"/>
              <a:gd name="connsiteX36" fmla="*/ 51877 w 507492"/>
              <a:gd name="connsiteY36" fmla="*/ 343403 h 456742"/>
              <a:gd name="connsiteX37" fmla="*/ 50749 w 507492"/>
              <a:gd name="connsiteY37" fmla="*/ 370469 h 456742"/>
              <a:gd name="connsiteX38" fmla="*/ 41163 w 507492"/>
              <a:gd name="connsiteY38" fmla="*/ 377236 h 456742"/>
              <a:gd name="connsiteX39" fmla="*/ 49057 w 507492"/>
              <a:gd name="connsiteY39" fmla="*/ 400919 h 456742"/>
              <a:gd name="connsiteX40" fmla="*/ 47930 w 507492"/>
              <a:gd name="connsiteY40" fmla="*/ 422346 h 456742"/>
              <a:gd name="connsiteX41" fmla="*/ 51313 w 507492"/>
              <a:gd name="connsiteY41" fmla="*/ 431932 h 456742"/>
              <a:gd name="connsiteX42" fmla="*/ 53004 w 507492"/>
              <a:gd name="connsiteY42" fmla="*/ 426857 h 456742"/>
              <a:gd name="connsiteX43" fmla="*/ 64846 w 507492"/>
              <a:gd name="connsiteY43" fmla="*/ 443210 h 456742"/>
              <a:gd name="connsiteX44" fmla="*/ 74996 w 507492"/>
              <a:gd name="connsiteY44" fmla="*/ 443774 h 456742"/>
              <a:gd name="connsiteX45" fmla="*/ 86837 w 507492"/>
              <a:gd name="connsiteY45" fmla="*/ 456743 h 456742"/>
              <a:gd name="connsiteX46" fmla="*/ 100370 w 507492"/>
              <a:gd name="connsiteY46" fmla="*/ 455615 h 456742"/>
              <a:gd name="connsiteX47" fmla="*/ 120106 w 507492"/>
              <a:gd name="connsiteY47" fmla="*/ 442082 h 456742"/>
              <a:gd name="connsiteX48" fmla="*/ 146044 w 507492"/>
              <a:gd name="connsiteY48" fmla="*/ 436443 h 456742"/>
              <a:gd name="connsiteX49" fmla="*/ 177622 w 507492"/>
              <a:gd name="connsiteY49" fmla="*/ 422346 h 456742"/>
              <a:gd name="connsiteX50" fmla="*/ 190027 w 507492"/>
              <a:gd name="connsiteY50" fmla="*/ 424038 h 456742"/>
              <a:gd name="connsiteX51" fmla="*/ 208636 w 507492"/>
              <a:gd name="connsiteY51" fmla="*/ 419527 h 456742"/>
              <a:gd name="connsiteX52" fmla="*/ 240776 w 507492"/>
              <a:gd name="connsiteY52" fmla="*/ 426293 h 456742"/>
              <a:gd name="connsiteX53" fmla="*/ 256001 w 507492"/>
              <a:gd name="connsiteY53" fmla="*/ 419527 h 456742"/>
              <a:gd name="connsiteX54" fmla="*/ 274046 w 507492"/>
              <a:gd name="connsiteY54" fmla="*/ 425165 h 456742"/>
              <a:gd name="connsiteX55" fmla="*/ 278556 w 507492"/>
              <a:gd name="connsiteY55" fmla="*/ 415016 h 456742"/>
              <a:gd name="connsiteX56" fmla="*/ 293781 w 507492"/>
              <a:gd name="connsiteY56" fmla="*/ 413324 h 456742"/>
              <a:gd name="connsiteX57" fmla="*/ 326486 w 507492"/>
              <a:gd name="connsiteY57" fmla="*/ 399227 h 456742"/>
              <a:gd name="connsiteX58" fmla="*/ 350733 w 507492"/>
              <a:gd name="connsiteY58" fmla="*/ 382874 h 456742"/>
              <a:gd name="connsiteX59" fmla="*/ 373852 w 507492"/>
              <a:gd name="connsiteY59" fmla="*/ 361447 h 456742"/>
              <a:gd name="connsiteX60" fmla="*/ 411632 w 507492"/>
              <a:gd name="connsiteY60" fmla="*/ 324795 h 456742"/>
              <a:gd name="connsiteX61" fmla="*/ 430804 w 507492"/>
              <a:gd name="connsiteY61" fmla="*/ 298856 h 456742"/>
              <a:gd name="connsiteX62" fmla="*/ 440954 w 507492"/>
              <a:gd name="connsiteY62" fmla="*/ 280812 h 456742"/>
              <a:gd name="connsiteX63" fmla="*/ 455051 w 507492"/>
              <a:gd name="connsiteY63" fmla="*/ 262204 h 456742"/>
              <a:gd name="connsiteX64" fmla="*/ 461817 w 507492"/>
              <a:gd name="connsiteY64" fmla="*/ 257129 h 456742"/>
              <a:gd name="connsiteX65" fmla="*/ 483809 w 507492"/>
              <a:gd name="connsiteY65" fmla="*/ 239085 h 456742"/>
              <a:gd name="connsiteX66" fmla="*/ 492831 w 507492"/>
              <a:gd name="connsiteY66" fmla="*/ 222733 h 456742"/>
              <a:gd name="connsiteX67" fmla="*/ 499034 w 507492"/>
              <a:gd name="connsiteY67" fmla="*/ 193411 h 456742"/>
              <a:gd name="connsiteX68" fmla="*/ 508620 w 507492"/>
              <a:gd name="connsiteY68" fmla="*/ 166908 h 456742"/>
              <a:gd name="connsiteX69" fmla="*/ 485501 w 507492"/>
              <a:gd name="connsiteY69" fmla="*/ 166908 h 456742"/>
              <a:gd name="connsiteX70" fmla="*/ 478170 w 507492"/>
              <a:gd name="connsiteY70" fmla="*/ 182697 h 456742"/>
              <a:gd name="connsiteX71" fmla="*/ 459562 w 507492"/>
              <a:gd name="connsiteY71" fmla="*/ 186644 h 456742"/>
              <a:gd name="connsiteX72" fmla="*/ 442646 w 507492"/>
              <a:gd name="connsiteY72" fmla="*/ 166908 h 456742"/>
              <a:gd name="connsiteX73" fmla="*/ 443210 w 507492"/>
              <a:gd name="connsiteY73" fmla="*/ 154503 h 456742"/>
              <a:gd name="connsiteX74" fmla="*/ 452232 w 507492"/>
              <a:gd name="connsiteY74" fmla="*/ 140970 h 456742"/>
              <a:gd name="connsiteX75" fmla="*/ 456178 w 507492"/>
              <a:gd name="connsiteY75" fmla="*/ 130820 h 456742"/>
              <a:gd name="connsiteX76" fmla="*/ 465201 w 507492"/>
              <a:gd name="connsiteY76" fmla="*/ 128001 h 456742"/>
              <a:gd name="connsiteX77" fmla="*/ 480426 w 507492"/>
              <a:gd name="connsiteY77" fmla="*/ 134767 h 456742"/>
              <a:gd name="connsiteX78" fmla="*/ 478170 w 507492"/>
              <a:gd name="connsiteY78" fmla="*/ 121798 h 456742"/>
              <a:gd name="connsiteX79" fmla="*/ 486064 w 507492"/>
              <a:gd name="connsiteY79" fmla="*/ 81763 h 456742"/>
              <a:gd name="connsiteX80" fmla="*/ 479862 w 507492"/>
              <a:gd name="connsiteY80" fmla="*/ 56388 h 456742"/>
              <a:gd name="connsiteX81" fmla="*/ 467456 w 507492"/>
              <a:gd name="connsiteY81" fmla="*/ 5639 h 456742"/>
              <a:gd name="connsiteX82" fmla="*/ 354116 w 507492"/>
              <a:gd name="connsiteY82" fmla="*/ 303367 h 456742"/>
              <a:gd name="connsiteX83" fmla="*/ 342839 w 507492"/>
              <a:gd name="connsiteY83" fmla="*/ 306751 h 456742"/>
              <a:gd name="connsiteX84" fmla="*/ 321975 w 507492"/>
              <a:gd name="connsiteY84" fmla="*/ 279121 h 456742"/>
              <a:gd name="connsiteX85" fmla="*/ 340019 w 507492"/>
              <a:gd name="connsiteY85" fmla="*/ 256565 h 456742"/>
              <a:gd name="connsiteX86" fmla="*/ 357499 w 507492"/>
              <a:gd name="connsiteY86" fmla="*/ 242468 h 456742"/>
              <a:gd name="connsiteX87" fmla="*/ 372161 w 507492"/>
              <a:gd name="connsiteY87" fmla="*/ 235138 h 456742"/>
              <a:gd name="connsiteX88" fmla="*/ 385130 w 507492"/>
              <a:gd name="connsiteY88" fmla="*/ 246416 h 456742"/>
              <a:gd name="connsiteX89" fmla="*/ 394716 w 507492"/>
              <a:gd name="connsiteY89" fmla="*/ 257129 h 456742"/>
              <a:gd name="connsiteX90" fmla="*/ 384002 w 507492"/>
              <a:gd name="connsiteY90" fmla="*/ 274610 h 456742"/>
              <a:gd name="connsiteX91" fmla="*/ 377800 w 507492"/>
              <a:gd name="connsiteY91" fmla="*/ 286451 h 456742"/>
              <a:gd name="connsiteX92" fmla="*/ 360319 w 507492"/>
              <a:gd name="connsiteY92" fmla="*/ 292090 h 456742"/>
              <a:gd name="connsiteX93" fmla="*/ 354116 w 507492"/>
              <a:gd name="connsiteY93" fmla="*/ 303367 h 4567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</a:cxnLst>
            <a:rect l="l" t="t" r="r" b="b"/>
            <a:pathLst>
              <a:path w="507492" h="456742">
                <a:moveTo>
                  <a:pt x="467456" y="5639"/>
                </a:moveTo>
                <a:lnTo>
                  <a:pt x="451104" y="2255"/>
                </a:lnTo>
                <a:lnTo>
                  <a:pt x="440390" y="6767"/>
                </a:lnTo>
                <a:lnTo>
                  <a:pt x="425729" y="564"/>
                </a:lnTo>
                <a:lnTo>
                  <a:pt x="413324" y="0"/>
                </a:lnTo>
                <a:lnTo>
                  <a:pt x="368213" y="26502"/>
                </a:lnTo>
                <a:lnTo>
                  <a:pt x="338892" y="53005"/>
                </a:lnTo>
                <a:lnTo>
                  <a:pt x="327614" y="77252"/>
                </a:lnTo>
                <a:lnTo>
                  <a:pt x="318028" y="90785"/>
                </a:lnTo>
                <a:lnTo>
                  <a:pt x="301111" y="93604"/>
                </a:lnTo>
                <a:lnTo>
                  <a:pt x="294345" y="110520"/>
                </a:lnTo>
                <a:lnTo>
                  <a:pt x="290962" y="121798"/>
                </a:lnTo>
                <a:lnTo>
                  <a:pt x="270662" y="130256"/>
                </a:lnTo>
                <a:lnTo>
                  <a:pt x="245852" y="128565"/>
                </a:lnTo>
                <a:lnTo>
                  <a:pt x="231755" y="118415"/>
                </a:lnTo>
                <a:lnTo>
                  <a:pt x="218785" y="113904"/>
                </a:lnTo>
                <a:lnTo>
                  <a:pt x="203561" y="122362"/>
                </a:lnTo>
                <a:lnTo>
                  <a:pt x="195102" y="139842"/>
                </a:lnTo>
                <a:lnTo>
                  <a:pt x="179877" y="150556"/>
                </a:lnTo>
                <a:lnTo>
                  <a:pt x="164089" y="166345"/>
                </a:lnTo>
                <a:lnTo>
                  <a:pt x="141534" y="170292"/>
                </a:lnTo>
                <a:lnTo>
                  <a:pt x="135331" y="157322"/>
                </a:lnTo>
                <a:lnTo>
                  <a:pt x="139278" y="135895"/>
                </a:lnTo>
                <a:lnTo>
                  <a:pt x="122362" y="101498"/>
                </a:lnTo>
                <a:lnTo>
                  <a:pt x="114467" y="95860"/>
                </a:lnTo>
                <a:lnTo>
                  <a:pt x="108265" y="228935"/>
                </a:lnTo>
                <a:lnTo>
                  <a:pt x="80071" y="246979"/>
                </a:lnTo>
                <a:lnTo>
                  <a:pt x="63718" y="249799"/>
                </a:lnTo>
                <a:lnTo>
                  <a:pt x="45110" y="243032"/>
                </a:lnTo>
                <a:lnTo>
                  <a:pt x="31577" y="240213"/>
                </a:lnTo>
                <a:lnTo>
                  <a:pt x="27066" y="224988"/>
                </a:lnTo>
                <a:lnTo>
                  <a:pt x="15224" y="214838"/>
                </a:lnTo>
                <a:lnTo>
                  <a:pt x="0" y="232882"/>
                </a:lnTo>
                <a:lnTo>
                  <a:pt x="19736" y="279121"/>
                </a:lnTo>
                <a:lnTo>
                  <a:pt x="19736" y="279684"/>
                </a:lnTo>
                <a:lnTo>
                  <a:pt x="33833" y="309570"/>
                </a:lnTo>
                <a:lnTo>
                  <a:pt x="51877" y="343403"/>
                </a:lnTo>
                <a:lnTo>
                  <a:pt x="50749" y="370469"/>
                </a:lnTo>
                <a:lnTo>
                  <a:pt x="41163" y="377236"/>
                </a:lnTo>
                <a:lnTo>
                  <a:pt x="49057" y="400919"/>
                </a:lnTo>
                <a:lnTo>
                  <a:pt x="47930" y="422346"/>
                </a:lnTo>
                <a:lnTo>
                  <a:pt x="51313" y="431932"/>
                </a:lnTo>
                <a:lnTo>
                  <a:pt x="53004" y="426857"/>
                </a:lnTo>
                <a:lnTo>
                  <a:pt x="64846" y="443210"/>
                </a:lnTo>
                <a:lnTo>
                  <a:pt x="74996" y="443774"/>
                </a:lnTo>
                <a:lnTo>
                  <a:pt x="86837" y="456743"/>
                </a:lnTo>
                <a:lnTo>
                  <a:pt x="100370" y="455615"/>
                </a:lnTo>
                <a:lnTo>
                  <a:pt x="120106" y="442082"/>
                </a:lnTo>
                <a:lnTo>
                  <a:pt x="146044" y="436443"/>
                </a:lnTo>
                <a:lnTo>
                  <a:pt x="177622" y="422346"/>
                </a:lnTo>
                <a:lnTo>
                  <a:pt x="190027" y="424038"/>
                </a:lnTo>
                <a:lnTo>
                  <a:pt x="208636" y="419527"/>
                </a:lnTo>
                <a:lnTo>
                  <a:pt x="240776" y="426293"/>
                </a:lnTo>
                <a:lnTo>
                  <a:pt x="256001" y="419527"/>
                </a:lnTo>
                <a:lnTo>
                  <a:pt x="274046" y="425165"/>
                </a:lnTo>
                <a:lnTo>
                  <a:pt x="278556" y="415016"/>
                </a:lnTo>
                <a:lnTo>
                  <a:pt x="293781" y="413324"/>
                </a:lnTo>
                <a:lnTo>
                  <a:pt x="326486" y="399227"/>
                </a:lnTo>
                <a:lnTo>
                  <a:pt x="350733" y="382874"/>
                </a:lnTo>
                <a:lnTo>
                  <a:pt x="373852" y="361447"/>
                </a:lnTo>
                <a:lnTo>
                  <a:pt x="411632" y="324795"/>
                </a:lnTo>
                <a:lnTo>
                  <a:pt x="430804" y="298856"/>
                </a:lnTo>
                <a:lnTo>
                  <a:pt x="440954" y="280812"/>
                </a:lnTo>
                <a:lnTo>
                  <a:pt x="455051" y="262204"/>
                </a:lnTo>
                <a:lnTo>
                  <a:pt x="461817" y="257129"/>
                </a:lnTo>
                <a:lnTo>
                  <a:pt x="483809" y="239085"/>
                </a:lnTo>
                <a:lnTo>
                  <a:pt x="492831" y="222733"/>
                </a:lnTo>
                <a:lnTo>
                  <a:pt x="499034" y="193411"/>
                </a:lnTo>
                <a:lnTo>
                  <a:pt x="508620" y="166908"/>
                </a:lnTo>
                <a:lnTo>
                  <a:pt x="485501" y="166908"/>
                </a:lnTo>
                <a:lnTo>
                  <a:pt x="478170" y="182697"/>
                </a:lnTo>
                <a:lnTo>
                  <a:pt x="459562" y="186644"/>
                </a:lnTo>
                <a:lnTo>
                  <a:pt x="442646" y="166908"/>
                </a:lnTo>
                <a:lnTo>
                  <a:pt x="443210" y="154503"/>
                </a:lnTo>
                <a:lnTo>
                  <a:pt x="452232" y="140970"/>
                </a:lnTo>
                <a:lnTo>
                  <a:pt x="456178" y="130820"/>
                </a:lnTo>
                <a:lnTo>
                  <a:pt x="465201" y="128001"/>
                </a:lnTo>
                <a:lnTo>
                  <a:pt x="480426" y="134767"/>
                </a:lnTo>
                <a:lnTo>
                  <a:pt x="478170" y="121798"/>
                </a:lnTo>
                <a:lnTo>
                  <a:pt x="486064" y="81763"/>
                </a:lnTo>
                <a:lnTo>
                  <a:pt x="479862" y="56388"/>
                </a:lnTo>
                <a:lnTo>
                  <a:pt x="467456" y="5639"/>
                </a:lnTo>
                <a:close/>
                <a:moveTo>
                  <a:pt x="354116" y="303367"/>
                </a:moveTo>
                <a:lnTo>
                  <a:pt x="342839" y="306751"/>
                </a:lnTo>
                <a:lnTo>
                  <a:pt x="321975" y="279121"/>
                </a:lnTo>
                <a:lnTo>
                  <a:pt x="340019" y="256565"/>
                </a:lnTo>
                <a:lnTo>
                  <a:pt x="357499" y="242468"/>
                </a:lnTo>
                <a:lnTo>
                  <a:pt x="372161" y="235138"/>
                </a:lnTo>
                <a:lnTo>
                  <a:pt x="385130" y="246416"/>
                </a:lnTo>
                <a:lnTo>
                  <a:pt x="394716" y="257129"/>
                </a:lnTo>
                <a:lnTo>
                  <a:pt x="384002" y="274610"/>
                </a:lnTo>
                <a:lnTo>
                  <a:pt x="377800" y="286451"/>
                </a:lnTo>
                <a:lnTo>
                  <a:pt x="360319" y="292090"/>
                </a:lnTo>
                <a:lnTo>
                  <a:pt x="354116" y="303367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1" name="Freeform: Shape 404">
            <a:extLst>
              <a:ext uri="{FF2B5EF4-FFF2-40B4-BE49-F238E27FC236}">
                <a16:creationId xmlns:a16="http://schemas.microsoft.com/office/drawing/2014/main" id="{CAEB2A35-EEC1-434D-BF41-65AA8B1715E0}"/>
              </a:ext>
            </a:extLst>
          </p:cNvPr>
          <p:cNvSpPr/>
          <p:nvPr/>
        </p:nvSpPr>
        <p:spPr>
          <a:xfrm>
            <a:off x="6355146" y="4343685"/>
            <a:ext cx="273896" cy="257041"/>
          </a:xfrm>
          <a:custGeom>
            <a:avLst/>
            <a:gdLst>
              <a:gd name="connsiteX0" fmla="*/ 287014 w 366522"/>
              <a:gd name="connsiteY0" fmla="*/ 11842 h 343966"/>
              <a:gd name="connsiteX1" fmla="*/ 276301 w 366522"/>
              <a:gd name="connsiteY1" fmla="*/ 9022 h 343966"/>
              <a:gd name="connsiteX2" fmla="*/ 278556 w 366522"/>
              <a:gd name="connsiteY2" fmla="*/ 1692 h 343966"/>
              <a:gd name="connsiteX3" fmla="*/ 272917 w 366522"/>
              <a:gd name="connsiteY3" fmla="*/ 0 h 343966"/>
              <a:gd name="connsiteX4" fmla="*/ 230626 w 366522"/>
              <a:gd name="connsiteY4" fmla="*/ 6203 h 343966"/>
              <a:gd name="connsiteX5" fmla="*/ 221604 w 366522"/>
              <a:gd name="connsiteY5" fmla="*/ 10150 h 343966"/>
              <a:gd name="connsiteX6" fmla="*/ 212582 w 366522"/>
              <a:gd name="connsiteY6" fmla="*/ 33269 h 343966"/>
              <a:gd name="connsiteX7" fmla="*/ 219349 w 366522"/>
              <a:gd name="connsiteY7" fmla="*/ 49058 h 343966"/>
              <a:gd name="connsiteX8" fmla="*/ 212582 w 366522"/>
              <a:gd name="connsiteY8" fmla="*/ 91349 h 343966"/>
              <a:gd name="connsiteX9" fmla="*/ 208071 w 366522"/>
              <a:gd name="connsiteY9" fmla="*/ 127437 h 343966"/>
              <a:gd name="connsiteX10" fmla="*/ 215966 w 366522"/>
              <a:gd name="connsiteY10" fmla="*/ 133640 h 343966"/>
              <a:gd name="connsiteX11" fmla="*/ 237957 w 366522"/>
              <a:gd name="connsiteY11" fmla="*/ 147737 h 343966"/>
              <a:gd name="connsiteX12" fmla="*/ 246415 w 366522"/>
              <a:gd name="connsiteY12" fmla="*/ 140970 h 343966"/>
              <a:gd name="connsiteX13" fmla="*/ 248107 w 366522"/>
              <a:gd name="connsiteY13" fmla="*/ 179878 h 343966"/>
              <a:gd name="connsiteX14" fmla="*/ 223860 w 366522"/>
              <a:gd name="connsiteY14" fmla="*/ 179878 h 343966"/>
              <a:gd name="connsiteX15" fmla="*/ 212019 w 366522"/>
              <a:gd name="connsiteY15" fmla="*/ 160142 h 343966"/>
              <a:gd name="connsiteX16" fmla="*/ 200741 w 366522"/>
              <a:gd name="connsiteY16" fmla="*/ 144353 h 343966"/>
              <a:gd name="connsiteX17" fmla="*/ 176494 w 366522"/>
              <a:gd name="connsiteY17" fmla="*/ 139843 h 343966"/>
              <a:gd name="connsiteX18" fmla="*/ 169728 w 366522"/>
              <a:gd name="connsiteY18" fmla="*/ 120670 h 343966"/>
              <a:gd name="connsiteX19" fmla="*/ 150556 w 366522"/>
              <a:gd name="connsiteY19" fmla="*/ 131948 h 343966"/>
              <a:gd name="connsiteX20" fmla="*/ 125181 w 366522"/>
              <a:gd name="connsiteY20" fmla="*/ 126873 h 343966"/>
              <a:gd name="connsiteX21" fmla="*/ 115031 w 366522"/>
              <a:gd name="connsiteY21" fmla="*/ 111084 h 343966"/>
              <a:gd name="connsiteX22" fmla="*/ 95295 w 366522"/>
              <a:gd name="connsiteY22" fmla="*/ 107701 h 343966"/>
              <a:gd name="connsiteX23" fmla="*/ 80634 w 366522"/>
              <a:gd name="connsiteY23" fmla="*/ 108265 h 343966"/>
              <a:gd name="connsiteX24" fmla="*/ 78943 w 366522"/>
              <a:gd name="connsiteY24" fmla="*/ 96987 h 343966"/>
              <a:gd name="connsiteX25" fmla="*/ 68229 w 366522"/>
              <a:gd name="connsiteY25" fmla="*/ 96424 h 343966"/>
              <a:gd name="connsiteX26" fmla="*/ 71049 w 366522"/>
              <a:gd name="connsiteY26" fmla="*/ 107701 h 343966"/>
              <a:gd name="connsiteX27" fmla="*/ 67101 w 366522"/>
              <a:gd name="connsiteY27" fmla="*/ 124618 h 343966"/>
              <a:gd name="connsiteX28" fmla="*/ 72176 w 366522"/>
              <a:gd name="connsiteY28" fmla="*/ 141534 h 343966"/>
              <a:gd name="connsiteX29" fmla="*/ 67101 w 366522"/>
              <a:gd name="connsiteY29" fmla="*/ 155067 h 343966"/>
              <a:gd name="connsiteX30" fmla="*/ 69921 w 366522"/>
              <a:gd name="connsiteY30" fmla="*/ 167472 h 343966"/>
              <a:gd name="connsiteX31" fmla="*/ 4511 w 366522"/>
              <a:gd name="connsiteY31" fmla="*/ 166909 h 343966"/>
              <a:gd name="connsiteX32" fmla="*/ 0 w 366522"/>
              <a:gd name="connsiteY32" fmla="*/ 281376 h 343966"/>
              <a:gd name="connsiteX33" fmla="*/ 20300 w 366522"/>
              <a:gd name="connsiteY33" fmla="*/ 310698 h 343966"/>
              <a:gd name="connsiteX34" fmla="*/ 40035 w 366522"/>
              <a:gd name="connsiteY34" fmla="*/ 333253 h 343966"/>
              <a:gd name="connsiteX35" fmla="*/ 65974 w 366522"/>
              <a:gd name="connsiteY35" fmla="*/ 324795 h 343966"/>
              <a:gd name="connsiteX36" fmla="*/ 86273 w 366522"/>
              <a:gd name="connsiteY36" fmla="*/ 327050 h 343966"/>
              <a:gd name="connsiteX37" fmla="*/ 98115 w 366522"/>
              <a:gd name="connsiteY37" fmla="*/ 334945 h 343966"/>
              <a:gd name="connsiteX38" fmla="*/ 98115 w 366522"/>
              <a:gd name="connsiteY38" fmla="*/ 337764 h 343966"/>
              <a:gd name="connsiteX39" fmla="*/ 103753 w 366522"/>
              <a:gd name="connsiteY39" fmla="*/ 340584 h 343966"/>
              <a:gd name="connsiteX40" fmla="*/ 138714 w 366522"/>
              <a:gd name="connsiteY40" fmla="*/ 344531 h 343966"/>
              <a:gd name="connsiteX41" fmla="*/ 148300 w 366522"/>
              <a:gd name="connsiteY41" fmla="*/ 348478 h 343966"/>
              <a:gd name="connsiteX42" fmla="*/ 159014 w 366522"/>
              <a:gd name="connsiteY42" fmla="*/ 347914 h 343966"/>
              <a:gd name="connsiteX43" fmla="*/ 177058 w 366522"/>
              <a:gd name="connsiteY43" fmla="*/ 324795 h 343966"/>
              <a:gd name="connsiteX44" fmla="*/ 205816 w 366522"/>
              <a:gd name="connsiteY44" fmla="*/ 294910 h 343966"/>
              <a:gd name="connsiteX45" fmla="*/ 217094 w 366522"/>
              <a:gd name="connsiteY45" fmla="*/ 292090 h 343966"/>
              <a:gd name="connsiteX46" fmla="*/ 221041 w 366522"/>
              <a:gd name="connsiteY46" fmla="*/ 279685 h 343966"/>
              <a:gd name="connsiteX47" fmla="*/ 239649 w 366522"/>
              <a:gd name="connsiteY47" fmla="*/ 265588 h 343966"/>
              <a:gd name="connsiteX48" fmla="*/ 263332 w 366522"/>
              <a:gd name="connsiteY48" fmla="*/ 260513 h 343966"/>
              <a:gd name="connsiteX49" fmla="*/ 261640 w 366522"/>
              <a:gd name="connsiteY49" fmla="*/ 235138 h 343966"/>
              <a:gd name="connsiteX50" fmla="*/ 358064 w 366522"/>
              <a:gd name="connsiteY50" fmla="*/ 205816 h 343966"/>
              <a:gd name="connsiteX51" fmla="*/ 341711 w 366522"/>
              <a:gd name="connsiteY51" fmla="*/ 196231 h 343966"/>
              <a:gd name="connsiteX52" fmla="*/ 352425 w 366522"/>
              <a:gd name="connsiteY52" fmla="*/ 162961 h 343966"/>
              <a:gd name="connsiteX53" fmla="*/ 362574 w 366522"/>
              <a:gd name="connsiteY53" fmla="*/ 150556 h 343966"/>
              <a:gd name="connsiteX54" fmla="*/ 357499 w 366522"/>
              <a:gd name="connsiteY54" fmla="*/ 120670 h 343966"/>
              <a:gd name="connsiteX55" fmla="*/ 364266 w 366522"/>
              <a:gd name="connsiteY55" fmla="*/ 91913 h 343966"/>
              <a:gd name="connsiteX56" fmla="*/ 369905 w 366522"/>
              <a:gd name="connsiteY56" fmla="*/ 81763 h 343966"/>
              <a:gd name="connsiteX57" fmla="*/ 363138 w 366522"/>
              <a:gd name="connsiteY57" fmla="*/ 51313 h 343966"/>
              <a:gd name="connsiteX58" fmla="*/ 348477 w 366522"/>
              <a:gd name="connsiteY58" fmla="*/ 35525 h 343966"/>
              <a:gd name="connsiteX59" fmla="*/ 330434 w 366522"/>
              <a:gd name="connsiteY59" fmla="*/ 24811 h 343966"/>
              <a:gd name="connsiteX60" fmla="*/ 310698 w 366522"/>
              <a:gd name="connsiteY60" fmla="*/ 18608 h 343966"/>
              <a:gd name="connsiteX61" fmla="*/ 298292 w 366522"/>
              <a:gd name="connsiteY61" fmla="*/ 12405 h 343966"/>
              <a:gd name="connsiteX62" fmla="*/ 296601 w 366522"/>
              <a:gd name="connsiteY62" fmla="*/ 11278 h 343966"/>
              <a:gd name="connsiteX63" fmla="*/ 296601 w 366522"/>
              <a:gd name="connsiteY63" fmla="*/ 11278 h 343966"/>
              <a:gd name="connsiteX64" fmla="*/ 299420 w 366522"/>
              <a:gd name="connsiteY64" fmla="*/ 17480 h 343966"/>
              <a:gd name="connsiteX65" fmla="*/ 293781 w 366522"/>
              <a:gd name="connsiteY65" fmla="*/ 19736 h 343966"/>
              <a:gd name="connsiteX66" fmla="*/ 287014 w 366522"/>
              <a:gd name="connsiteY66" fmla="*/ 11842 h 3439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</a:cxnLst>
            <a:rect l="l" t="t" r="r" b="b"/>
            <a:pathLst>
              <a:path w="366522" h="343966">
                <a:moveTo>
                  <a:pt x="287014" y="11842"/>
                </a:moveTo>
                <a:lnTo>
                  <a:pt x="276301" y="9022"/>
                </a:lnTo>
                <a:lnTo>
                  <a:pt x="278556" y="1692"/>
                </a:lnTo>
                <a:lnTo>
                  <a:pt x="272917" y="0"/>
                </a:lnTo>
                <a:lnTo>
                  <a:pt x="230626" y="6203"/>
                </a:lnTo>
                <a:lnTo>
                  <a:pt x="221604" y="10150"/>
                </a:lnTo>
                <a:lnTo>
                  <a:pt x="212582" y="33269"/>
                </a:lnTo>
                <a:lnTo>
                  <a:pt x="219349" y="49058"/>
                </a:lnTo>
                <a:lnTo>
                  <a:pt x="212582" y="91349"/>
                </a:lnTo>
                <a:lnTo>
                  <a:pt x="208071" y="127437"/>
                </a:lnTo>
                <a:lnTo>
                  <a:pt x="215966" y="133640"/>
                </a:lnTo>
                <a:lnTo>
                  <a:pt x="237957" y="147737"/>
                </a:lnTo>
                <a:lnTo>
                  <a:pt x="246415" y="140970"/>
                </a:lnTo>
                <a:lnTo>
                  <a:pt x="248107" y="179878"/>
                </a:lnTo>
                <a:lnTo>
                  <a:pt x="223860" y="179878"/>
                </a:lnTo>
                <a:lnTo>
                  <a:pt x="212019" y="160142"/>
                </a:lnTo>
                <a:lnTo>
                  <a:pt x="200741" y="144353"/>
                </a:lnTo>
                <a:lnTo>
                  <a:pt x="176494" y="139843"/>
                </a:lnTo>
                <a:lnTo>
                  <a:pt x="169728" y="120670"/>
                </a:lnTo>
                <a:lnTo>
                  <a:pt x="150556" y="131948"/>
                </a:lnTo>
                <a:lnTo>
                  <a:pt x="125181" y="126873"/>
                </a:lnTo>
                <a:lnTo>
                  <a:pt x="115031" y="111084"/>
                </a:lnTo>
                <a:lnTo>
                  <a:pt x="95295" y="107701"/>
                </a:lnTo>
                <a:lnTo>
                  <a:pt x="80634" y="108265"/>
                </a:lnTo>
                <a:lnTo>
                  <a:pt x="78943" y="96987"/>
                </a:lnTo>
                <a:lnTo>
                  <a:pt x="68229" y="96424"/>
                </a:lnTo>
                <a:lnTo>
                  <a:pt x="71049" y="107701"/>
                </a:lnTo>
                <a:lnTo>
                  <a:pt x="67101" y="124618"/>
                </a:lnTo>
                <a:lnTo>
                  <a:pt x="72176" y="141534"/>
                </a:lnTo>
                <a:lnTo>
                  <a:pt x="67101" y="155067"/>
                </a:lnTo>
                <a:lnTo>
                  <a:pt x="69921" y="167472"/>
                </a:lnTo>
                <a:lnTo>
                  <a:pt x="4511" y="166909"/>
                </a:lnTo>
                <a:lnTo>
                  <a:pt x="0" y="281376"/>
                </a:lnTo>
                <a:lnTo>
                  <a:pt x="20300" y="310698"/>
                </a:lnTo>
                <a:lnTo>
                  <a:pt x="40035" y="333253"/>
                </a:lnTo>
                <a:lnTo>
                  <a:pt x="65974" y="324795"/>
                </a:lnTo>
                <a:lnTo>
                  <a:pt x="86273" y="327050"/>
                </a:lnTo>
                <a:lnTo>
                  <a:pt x="98115" y="334945"/>
                </a:lnTo>
                <a:lnTo>
                  <a:pt x="98115" y="337764"/>
                </a:lnTo>
                <a:lnTo>
                  <a:pt x="103753" y="340584"/>
                </a:lnTo>
                <a:lnTo>
                  <a:pt x="138714" y="344531"/>
                </a:lnTo>
                <a:lnTo>
                  <a:pt x="148300" y="348478"/>
                </a:lnTo>
                <a:lnTo>
                  <a:pt x="159014" y="347914"/>
                </a:lnTo>
                <a:lnTo>
                  <a:pt x="177058" y="324795"/>
                </a:lnTo>
                <a:lnTo>
                  <a:pt x="205816" y="294910"/>
                </a:lnTo>
                <a:lnTo>
                  <a:pt x="217094" y="292090"/>
                </a:lnTo>
                <a:lnTo>
                  <a:pt x="221041" y="279685"/>
                </a:lnTo>
                <a:lnTo>
                  <a:pt x="239649" y="265588"/>
                </a:lnTo>
                <a:lnTo>
                  <a:pt x="263332" y="260513"/>
                </a:lnTo>
                <a:lnTo>
                  <a:pt x="261640" y="235138"/>
                </a:lnTo>
                <a:lnTo>
                  <a:pt x="358064" y="205816"/>
                </a:lnTo>
                <a:lnTo>
                  <a:pt x="341711" y="196231"/>
                </a:lnTo>
                <a:lnTo>
                  <a:pt x="352425" y="162961"/>
                </a:lnTo>
                <a:lnTo>
                  <a:pt x="362574" y="150556"/>
                </a:lnTo>
                <a:lnTo>
                  <a:pt x="357499" y="120670"/>
                </a:lnTo>
                <a:lnTo>
                  <a:pt x="364266" y="91913"/>
                </a:lnTo>
                <a:lnTo>
                  <a:pt x="369905" y="81763"/>
                </a:lnTo>
                <a:lnTo>
                  <a:pt x="363138" y="51313"/>
                </a:lnTo>
                <a:lnTo>
                  <a:pt x="348477" y="35525"/>
                </a:lnTo>
                <a:lnTo>
                  <a:pt x="330434" y="24811"/>
                </a:lnTo>
                <a:lnTo>
                  <a:pt x="310698" y="18608"/>
                </a:lnTo>
                <a:lnTo>
                  <a:pt x="298292" y="12405"/>
                </a:lnTo>
                <a:lnTo>
                  <a:pt x="296601" y="11278"/>
                </a:lnTo>
                <a:lnTo>
                  <a:pt x="296601" y="11278"/>
                </a:lnTo>
                <a:lnTo>
                  <a:pt x="299420" y="17480"/>
                </a:lnTo>
                <a:lnTo>
                  <a:pt x="293781" y="19736"/>
                </a:lnTo>
                <a:lnTo>
                  <a:pt x="287014" y="11842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2" name="Freeform: Shape 405">
            <a:extLst>
              <a:ext uri="{FF2B5EF4-FFF2-40B4-BE49-F238E27FC236}">
                <a16:creationId xmlns:a16="http://schemas.microsoft.com/office/drawing/2014/main" id="{3A1A4353-661B-431C-8F55-E959C73B4DB1}"/>
              </a:ext>
            </a:extLst>
          </p:cNvPr>
          <p:cNvSpPr/>
          <p:nvPr/>
        </p:nvSpPr>
        <p:spPr>
          <a:xfrm>
            <a:off x="6432679" y="4538362"/>
            <a:ext cx="176979" cy="181193"/>
          </a:xfrm>
          <a:custGeom>
            <a:avLst/>
            <a:gdLst>
              <a:gd name="connsiteX0" fmla="*/ 177622 w 236829"/>
              <a:gd name="connsiteY0" fmla="*/ 241905 h 242468"/>
              <a:gd name="connsiteX1" fmla="*/ 212583 w 236829"/>
              <a:gd name="connsiteY1" fmla="*/ 201305 h 242468"/>
              <a:gd name="connsiteX2" fmla="*/ 221605 w 236829"/>
              <a:gd name="connsiteY2" fmla="*/ 175367 h 242468"/>
              <a:gd name="connsiteX3" fmla="*/ 226680 w 236829"/>
              <a:gd name="connsiteY3" fmla="*/ 171983 h 242468"/>
              <a:gd name="connsiteX4" fmla="*/ 231191 w 236829"/>
              <a:gd name="connsiteY4" fmla="*/ 151120 h 242468"/>
              <a:gd name="connsiteX5" fmla="*/ 226680 w 236829"/>
              <a:gd name="connsiteY5" fmla="*/ 140406 h 242468"/>
              <a:gd name="connsiteX6" fmla="*/ 229500 w 236829"/>
              <a:gd name="connsiteY6" fmla="*/ 113904 h 242468"/>
              <a:gd name="connsiteX7" fmla="*/ 236830 w 236829"/>
              <a:gd name="connsiteY7" fmla="*/ 89093 h 242468"/>
              <a:gd name="connsiteX8" fmla="*/ 238522 w 236829"/>
              <a:gd name="connsiteY8" fmla="*/ 43419 h 242468"/>
              <a:gd name="connsiteX9" fmla="*/ 222733 w 236829"/>
              <a:gd name="connsiteY9" fmla="*/ 32141 h 242468"/>
              <a:gd name="connsiteX10" fmla="*/ 208072 w 236829"/>
              <a:gd name="connsiteY10" fmla="*/ 29322 h 242468"/>
              <a:gd name="connsiteX11" fmla="*/ 201869 w 236829"/>
              <a:gd name="connsiteY11" fmla="*/ 20300 h 242468"/>
              <a:gd name="connsiteX12" fmla="*/ 187209 w 236829"/>
              <a:gd name="connsiteY12" fmla="*/ 12969 h 242468"/>
              <a:gd name="connsiteX13" fmla="*/ 161270 w 236829"/>
              <a:gd name="connsiteY13" fmla="*/ 13533 h 242468"/>
              <a:gd name="connsiteX14" fmla="*/ 159578 w 236829"/>
              <a:gd name="connsiteY14" fmla="*/ 0 h 242468"/>
              <a:gd name="connsiteX15" fmla="*/ 135896 w 236829"/>
              <a:gd name="connsiteY15" fmla="*/ 5075 h 242468"/>
              <a:gd name="connsiteX16" fmla="*/ 117287 w 236829"/>
              <a:gd name="connsiteY16" fmla="*/ 19172 h 242468"/>
              <a:gd name="connsiteX17" fmla="*/ 113340 w 236829"/>
              <a:gd name="connsiteY17" fmla="*/ 31577 h 242468"/>
              <a:gd name="connsiteX18" fmla="*/ 102063 w 236829"/>
              <a:gd name="connsiteY18" fmla="*/ 34397 h 242468"/>
              <a:gd name="connsiteX19" fmla="*/ 73304 w 236829"/>
              <a:gd name="connsiteY19" fmla="*/ 64282 h 242468"/>
              <a:gd name="connsiteX20" fmla="*/ 55261 w 236829"/>
              <a:gd name="connsiteY20" fmla="*/ 87401 h 242468"/>
              <a:gd name="connsiteX21" fmla="*/ 44547 w 236829"/>
              <a:gd name="connsiteY21" fmla="*/ 87965 h 242468"/>
              <a:gd name="connsiteX22" fmla="*/ 34961 w 236829"/>
              <a:gd name="connsiteY22" fmla="*/ 84018 h 242468"/>
              <a:gd name="connsiteX23" fmla="*/ 0 w 236829"/>
              <a:gd name="connsiteY23" fmla="*/ 80071 h 242468"/>
              <a:gd name="connsiteX24" fmla="*/ 10714 w 236829"/>
              <a:gd name="connsiteY24" fmla="*/ 108829 h 242468"/>
              <a:gd name="connsiteX25" fmla="*/ 16916 w 236829"/>
              <a:gd name="connsiteY25" fmla="*/ 115032 h 242468"/>
              <a:gd name="connsiteX26" fmla="*/ 25939 w 236829"/>
              <a:gd name="connsiteY26" fmla="*/ 135895 h 242468"/>
              <a:gd name="connsiteX27" fmla="*/ 59772 w 236829"/>
              <a:gd name="connsiteY27" fmla="*/ 175367 h 242468"/>
              <a:gd name="connsiteX28" fmla="*/ 72741 w 236829"/>
              <a:gd name="connsiteY28" fmla="*/ 179314 h 242468"/>
              <a:gd name="connsiteX29" fmla="*/ 72177 w 236829"/>
              <a:gd name="connsiteY29" fmla="*/ 191719 h 242468"/>
              <a:gd name="connsiteX30" fmla="*/ 80635 w 236829"/>
              <a:gd name="connsiteY30" fmla="*/ 214839 h 242468"/>
              <a:gd name="connsiteX31" fmla="*/ 104318 w 236829"/>
              <a:gd name="connsiteY31" fmla="*/ 219913 h 242468"/>
              <a:gd name="connsiteX32" fmla="*/ 123490 w 236829"/>
              <a:gd name="connsiteY32" fmla="*/ 236266 h 242468"/>
              <a:gd name="connsiteX33" fmla="*/ 135896 w 236829"/>
              <a:gd name="connsiteY33" fmla="*/ 236830 h 242468"/>
              <a:gd name="connsiteX34" fmla="*/ 150556 w 236829"/>
              <a:gd name="connsiteY34" fmla="*/ 243033 h 242468"/>
              <a:gd name="connsiteX35" fmla="*/ 161270 w 236829"/>
              <a:gd name="connsiteY35" fmla="*/ 238521 h 242468"/>
              <a:gd name="connsiteX36" fmla="*/ 177622 w 236829"/>
              <a:gd name="connsiteY36" fmla="*/ 241905 h 242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236829" h="242468">
                <a:moveTo>
                  <a:pt x="177622" y="241905"/>
                </a:moveTo>
                <a:lnTo>
                  <a:pt x="212583" y="201305"/>
                </a:lnTo>
                <a:lnTo>
                  <a:pt x="221605" y="175367"/>
                </a:lnTo>
                <a:lnTo>
                  <a:pt x="226680" y="171983"/>
                </a:lnTo>
                <a:lnTo>
                  <a:pt x="231191" y="151120"/>
                </a:lnTo>
                <a:lnTo>
                  <a:pt x="226680" y="140406"/>
                </a:lnTo>
                <a:lnTo>
                  <a:pt x="229500" y="113904"/>
                </a:lnTo>
                <a:lnTo>
                  <a:pt x="236830" y="89093"/>
                </a:lnTo>
                <a:lnTo>
                  <a:pt x="238522" y="43419"/>
                </a:lnTo>
                <a:lnTo>
                  <a:pt x="222733" y="32141"/>
                </a:lnTo>
                <a:lnTo>
                  <a:pt x="208072" y="29322"/>
                </a:lnTo>
                <a:lnTo>
                  <a:pt x="201869" y="20300"/>
                </a:lnTo>
                <a:lnTo>
                  <a:pt x="187209" y="12969"/>
                </a:lnTo>
                <a:lnTo>
                  <a:pt x="161270" y="13533"/>
                </a:lnTo>
                <a:lnTo>
                  <a:pt x="159578" y="0"/>
                </a:lnTo>
                <a:lnTo>
                  <a:pt x="135896" y="5075"/>
                </a:lnTo>
                <a:lnTo>
                  <a:pt x="117287" y="19172"/>
                </a:lnTo>
                <a:lnTo>
                  <a:pt x="113340" y="31577"/>
                </a:lnTo>
                <a:lnTo>
                  <a:pt x="102063" y="34397"/>
                </a:lnTo>
                <a:lnTo>
                  <a:pt x="73304" y="64282"/>
                </a:lnTo>
                <a:lnTo>
                  <a:pt x="55261" y="87401"/>
                </a:lnTo>
                <a:lnTo>
                  <a:pt x="44547" y="87965"/>
                </a:lnTo>
                <a:lnTo>
                  <a:pt x="34961" y="84018"/>
                </a:lnTo>
                <a:lnTo>
                  <a:pt x="0" y="80071"/>
                </a:lnTo>
                <a:lnTo>
                  <a:pt x="10714" y="108829"/>
                </a:lnTo>
                <a:lnTo>
                  <a:pt x="16916" y="115032"/>
                </a:lnTo>
                <a:lnTo>
                  <a:pt x="25939" y="135895"/>
                </a:lnTo>
                <a:lnTo>
                  <a:pt x="59772" y="175367"/>
                </a:lnTo>
                <a:lnTo>
                  <a:pt x="72741" y="179314"/>
                </a:lnTo>
                <a:lnTo>
                  <a:pt x="72177" y="191719"/>
                </a:lnTo>
                <a:lnTo>
                  <a:pt x="80635" y="214839"/>
                </a:lnTo>
                <a:lnTo>
                  <a:pt x="104318" y="219913"/>
                </a:lnTo>
                <a:lnTo>
                  <a:pt x="123490" y="236266"/>
                </a:lnTo>
                <a:lnTo>
                  <a:pt x="135896" y="236830"/>
                </a:lnTo>
                <a:lnTo>
                  <a:pt x="150556" y="243033"/>
                </a:lnTo>
                <a:lnTo>
                  <a:pt x="161270" y="238521"/>
                </a:lnTo>
                <a:lnTo>
                  <a:pt x="177622" y="241905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3" name="Freeform: Shape 406">
            <a:extLst>
              <a:ext uri="{FF2B5EF4-FFF2-40B4-BE49-F238E27FC236}">
                <a16:creationId xmlns:a16="http://schemas.microsoft.com/office/drawing/2014/main" id="{37667E73-D0AE-4A4B-8FE9-A605DA876894}"/>
              </a:ext>
            </a:extLst>
          </p:cNvPr>
          <p:cNvSpPr/>
          <p:nvPr/>
        </p:nvSpPr>
        <p:spPr>
          <a:xfrm>
            <a:off x="6812763" y="3800526"/>
            <a:ext cx="231758" cy="366599"/>
          </a:xfrm>
          <a:custGeom>
            <a:avLst/>
            <a:gdLst>
              <a:gd name="connsiteX0" fmla="*/ 93040 w 310134"/>
              <a:gd name="connsiteY0" fmla="*/ 56388 h 490575"/>
              <a:gd name="connsiteX1" fmla="*/ 78379 w 310134"/>
              <a:gd name="connsiteY1" fmla="*/ 41163 h 490575"/>
              <a:gd name="connsiteX2" fmla="*/ 71612 w 310134"/>
              <a:gd name="connsiteY2" fmla="*/ 26502 h 490575"/>
              <a:gd name="connsiteX3" fmla="*/ 61463 w 310134"/>
              <a:gd name="connsiteY3" fmla="*/ 19736 h 490575"/>
              <a:gd name="connsiteX4" fmla="*/ 50185 w 310134"/>
              <a:gd name="connsiteY4" fmla="*/ 38908 h 490575"/>
              <a:gd name="connsiteX5" fmla="*/ 43982 w 310134"/>
              <a:gd name="connsiteY5" fmla="*/ 51877 h 490575"/>
              <a:gd name="connsiteX6" fmla="*/ 56388 w 310134"/>
              <a:gd name="connsiteY6" fmla="*/ 71613 h 490575"/>
              <a:gd name="connsiteX7" fmla="*/ 68229 w 310134"/>
              <a:gd name="connsiteY7" fmla="*/ 89093 h 490575"/>
              <a:gd name="connsiteX8" fmla="*/ 80634 w 310134"/>
              <a:gd name="connsiteY8" fmla="*/ 101498 h 490575"/>
              <a:gd name="connsiteX9" fmla="*/ 184952 w 310134"/>
              <a:gd name="connsiteY9" fmla="*/ 144353 h 490575"/>
              <a:gd name="connsiteX10" fmla="*/ 212019 w 310134"/>
              <a:gd name="connsiteY10" fmla="*/ 143789 h 490575"/>
              <a:gd name="connsiteX11" fmla="*/ 125181 w 310134"/>
              <a:gd name="connsiteY11" fmla="*/ 251490 h 490575"/>
              <a:gd name="connsiteX12" fmla="*/ 83454 w 310134"/>
              <a:gd name="connsiteY12" fmla="*/ 253182 h 490575"/>
              <a:gd name="connsiteX13" fmla="*/ 55824 w 310134"/>
              <a:gd name="connsiteY13" fmla="*/ 278557 h 490575"/>
              <a:gd name="connsiteX14" fmla="*/ 35524 w 310134"/>
              <a:gd name="connsiteY14" fmla="*/ 279121 h 490575"/>
              <a:gd name="connsiteX15" fmla="*/ 27066 w 310134"/>
              <a:gd name="connsiteY15" fmla="*/ 290398 h 490575"/>
              <a:gd name="connsiteX16" fmla="*/ 0 w 310134"/>
              <a:gd name="connsiteY16" fmla="*/ 330998 h 490575"/>
              <a:gd name="connsiteX17" fmla="*/ 1127 w 310134"/>
              <a:gd name="connsiteY17" fmla="*/ 461818 h 490575"/>
              <a:gd name="connsiteX18" fmla="*/ 19736 w 310134"/>
              <a:gd name="connsiteY18" fmla="*/ 491703 h 490575"/>
              <a:gd name="connsiteX19" fmla="*/ 27066 w 310134"/>
              <a:gd name="connsiteY19" fmla="*/ 483245 h 490575"/>
              <a:gd name="connsiteX20" fmla="*/ 34397 w 310134"/>
              <a:gd name="connsiteY20" fmla="*/ 464073 h 490575"/>
              <a:gd name="connsiteX21" fmla="*/ 68793 w 310134"/>
              <a:gd name="connsiteY21" fmla="*/ 420654 h 490575"/>
              <a:gd name="connsiteX22" fmla="*/ 98679 w 310134"/>
              <a:gd name="connsiteY22" fmla="*/ 393588 h 490575"/>
              <a:gd name="connsiteX23" fmla="*/ 145481 w 310134"/>
              <a:gd name="connsiteY23" fmla="*/ 357500 h 490575"/>
              <a:gd name="connsiteX24" fmla="*/ 177058 w 310134"/>
              <a:gd name="connsiteY24" fmla="*/ 328742 h 490575"/>
              <a:gd name="connsiteX25" fmla="*/ 213146 w 310134"/>
              <a:gd name="connsiteY25" fmla="*/ 279684 h 490575"/>
              <a:gd name="connsiteX26" fmla="*/ 239649 w 310134"/>
              <a:gd name="connsiteY26" fmla="*/ 239649 h 490575"/>
              <a:gd name="connsiteX27" fmla="*/ 265587 w 310134"/>
              <a:gd name="connsiteY27" fmla="*/ 187208 h 490575"/>
              <a:gd name="connsiteX28" fmla="*/ 283631 w 310134"/>
              <a:gd name="connsiteY28" fmla="*/ 140970 h 490575"/>
              <a:gd name="connsiteX29" fmla="*/ 297728 w 310134"/>
              <a:gd name="connsiteY29" fmla="*/ 100934 h 490575"/>
              <a:gd name="connsiteX30" fmla="*/ 305059 w 310134"/>
              <a:gd name="connsiteY30" fmla="*/ 62591 h 490575"/>
              <a:gd name="connsiteX31" fmla="*/ 311262 w 310134"/>
              <a:gd name="connsiteY31" fmla="*/ 49621 h 490575"/>
              <a:gd name="connsiteX32" fmla="*/ 310134 w 310134"/>
              <a:gd name="connsiteY32" fmla="*/ 30449 h 490575"/>
              <a:gd name="connsiteX33" fmla="*/ 312390 w 310134"/>
              <a:gd name="connsiteY33" fmla="*/ 9586 h 490575"/>
              <a:gd name="connsiteX34" fmla="*/ 311262 w 310134"/>
              <a:gd name="connsiteY34" fmla="*/ 0 h 490575"/>
              <a:gd name="connsiteX35" fmla="*/ 299420 w 310134"/>
              <a:gd name="connsiteY35" fmla="*/ 0 h 490575"/>
              <a:gd name="connsiteX36" fmla="*/ 284759 w 310134"/>
              <a:gd name="connsiteY36" fmla="*/ 12405 h 490575"/>
              <a:gd name="connsiteX37" fmla="*/ 268407 w 310134"/>
              <a:gd name="connsiteY37" fmla="*/ 15789 h 490575"/>
              <a:gd name="connsiteX38" fmla="*/ 254310 w 310134"/>
              <a:gd name="connsiteY38" fmla="*/ 20863 h 490575"/>
              <a:gd name="connsiteX39" fmla="*/ 244160 w 310134"/>
              <a:gd name="connsiteY39" fmla="*/ 21991 h 490575"/>
              <a:gd name="connsiteX40" fmla="*/ 244160 w 310134"/>
              <a:gd name="connsiteY40" fmla="*/ 21991 h 490575"/>
              <a:gd name="connsiteX41" fmla="*/ 226116 w 310134"/>
              <a:gd name="connsiteY41" fmla="*/ 23119 h 490575"/>
              <a:gd name="connsiteX42" fmla="*/ 215402 w 310134"/>
              <a:gd name="connsiteY42" fmla="*/ 29322 h 490575"/>
              <a:gd name="connsiteX43" fmla="*/ 199614 w 310134"/>
              <a:gd name="connsiteY43" fmla="*/ 32141 h 490575"/>
              <a:gd name="connsiteX44" fmla="*/ 172547 w 310134"/>
              <a:gd name="connsiteY44" fmla="*/ 42855 h 490575"/>
              <a:gd name="connsiteX45" fmla="*/ 138151 w 310134"/>
              <a:gd name="connsiteY45" fmla="*/ 47366 h 490575"/>
              <a:gd name="connsiteX46" fmla="*/ 108828 w 310134"/>
              <a:gd name="connsiteY46" fmla="*/ 56388 h 490575"/>
              <a:gd name="connsiteX47" fmla="*/ 93040 w 310134"/>
              <a:gd name="connsiteY47" fmla="*/ 56388 h 490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310134" h="490575">
                <a:moveTo>
                  <a:pt x="93040" y="56388"/>
                </a:moveTo>
                <a:lnTo>
                  <a:pt x="78379" y="41163"/>
                </a:lnTo>
                <a:lnTo>
                  <a:pt x="71612" y="26502"/>
                </a:lnTo>
                <a:lnTo>
                  <a:pt x="61463" y="19736"/>
                </a:lnTo>
                <a:lnTo>
                  <a:pt x="50185" y="38908"/>
                </a:lnTo>
                <a:lnTo>
                  <a:pt x="43982" y="51877"/>
                </a:lnTo>
                <a:lnTo>
                  <a:pt x="56388" y="71613"/>
                </a:lnTo>
                <a:lnTo>
                  <a:pt x="68229" y="89093"/>
                </a:lnTo>
                <a:lnTo>
                  <a:pt x="80634" y="101498"/>
                </a:lnTo>
                <a:lnTo>
                  <a:pt x="184952" y="144353"/>
                </a:lnTo>
                <a:lnTo>
                  <a:pt x="212019" y="143789"/>
                </a:lnTo>
                <a:lnTo>
                  <a:pt x="125181" y="251490"/>
                </a:lnTo>
                <a:lnTo>
                  <a:pt x="83454" y="253182"/>
                </a:lnTo>
                <a:lnTo>
                  <a:pt x="55824" y="278557"/>
                </a:lnTo>
                <a:lnTo>
                  <a:pt x="35524" y="279121"/>
                </a:lnTo>
                <a:lnTo>
                  <a:pt x="27066" y="290398"/>
                </a:lnTo>
                <a:lnTo>
                  <a:pt x="0" y="330998"/>
                </a:lnTo>
                <a:lnTo>
                  <a:pt x="1127" y="461818"/>
                </a:lnTo>
                <a:lnTo>
                  <a:pt x="19736" y="491703"/>
                </a:lnTo>
                <a:lnTo>
                  <a:pt x="27066" y="483245"/>
                </a:lnTo>
                <a:lnTo>
                  <a:pt x="34397" y="464073"/>
                </a:lnTo>
                <a:lnTo>
                  <a:pt x="68793" y="420654"/>
                </a:lnTo>
                <a:lnTo>
                  <a:pt x="98679" y="393588"/>
                </a:lnTo>
                <a:lnTo>
                  <a:pt x="145481" y="357500"/>
                </a:lnTo>
                <a:lnTo>
                  <a:pt x="177058" y="328742"/>
                </a:lnTo>
                <a:lnTo>
                  <a:pt x="213146" y="279684"/>
                </a:lnTo>
                <a:lnTo>
                  <a:pt x="239649" y="239649"/>
                </a:lnTo>
                <a:lnTo>
                  <a:pt x="265587" y="187208"/>
                </a:lnTo>
                <a:lnTo>
                  <a:pt x="283631" y="140970"/>
                </a:lnTo>
                <a:lnTo>
                  <a:pt x="297728" y="100934"/>
                </a:lnTo>
                <a:lnTo>
                  <a:pt x="305059" y="62591"/>
                </a:lnTo>
                <a:lnTo>
                  <a:pt x="311262" y="49621"/>
                </a:lnTo>
                <a:lnTo>
                  <a:pt x="310134" y="30449"/>
                </a:lnTo>
                <a:lnTo>
                  <a:pt x="312390" y="9586"/>
                </a:lnTo>
                <a:lnTo>
                  <a:pt x="311262" y="0"/>
                </a:lnTo>
                <a:lnTo>
                  <a:pt x="299420" y="0"/>
                </a:lnTo>
                <a:lnTo>
                  <a:pt x="284759" y="12405"/>
                </a:lnTo>
                <a:lnTo>
                  <a:pt x="268407" y="15789"/>
                </a:lnTo>
                <a:lnTo>
                  <a:pt x="254310" y="20863"/>
                </a:lnTo>
                <a:lnTo>
                  <a:pt x="244160" y="21991"/>
                </a:lnTo>
                <a:lnTo>
                  <a:pt x="244160" y="21991"/>
                </a:lnTo>
                <a:lnTo>
                  <a:pt x="226116" y="23119"/>
                </a:lnTo>
                <a:lnTo>
                  <a:pt x="215402" y="29322"/>
                </a:lnTo>
                <a:lnTo>
                  <a:pt x="199614" y="32141"/>
                </a:lnTo>
                <a:lnTo>
                  <a:pt x="172547" y="42855"/>
                </a:lnTo>
                <a:lnTo>
                  <a:pt x="138151" y="47366"/>
                </a:lnTo>
                <a:lnTo>
                  <a:pt x="108828" y="56388"/>
                </a:lnTo>
                <a:lnTo>
                  <a:pt x="93040" y="56388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4" name="Freeform: Shape 407">
            <a:extLst>
              <a:ext uri="{FF2B5EF4-FFF2-40B4-BE49-F238E27FC236}">
                <a16:creationId xmlns:a16="http://schemas.microsoft.com/office/drawing/2014/main" id="{E8B20D97-7886-41B7-A433-155C150B02B8}"/>
              </a:ext>
            </a:extLst>
          </p:cNvPr>
          <p:cNvSpPr/>
          <p:nvPr/>
        </p:nvSpPr>
        <p:spPr>
          <a:xfrm>
            <a:off x="4552066" y="3968236"/>
            <a:ext cx="67421" cy="96917"/>
          </a:xfrm>
          <a:custGeom>
            <a:avLst/>
            <a:gdLst>
              <a:gd name="connsiteX0" fmla="*/ 62027 w 90220"/>
              <a:gd name="connsiteY0" fmla="*/ 116723 h 129692"/>
              <a:gd name="connsiteX1" fmla="*/ 72177 w 90220"/>
              <a:gd name="connsiteY1" fmla="*/ 90221 h 129692"/>
              <a:gd name="connsiteX2" fmla="*/ 91912 w 90220"/>
              <a:gd name="connsiteY2" fmla="*/ 57516 h 129692"/>
              <a:gd name="connsiteX3" fmla="*/ 86837 w 90220"/>
              <a:gd name="connsiteY3" fmla="*/ 42855 h 129692"/>
              <a:gd name="connsiteX4" fmla="*/ 54132 w 90220"/>
              <a:gd name="connsiteY4" fmla="*/ 12405 h 129692"/>
              <a:gd name="connsiteX5" fmla="*/ 31013 w 90220"/>
              <a:gd name="connsiteY5" fmla="*/ 3947 h 129692"/>
              <a:gd name="connsiteX6" fmla="*/ 20300 w 90220"/>
              <a:gd name="connsiteY6" fmla="*/ 0 h 129692"/>
              <a:gd name="connsiteX7" fmla="*/ 2819 w 90220"/>
              <a:gd name="connsiteY7" fmla="*/ 31013 h 129692"/>
              <a:gd name="connsiteX8" fmla="*/ 5075 w 90220"/>
              <a:gd name="connsiteY8" fmla="*/ 55824 h 129692"/>
              <a:gd name="connsiteX9" fmla="*/ 16916 w 90220"/>
              <a:gd name="connsiteY9" fmla="*/ 76688 h 129692"/>
              <a:gd name="connsiteX10" fmla="*/ 11278 w 90220"/>
              <a:gd name="connsiteY10" fmla="*/ 91912 h 129692"/>
              <a:gd name="connsiteX11" fmla="*/ 7894 w 90220"/>
              <a:gd name="connsiteY11" fmla="*/ 108265 h 129692"/>
              <a:gd name="connsiteX12" fmla="*/ 0 w 90220"/>
              <a:gd name="connsiteY12" fmla="*/ 124054 h 129692"/>
              <a:gd name="connsiteX13" fmla="*/ 13533 w 90220"/>
              <a:gd name="connsiteY13" fmla="*/ 131384 h 129692"/>
              <a:gd name="connsiteX14" fmla="*/ 23683 w 90220"/>
              <a:gd name="connsiteY14" fmla="*/ 121234 h 129692"/>
              <a:gd name="connsiteX15" fmla="*/ 30449 w 90220"/>
              <a:gd name="connsiteY15" fmla="*/ 122926 h 129692"/>
              <a:gd name="connsiteX16" fmla="*/ 34960 w 90220"/>
              <a:gd name="connsiteY16" fmla="*/ 133076 h 129692"/>
              <a:gd name="connsiteX17" fmla="*/ 50185 w 90220"/>
              <a:gd name="connsiteY17" fmla="*/ 130256 h 129692"/>
              <a:gd name="connsiteX18" fmla="*/ 62027 w 90220"/>
              <a:gd name="connsiteY18" fmla="*/ 116723 h 129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90220" h="129692">
                <a:moveTo>
                  <a:pt x="62027" y="116723"/>
                </a:moveTo>
                <a:lnTo>
                  <a:pt x="72177" y="90221"/>
                </a:lnTo>
                <a:lnTo>
                  <a:pt x="91912" y="57516"/>
                </a:lnTo>
                <a:lnTo>
                  <a:pt x="86837" y="42855"/>
                </a:lnTo>
                <a:lnTo>
                  <a:pt x="54132" y="12405"/>
                </a:lnTo>
                <a:lnTo>
                  <a:pt x="31013" y="3947"/>
                </a:lnTo>
                <a:lnTo>
                  <a:pt x="20300" y="0"/>
                </a:lnTo>
                <a:lnTo>
                  <a:pt x="2819" y="31013"/>
                </a:lnTo>
                <a:lnTo>
                  <a:pt x="5075" y="55824"/>
                </a:lnTo>
                <a:lnTo>
                  <a:pt x="16916" y="76688"/>
                </a:lnTo>
                <a:lnTo>
                  <a:pt x="11278" y="91912"/>
                </a:lnTo>
                <a:lnTo>
                  <a:pt x="7894" y="108265"/>
                </a:lnTo>
                <a:lnTo>
                  <a:pt x="0" y="124054"/>
                </a:lnTo>
                <a:lnTo>
                  <a:pt x="13533" y="131384"/>
                </a:lnTo>
                <a:lnTo>
                  <a:pt x="23683" y="121234"/>
                </a:lnTo>
                <a:lnTo>
                  <a:pt x="30449" y="122926"/>
                </a:lnTo>
                <a:lnTo>
                  <a:pt x="34960" y="133076"/>
                </a:lnTo>
                <a:lnTo>
                  <a:pt x="50185" y="130256"/>
                </a:lnTo>
                <a:lnTo>
                  <a:pt x="62027" y="116723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5" name="Freeform: Shape 408">
            <a:extLst>
              <a:ext uri="{FF2B5EF4-FFF2-40B4-BE49-F238E27FC236}">
                <a16:creationId xmlns:a16="http://schemas.microsoft.com/office/drawing/2014/main" id="{F8BF90F7-4144-4CEB-B0B6-ECC663FCB36C}"/>
              </a:ext>
            </a:extLst>
          </p:cNvPr>
          <p:cNvSpPr/>
          <p:nvPr/>
        </p:nvSpPr>
        <p:spPr>
          <a:xfrm>
            <a:off x="5747518" y="2757614"/>
            <a:ext cx="299179" cy="252828"/>
          </a:xfrm>
          <a:custGeom>
            <a:avLst/>
            <a:gdLst>
              <a:gd name="connsiteX0" fmla="*/ 403738 w 400354"/>
              <a:gd name="connsiteY0" fmla="*/ 313517 h 338328"/>
              <a:gd name="connsiteX1" fmla="*/ 397535 w 400354"/>
              <a:gd name="connsiteY1" fmla="*/ 284196 h 338328"/>
              <a:gd name="connsiteX2" fmla="*/ 379492 w 400354"/>
              <a:gd name="connsiteY2" fmla="*/ 297165 h 338328"/>
              <a:gd name="connsiteX3" fmla="*/ 373853 w 400354"/>
              <a:gd name="connsiteY3" fmla="*/ 310134 h 338328"/>
              <a:gd name="connsiteX4" fmla="*/ 381747 w 400354"/>
              <a:gd name="connsiteY4" fmla="*/ 333817 h 338328"/>
              <a:gd name="connsiteX5" fmla="*/ 395280 w 400354"/>
              <a:gd name="connsiteY5" fmla="*/ 340584 h 338328"/>
              <a:gd name="connsiteX6" fmla="*/ 403738 w 400354"/>
              <a:gd name="connsiteY6" fmla="*/ 313517 h 338328"/>
              <a:gd name="connsiteX7" fmla="*/ 226116 w 400354"/>
              <a:gd name="connsiteY7" fmla="*/ 26502 h 338328"/>
              <a:gd name="connsiteX8" fmla="*/ 212583 w 400354"/>
              <a:gd name="connsiteY8" fmla="*/ 12969 h 338328"/>
              <a:gd name="connsiteX9" fmla="*/ 200177 w 400354"/>
              <a:gd name="connsiteY9" fmla="*/ 12405 h 338328"/>
              <a:gd name="connsiteX10" fmla="*/ 196231 w 400354"/>
              <a:gd name="connsiteY10" fmla="*/ 0 h 338328"/>
              <a:gd name="connsiteX11" fmla="*/ 171983 w 400354"/>
              <a:gd name="connsiteY11" fmla="*/ 6767 h 338328"/>
              <a:gd name="connsiteX12" fmla="*/ 164089 w 400354"/>
              <a:gd name="connsiteY12" fmla="*/ 35524 h 338328"/>
              <a:gd name="connsiteX13" fmla="*/ 100371 w 400354"/>
              <a:gd name="connsiteY13" fmla="*/ 62591 h 338328"/>
              <a:gd name="connsiteX14" fmla="*/ 74432 w 400354"/>
              <a:gd name="connsiteY14" fmla="*/ 47930 h 338328"/>
              <a:gd name="connsiteX15" fmla="*/ 82327 w 400354"/>
              <a:gd name="connsiteY15" fmla="*/ 87401 h 338328"/>
              <a:gd name="connsiteX16" fmla="*/ 36088 w 400354"/>
              <a:gd name="connsiteY16" fmla="*/ 78379 h 338328"/>
              <a:gd name="connsiteX17" fmla="*/ 0 w 400354"/>
              <a:gd name="connsiteY17" fmla="*/ 85710 h 338328"/>
              <a:gd name="connsiteX18" fmla="*/ 2256 w 400354"/>
              <a:gd name="connsiteY18" fmla="*/ 111648 h 338328"/>
              <a:gd name="connsiteX19" fmla="*/ 44547 w 400354"/>
              <a:gd name="connsiteY19" fmla="*/ 125181 h 338328"/>
              <a:gd name="connsiteX20" fmla="*/ 64846 w 400354"/>
              <a:gd name="connsiteY20" fmla="*/ 142662 h 338328"/>
              <a:gd name="connsiteX21" fmla="*/ 93604 w 400354"/>
              <a:gd name="connsiteY21" fmla="*/ 179314 h 338328"/>
              <a:gd name="connsiteX22" fmla="*/ 87965 w 400354"/>
              <a:gd name="connsiteY22" fmla="*/ 248671 h 338328"/>
              <a:gd name="connsiteX23" fmla="*/ 72741 w 400354"/>
              <a:gd name="connsiteY23" fmla="*/ 269535 h 338328"/>
              <a:gd name="connsiteX24" fmla="*/ 84018 w 400354"/>
              <a:gd name="connsiteY24" fmla="*/ 283068 h 338328"/>
              <a:gd name="connsiteX25" fmla="*/ 137023 w 400354"/>
              <a:gd name="connsiteY25" fmla="*/ 298857 h 338328"/>
              <a:gd name="connsiteX26" fmla="*/ 147737 w 400354"/>
              <a:gd name="connsiteY26" fmla="*/ 291526 h 338328"/>
              <a:gd name="connsiteX27" fmla="*/ 179878 w 400354"/>
              <a:gd name="connsiteY27" fmla="*/ 307315 h 338328"/>
              <a:gd name="connsiteX28" fmla="*/ 213711 w 400354"/>
              <a:gd name="connsiteY28" fmla="*/ 302804 h 338328"/>
              <a:gd name="connsiteX29" fmla="*/ 216530 w 400354"/>
              <a:gd name="connsiteY29" fmla="*/ 281940 h 338328"/>
              <a:gd name="connsiteX30" fmla="*/ 258257 w 400354"/>
              <a:gd name="connsiteY30" fmla="*/ 270663 h 338328"/>
              <a:gd name="connsiteX31" fmla="*/ 314645 w 400354"/>
              <a:gd name="connsiteY31" fmla="*/ 279684 h 338328"/>
              <a:gd name="connsiteX32" fmla="*/ 340020 w 400354"/>
              <a:gd name="connsiteY32" fmla="*/ 260513 h 338328"/>
              <a:gd name="connsiteX33" fmla="*/ 342839 w 400354"/>
              <a:gd name="connsiteY33" fmla="*/ 245288 h 338328"/>
              <a:gd name="connsiteX34" fmla="*/ 327615 w 400354"/>
              <a:gd name="connsiteY34" fmla="*/ 240777 h 338328"/>
              <a:gd name="connsiteX35" fmla="*/ 319156 w 400354"/>
              <a:gd name="connsiteY35" fmla="*/ 213711 h 338328"/>
              <a:gd name="connsiteX36" fmla="*/ 328742 w 400354"/>
              <a:gd name="connsiteY36" fmla="*/ 203561 h 338328"/>
              <a:gd name="connsiteX37" fmla="*/ 319720 w 400354"/>
              <a:gd name="connsiteY37" fmla="*/ 190028 h 338328"/>
              <a:gd name="connsiteX38" fmla="*/ 320848 w 400354"/>
              <a:gd name="connsiteY38" fmla="*/ 180442 h 338328"/>
              <a:gd name="connsiteX39" fmla="*/ 310698 w 400354"/>
              <a:gd name="connsiteY39" fmla="*/ 165217 h 338328"/>
              <a:gd name="connsiteX40" fmla="*/ 297165 w 400354"/>
              <a:gd name="connsiteY40" fmla="*/ 170292 h 338328"/>
              <a:gd name="connsiteX41" fmla="*/ 297165 w 400354"/>
              <a:gd name="connsiteY41" fmla="*/ 154503 h 338328"/>
              <a:gd name="connsiteX42" fmla="*/ 316901 w 400354"/>
              <a:gd name="connsiteY42" fmla="*/ 134767 h 338328"/>
              <a:gd name="connsiteX43" fmla="*/ 315773 w 400354"/>
              <a:gd name="connsiteY43" fmla="*/ 125745 h 338328"/>
              <a:gd name="connsiteX44" fmla="*/ 328742 w 400354"/>
              <a:gd name="connsiteY44" fmla="*/ 129129 h 338328"/>
              <a:gd name="connsiteX45" fmla="*/ 336073 w 400354"/>
              <a:gd name="connsiteY45" fmla="*/ 123490 h 338328"/>
              <a:gd name="connsiteX46" fmla="*/ 338892 w 400354"/>
              <a:gd name="connsiteY46" fmla="*/ 98115 h 338328"/>
              <a:gd name="connsiteX47" fmla="*/ 351861 w 400354"/>
              <a:gd name="connsiteY47" fmla="*/ 74432 h 338328"/>
              <a:gd name="connsiteX48" fmla="*/ 311826 w 400354"/>
              <a:gd name="connsiteY48" fmla="*/ 67666 h 338328"/>
              <a:gd name="connsiteX49" fmla="*/ 298293 w 400354"/>
              <a:gd name="connsiteY49" fmla="*/ 58644 h 338328"/>
              <a:gd name="connsiteX50" fmla="*/ 290398 w 400354"/>
              <a:gd name="connsiteY50" fmla="*/ 59207 h 338328"/>
              <a:gd name="connsiteX51" fmla="*/ 284196 w 400354"/>
              <a:gd name="connsiteY51" fmla="*/ 56388 h 338328"/>
              <a:gd name="connsiteX52" fmla="*/ 259385 w 400354"/>
              <a:gd name="connsiteY52" fmla="*/ 40599 h 338328"/>
              <a:gd name="connsiteX53" fmla="*/ 245288 w 400354"/>
              <a:gd name="connsiteY53" fmla="*/ 42855 h 338328"/>
              <a:gd name="connsiteX54" fmla="*/ 226116 w 400354"/>
              <a:gd name="connsiteY54" fmla="*/ 26502 h 3383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400354" h="338328">
                <a:moveTo>
                  <a:pt x="403738" y="313517"/>
                </a:moveTo>
                <a:lnTo>
                  <a:pt x="397535" y="284196"/>
                </a:lnTo>
                <a:lnTo>
                  <a:pt x="379492" y="297165"/>
                </a:lnTo>
                <a:lnTo>
                  <a:pt x="373853" y="310134"/>
                </a:lnTo>
                <a:lnTo>
                  <a:pt x="381747" y="333817"/>
                </a:lnTo>
                <a:lnTo>
                  <a:pt x="395280" y="340584"/>
                </a:lnTo>
                <a:lnTo>
                  <a:pt x="403738" y="313517"/>
                </a:lnTo>
                <a:close/>
                <a:moveTo>
                  <a:pt x="226116" y="26502"/>
                </a:moveTo>
                <a:lnTo>
                  <a:pt x="212583" y="12969"/>
                </a:lnTo>
                <a:lnTo>
                  <a:pt x="200177" y="12405"/>
                </a:lnTo>
                <a:lnTo>
                  <a:pt x="196231" y="0"/>
                </a:lnTo>
                <a:lnTo>
                  <a:pt x="171983" y="6767"/>
                </a:lnTo>
                <a:lnTo>
                  <a:pt x="164089" y="35524"/>
                </a:lnTo>
                <a:lnTo>
                  <a:pt x="100371" y="62591"/>
                </a:lnTo>
                <a:lnTo>
                  <a:pt x="74432" y="47930"/>
                </a:lnTo>
                <a:lnTo>
                  <a:pt x="82327" y="87401"/>
                </a:lnTo>
                <a:lnTo>
                  <a:pt x="36088" y="78379"/>
                </a:lnTo>
                <a:lnTo>
                  <a:pt x="0" y="85710"/>
                </a:lnTo>
                <a:lnTo>
                  <a:pt x="2256" y="111648"/>
                </a:lnTo>
                <a:lnTo>
                  <a:pt x="44547" y="125181"/>
                </a:lnTo>
                <a:lnTo>
                  <a:pt x="64846" y="142662"/>
                </a:lnTo>
                <a:lnTo>
                  <a:pt x="93604" y="179314"/>
                </a:lnTo>
                <a:lnTo>
                  <a:pt x="87965" y="248671"/>
                </a:lnTo>
                <a:lnTo>
                  <a:pt x="72741" y="269535"/>
                </a:lnTo>
                <a:lnTo>
                  <a:pt x="84018" y="283068"/>
                </a:lnTo>
                <a:lnTo>
                  <a:pt x="137023" y="298857"/>
                </a:lnTo>
                <a:lnTo>
                  <a:pt x="147737" y="291526"/>
                </a:lnTo>
                <a:lnTo>
                  <a:pt x="179878" y="307315"/>
                </a:lnTo>
                <a:lnTo>
                  <a:pt x="213711" y="302804"/>
                </a:lnTo>
                <a:lnTo>
                  <a:pt x="216530" y="281940"/>
                </a:lnTo>
                <a:lnTo>
                  <a:pt x="258257" y="270663"/>
                </a:lnTo>
                <a:lnTo>
                  <a:pt x="314645" y="279684"/>
                </a:lnTo>
                <a:lnTo>
                  <a:pt x="340020" y="260513"/>
                </a:lnTo>
                <a:lnTo>
                  <a:pt x="342839" y="245288"/>
                </a:lnTo>
                <a:lnTo>
                  <a:pt x="327615" y="240777"/>
                </a:lnTo>
                <a:lnTo>
                  <a:pt x="319156" y="213711"/>
                </a:lnTo>
                <a:lnTo>
                  <a:pt x="328742" y="203561"/>
                </a:lnTo>
                <a:lnTo>
                  <a:pt x="319720" y="190028"/>
                </a:lnTo>
                <a:lnTo>
                  <a:pt x="320848" y="180442"/>
                </a:lnTo>
                <a:lnTo>
                  <a:pt x="310698" y="165217"/>
                </a:lnTo>
                <a:lnTo>
                  <a:pt x="297165" y="170292"/>
                </a:lnTo>
                <a:lnTo>
                  <a:pt x="297165" y="154503"/>
                </a:lnTo>
                <a:lnTo>
                  <a:pt x="316901" y="134767"/>
                </a:lnTo>
                <a:lnTo>
                  <a:pt x="315773" y="125745"/>
                </a:lnTo>
                <a:lnTo>
                  <a:pt x="328742" y="129129"/>
                </a:lnTo>
                <a:lnTo>
                  <a:pt x="336073" y="123490"/>
                </a:lnTo>
                <a:lnTo>
                  <a:pt x="338892" y="98115"/>
                </a:lnTo>
                <a:lnTo>
                  <a:pt x="351861" y="74432"/>
                </a:lnTo>
                <a:lnTo>
                  <a:pt x="311826" y="67666"/>
                </a:lnTo>
                <a:lnTo>
                  <a:pt x="298293" y="58644"/>
                </a:lnTo>
                <a:lnTo>
                  <a:pt x="290398" y="59207"/>
                </a:lnTo>
                <a:lnTo>
                  <a:pt x="284196" y="56388"/>
                </a:lnTo>
                <a:lnTo>
                  <a:pt x="259385" y="40599"/>
                </a:lnTo>
                <a:lnTo>
                  <a:pt x="245288" y="42855"/>
                </a:lnTo>
                <a:lnTo>
                  <a:pt x="226116" y="26502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6" name="Freeform: Shape 409">
            <a:extLst>
              <a:ext uri="{FF2B5EF4-FFF2-40B4-BE49-F238E27FC236}">
                <a16:creationId xmlns:a16="http://schemas.microsoft.com/office/drawing/2014/main" id="{AAA46A2F-A019-4FD7-8CCB-C09210390BEF}"/>
              </a:ext>
            </a:extLst>
          </p:cNvPr>
          <p:cNvSpPr/>
          <p:nvPr/>
        </p:nvSpPr>
        <p:spPr>
          <a:xfrm>
            <a:off x="5640909" y="2950606"/>
            <a:ext cx="294965" cy="206475"/>
          </a:xfrm>
          <a:custGeom>
            <a:avLst/>
            <a:gdLst>
              <a:gd name="connsiteX0" fmla="*/ 316901 w 394716"/>
              <a:gd name="connsiteY0" fmla="*/ 178750 h 276301"/>
              <a:gd name="connsiteX1" fmla="*/ 316901 w 394716"/>
              <a:gd name="connsiteY1" fmla="*/ 177622 h 276301"/>
              <a:gd name="connsiteX2" fmla="*/ 314081 w 394716"/>
              <a:gd name="connsiteY2" fmla="*/ 177622 h 276301"/>
              <a:gd name="connsiteX3" fmla="*/ 312390 w 394716"/>
              <a:gd name="connsiteY3" fmla="*/ 175367 h 276301"/>
              <a:gd name="connsiteX4" fmla="*/ 311826 w 394716"/>
              <a:gd name="connsiteY4" fmla="*/ 176494 h 276301"/>
              <a:gd name="connsiteX5" fmla="*/ 311262 w 394716"/>
              <a:gd name="connsiteY5" fmla="*/ 177622 h 276301"/>
              <a:gd name="connsiteX6" fmla="*/ 311262 w 394716"/>
              <a:gd name="connsiteY6" fmla="*/ 178750 h 276301"/>
              <a:gd name="connsiteX7" fmla="*/ 314081 w 394716"/>
              <a:gd name="connsiteY7" fmla="*/ 178750 h 276301"/>
              <a:gd name="connsiteX8" fmla="*/ 316337 w 394716"/>
              <a:gd name="connsiteY8" fmla="*/ 179314 h 276301"/>
              <a:gd name="connsiteX9" fmla="*/ 316901 w 394716"/>
              <a:gd name="connsiteY9" fmla="*/ 178750 h 276301"/>
              <a:gd name="connsiteX10" fmla="*/ 312390 w 394716"/>
              <a:gd name="connsiteY10" fmla="*/ 169728 h 276301"/>
              <a:gd name="connsiteX11" fmla="*/ 314081 w 394716"/>
              <a:gd name="connsiteY11" fmla="*/ 169728 h 276301"/>
              <a:gd name="connsiteX12" fmla="*/ 317464 w 394716"/>
              <a:gd name="connsiteY12" fmla="*/ 165781 h 276301"/>
              <a:gd name="connsiteX13" fmla="*/ 317464 w 394716"/>
              <a:gd name="connsiteY13" fmla="*/ 164089 h 276301"/>
              <a:gd name="connsiteX14" fmla="*/ 315773 w 394716"/>
              <a:gd name="connsiteY14" fmla="*/ 162961 h 276301"/>
              <a:gd name="connsiteX15" fmla="*/ 309570 w 394716"/>
              <a:gd name="connsiteY15" fmla="*/ 164089 h 276301"/>
              <a:gd name="connsiteX16" fmla="*/ 308442 w 394716"/>
              <a:gd name="connsiteY16" fmla="*/ 165781 h 276301"/>
              <a:gd name="connsiteX17" fmla="*/ 308442 w 394716"/>
              <a:gd name="connsiteY17" fmla="*/ 167472 h 276301"/>
              <a:gd name="connsiteX18" fmla="*/ 306751 w 394716"/>
              <a:gd name="connsiteY18" fmla="*/ 168036 h 276301"/>
              <a:gd name="connsiteX19" fmla="*/ 306187 w 394716"/>
              <a:gd name="connsiteY19" fmla="*/ 170292 h 276301"/>
              <a:gd name="connsiteX20" fmla="*/ 306751 w 394716"/>
              <a:gd name="connsiteY20" fmla="*/ 171419 h 276301"/>
              <a:gd name="connsiteX21" fmla="*/ 311262 w 394716"/>
              <a:gd name="connsiteY21" fmla="*/ 171983 h 276301"/>
              <a:gd name="connsiteX22" fmla="*/ 312390 w 394716"/>
              <a:gd name="connsiteY22" fmla="*/ 169728 h 276301"/>
              <a:gd name="connsiteX23" fmla="*/ 215402 w 394716"/>
              <a:gd name="connsiteY23" fmla="*/ 11278 h 276301"/>
              <a:gd name="connsiteX24" fmla="*/ 169164 w 394716"/>
              <a:gd name="connsiteY24" fmla="*/ 10150 h 276301"/>
              <a:gd name="connsiteX25" fmla="*/ 145481 w 394716"/>
              <a:gd name="connsiteY25" fmla="*/ 11842 h 276301"/>
              <a:gd name="connsiteX26" fmla="*/ 115032 w 394716"/>
              <a:gd name="connsiteY26" fmla="*/ 6203 h 276301"/>
              <a:gd name="connsiteX27" fmla="*/ 76688 w 394716"/>
              <a:gd name="connsiteY27" fmla="*/ 6203 h 276301"/>
              <a:gd name="connsiteX28" fmla="*/ 41727 w 394716"/>
              <a:gd name="connsiteY28" fmla="*/ 0 h 276301"/>
              <a:gd name="connsiteX29" fmla="*/ 0 w 394716"/>
              <a:gd name="connsiteY29" fmla="*/ 25375 h 276301"/>
              <a:gd name="connsiteX30" fmla="*/ 11278 w 394716"/>
              <a:gd name="connsiteY30" fmla="*/ 40036 h 276301"/>
              <a:gd name="connsiteX31" fmla="*/ 9022 w 394716"/>
              <a:gd name="connsiteY31" fmla="*/ 64846 h 276301"/>
              <a:gd name="connsiteX32" fmla="*/ 19736 w 394716"/>
              <a:gd name="connsiteY32" fmla="*/ 55824 h 276301"/>
              <a:gd name="connsiteX33" fmla="*/ 31577 w 394716"/>
              <a:gd name="connsiteY33" fmla="*/ 50749 h 276301"/>
              <a:gd name="connsiteX34" fmla="*/ 38344 w 394716"/>
              <a:gd name="connsiteY34" fmla="*/ 68230 h 276301"/>
              <a:gd name="connsiteX35" fmla="*/ 55260 w 394716"/>
              <a:gd name="connsiteY35" fmla="*/ 68230 h 276301"/>
              <a:gd name="connsiteX36" fmla="*/ 60335 w 394716"/>
              <a:gd name="connsiteY36" fmla="*/ 63718 h 276301"/>
              <a:gd name="connsiteX37" fmla="*/ 77252 w 394716"/>
              <a:gd name="connsiteY37" fmla="*/ 64846 h 276301"/>
              <a:gd name="connsiteX38" fmla="*/ 84582 w 394716"/>
              <a:gd name="connsiteY38" fmla="*/ 82327 h 276301"/>
              <a:gd name="connsiteX39" fmla="*/ 71049 w 394716"/>
              <a:gd name="connsiteY39" fmla="*/ 91912 h 276301"/>
              <a:gd name="connsiteX40" fmla="*/ 69921 w 394716"/>
              <a:gd name="connsiteY40" fmla="*/ 119543 h 276301"/>
              <a:gd name="connsiteX41" fmla="*/ 64846 w 394716"/>
              <a:gd name="connsiteY41" fmla="*/ 124618 h 276301"/>
              <a:gd name="connsiteX42" fmla="*/ 63155 w 394716"/>
              <a:gd name="connsiteY42" fmla="*/ 141534 h 276301"/>
              <a:gd name="connsiteX43" fmla="*/ 50749 w 394716"/>
              <a:gd name="connsiteY43" fmla="*/ 144353 h 276301"/>
              <a:gd name="connsiteX44" fmla="*/ 62027 w 394716"/>
              <a:gd name="connsiteY44" fmla="*/ 165781 h 276301"/>
              <a:gd name="connsiteX45" fmla="*/ 53005 w 394716"/>
              <a:gd name="connsiteY45" fmla="*/ 190028 h 276301"/>
              <a:gd name="connsiteX46" fmla="*/ 63155 w 394716"/>
              <a:gd name="connsiteY46" fmla="*/ 200741 h 276301"/>
              <a:gd name="connsiteX47" fmla="*/ 58644 w 394716"/>
              <a:gd name="connsiteY47" fmla="*/ 210327 h 276301"/>
              <a:gd name="connsiteX48" fmla="*/ 47366 w 394716"/>
              <a:gd name="connsiteY48" fmla="*/ 224424 h 276301"/>
              <a:gd name="connsiteX49" fmla="*/ 49621 w 394716"/>
              <a:gd name="connsiteY49" fmla="*/ 236266 h 276301"/>
              <a:gd name="connsiteX50" fmla="*/ 76688 w 394716"/>
              <a:gd name="connsiteY50" fmla="*/ 241905 h 276301"/>
              <a:gd name="connsiteX51" fmla="*/ 84582 w 394716"/>
              <a:gd name="connsiteY51" fmla="*/ 262768 h 276301"/>
              <a:gd name="connsiteX52" fmla="*/ 95860 w 394716"/>
              <a:gd name="connsiteY52" fmla="*/ 275173 h 276301"/>
              <a:gd name="connsiteX53" fmla="*/ 109957 w 394716"/>
              <a:gd name="connsiteY53" fmla="*/ 278557 h 276301"/>
              <a:gd name="connsiteX54" fmla="*/ 121798 w 394716"/>
              <a:gd name="connsiteY54" fmla="*/ 264460 h 276301"/>
              <a:gd name="connsiteX55" fmla="*/ 140406 w 394716"/>
              <a:gd name="connsiteY55" fmla="*/ 251491 h 276301"/>
              <a:gd name="connsiteX56" fmla="*/ 168600 w 394716"/>
              <a:gd name="connsiteY56" fmla="*/ 252054 h 276301"/>
              <a:gd name="connsiteX57" fmla="*/ 206380 w 394716"/>
              <a:gd name="connsiteY57" fmla="*/ 252054 h 276301"/>
              <a:gd name="connsiteX58" fmla="*/ 227808 w 394716"/>
              <a:gd name="connsiteY58" fmla="*/ 223860 h 276301"/>
              <a:gd name="connsiteX59" fmla="*/ 249799 w 394716"/>
              <a:gd name="connsiteY59" fmla="*/ 216530 h 276301"/>
              <a:gd name="connsiteX60" fmla="*/ 256565 w 394716"/>
              <a:gd name="connsiteY60" fmla="*/ 192847 h 276301"/>
              <a:gd name="connsiteX61" fmla="*/ 273482 w 394716"/>
              <a:gd name="connsiteY61" fmla="*/ 176494 h 276301"/>
              <a:gd name="connsiteX62" fmla="*/ 262204 w 394716"/>
              <a:gd name="connsiteY62" fmla="*/ 155631 h 276301"/>
              <a:gd name="connsiteX63" fmla="*/ 273482 w 394716"/>
              <a:gd name="connsiteY63" fmla="*/ 126873 h 276301"/>
              <a:gd name="connsiteX64" fmla="*/ 290962 w 394716"/>
              <a:gd name="connsiteY64" fmla="*/ 107137 h 276301"/>
              <a:gd name="connsiteX65" fmla="*/ 293782 w 394716"/>
              <a:gd name="connsiteY65" fmla="*/ 95296 h 276301"/>
              <a:gd name="connsiteX66" fmla="*/ 330998 w 394716"/>
              <a:gd name="connsiteY66" fmla="*/ 87965 h 276301"/>
              <a:gd name="connsiteX67" fmla="*/ 358064 w 394716"/>
              <a:gd name="connsiteY67" fmla="*/ 64282 h 276301"/>
              <a:gd name="connsiteX68" fmla="*/ 356372 w 394716"/>
              <a:gd name="connsiteY68" fmla="*/ 44546 h 276301"/>
              <a:gd name="connsiteX69" fmla="*/ 322539 w 394716"/>
              <a:gd name="connsiteY69" fmla="*/ 49058 h 276301"/>
              <a:gd name="connsiteX70" fmla="*/ 290398 w 394716"/>
              <a:gd name="connsiteY70" fmla="*/ 33269 h 276301"/>
              <a:gd name="connsiteX71" fmla="*/ 279685 w 394716"/>
              <a:gd name="connsiteY71" fmla="*/ 40599 h 276301"/>
              <a:gd name="connsiteX72" fmla="*/ 226680 w 394716"/>
              <a:gd name="connsiteY72" fmla="*/ 24811 h 276301"/>
              <a:gd name="connsiteX73" fmla="*/ 215402 w 394716"/>
              <a:gd name="connsiteY73" fmla="*/ 11278 h 276301"/>
              <a:gd name="connsiteX74" fmla="*/ 362011 w 394716"/>
              <a:gd name="connsiteY74" fmla="*/ 138715 h 276301"/>
              <a:gd name="connsiteX75" fmla="*/ 362575 w 394716"/>
              <a:gd name="connsiteY75" fmla="*/ 137023 h 276301"/>
              <a:gd name="connsiteX76" fmla="*/ 363139 w 394716"/>
              <a:gd name="connsiteY76" fmla="*/ 135895 h 276301"/>
              <a:gd name="connsiteX77" fmla="*/ 363703 w 394716"/>
              <a:gd name="connsiteY77" fmla="*/ 135331 h 276301"/>
              <a:gd name="connsiteX78" fmla="*/ 362575 w 394716"/>
              <a:gd name="connsiteY78" fmla="*/ 134203 h 276301"/>
              <a:gd name="connsiteX79" fmla="*/ 362575 w 394716"/>
              <a:gd name="connsiteY79" fmla="*/ 133640 h 276301"/>
              <a:gd name="connsiteX80" fmla="*/ 363703 w 394716"/>
              <a:gd name="connsiteY80" fmla="*/ 132512 h 276301"/>
              <a:gd name="connsiteX81" fmla="*/ 362575 w 394716"/>
              <a:gd name="connsiteY81" fmla="*/ 131948 h 276301"/>
              <a:gd name="connsiteX82" fmla="*/ 355244 w 394716"/>
              <a:gd name="connsiteY82" fmla="*/ 134203 h 276301"/>
              <a:gd name="connsiteX83" fmla="*/ 351297 w 394716"/>
              <a:gd name="connsiteY83" fmla="*/ 136459 h 276301"/>
              <a:gd name="connsiteX84" fmla="*/ 339456 w 394716"/>
              <a:gd name="connsiteY84" fmla="*/ 144917 h 276301"/>
              <a:gd name="connsiteX85" fmla="*/ 339456 w 394716"/>
              <a:gd name="connsiteY85" fmla="*/ 146609 h 276301"/>
              <a:gd name="connsiteX86" fmla="*/ 340020 w 394716"/>
              <a:gd name="connsiteY86" fmla="*/ 147737 h 276301"/>
              <a:gd name="connsiteX87" fmla="*/ 342275 w 394716"/>
              <a:gd name="connsiteY87" fmla="*/ 147737 h 276301"/>
              <a:gd name="connsiteX88" fmla="*/ 343403 w 394716"/>
              <a:gd name="connsiteY88" fmla="*/ 149992 h 276301"/>
              <a:gd name="connsiteX89" fmla="*/ 345658 w 394716"/>
              <a:gd name="connsiteY89" fmla="*/ 147737 h 276301"/>
              <a:gd name="connsiteX90" fmla="*/ 347350 w 394716"/>
              <a:gd name="connsiteY90" fmla="*/ 147173 h 276301"/>
              <a:gd name="connsiteX91" fmla="*/ 349042 w 394716"/>
              <a:gd name="connsiteY91" fmla="*/ 147737 h 276301"/>
              <a:gd name="connsiteX92" fmla="*/ 350733 w 394716"/>
              <a:gd name="connsiteY92" fmla="*/ 148864 h 276301"/>
              <a:gd name="connsiteX93" fmla="*/ 351297 w 394716"/>
              <a:gd name="connsiteY93" fmla="*/ 152248 h 276301"/>
              <a:gd name="connsiteX94" fmla="*/ 351861 w 394716"/>
              <a:gd name="connsiteY94" fmla="*/ 153375 h 276301"/>
              <a:gd name="connsiteX95" fmla="*/ 355244 w 394716"/>
              <a:gd name="connsiteY95" fmla="*/ 153939 h 276301"/>
              <a:gd name="connsiteX96" fmla="*/ 360319 w 394716"/>
              <a:gd name="connsiteY96" fmla="*/ 156195 h 276301"/>
              <a:gd name="connsiteX97" fmla="*/ 362575 w 394716"/>
              <a:gd name="connsiteY97" fmla="*/ 155067 h 276301"/>
              <a:gd name="connsiteX98" fmla="*/ 365394 w 394716"/>
              <a:gd name="connsiteY98" fmla="*/ 153375 h 276301"/>
              <a:gd name="connsiteX99" fmla="*/ 366522 w 394716"/>
              <a:gd name="connsiteY99" fmla="*/ 149992 h 276301"/>
              <a:gd name="connsiteX100" fmla="*/ 368214 w 394716"/>
              <a:gd name="connsiteY100" fmla="*/ 147173 h 276301"/>
              <a:gd name="connsiteX101" fmla="*/ 369906 w 394716"/>
              <a:gd name="connsiteY101" fmla="*/ 144353 h 276301"/>
              <a:gd name="connsiteX102" fmla="*/ 371597 w 394716"/>
              <a:gd name="connsiteY102" fmla="*/ 142098 h 276301"/>
              <a:gd name="connsiteX103" fmla="*/ 371033 w 394716"/>
              <a:gd name="connsiteY103" fmla="*/ 139842 h 276301"/>
              <a:gd name="connsiteX104" fmla="*/ 369341 w 394716"/>
              <a:gd name="connsiteY104" fmla="*/ 139278 h 276301"/>
              <a:gd name="connsiteX105" fmla="*/ 367650 w 394716"/>
              <a:gd name="connsiteY105" fmla="*/ 138715 h 276301"/>
              <a:gd name="connsiteX106" fmla="*/ 364830 w 394716"/>
              <a:gd name="connsiteY106" fmla="*/ 139842 h 276301"/>
              <a:gd name="connsiteX107" fmla="*/ 362011 w 394716"/>
              <a:gd name="connsiteY107" fmla="*/ 138715 h 276301"/>
              <a:gd name="connsiteX108" fmla="*/ 395844 w 394716"/>
              <a:gd name="connsiteY108" fmla="*/ 137023 h 276301"/>
              <a:gd name="connsiteX109" fmla="*/ 396408 w 394716"/>
              <a:gd name="connsiteY109" fmla="*/ 134767 h 276301"/>
              <a:gd name="connsiteX110" fmla="*/ 396408 w 394716"/>
              <a:gd name="connsiteY110" fmla="*/ 134203 h 276301"/>
              <a:gd name="connsiteX111" fmla="*/ 393588 w 394716"/>
              <a:gd name="connsiteY111" fmla="*/ 130256 h 276301"/>
              <a:gd name="connsiteX112" fmla="*/ 388513 w 394716"/>
              <a:gd name="connsiteY112" fmla="*/ 128565 h 276301"/>
              <a:gd name="connsiteX113" fmla="*/ 382875 w 394716"/>
              <a:gd name="connsiteY113" fmla="*/ 129128 h 276301"/>
              <a:gd name="connsiteX114" fmla="*/ 382311 w 394716"/>
              <a:gd name="connsiteY114" fmla="*/ 129692 h 276301"/>
              <a:gd name="connsiteX115" fmla="*/ 382311 w 394716"/>
              <a:gd name="connsiteY115" fmla="*/ 131948 h 276301"/>
              <a:gd name="connsiteX116" fmla="*/ 382875 w 394716"/>
              <a:gd name="connsiteY116" fmla="*/ 132512 h 276301"/>
              <a:gd name="connsiteX117" fmla="*/ 386258 w 394716"/>
              <a:gd name="connsiteY117" fmla="*/ 133076 h 276301"/>
              <a:gd name="connsiteX118" fmla="*/ 395280 w 394716"/>
              <a:gd name="connsiteY118" fmla="*/ 137023 h 276301"/>
              <a:gd name="connsiteX119" fmla="*/ 395844 w 394716"/>
              <a:gd name="connsiteY119" fmla="*/ 137023 h 2763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</a:cxnLst>
            <a:rect l="l" t="t" r="r" b="b"/>
            <a:pathLst>
              <a:path w="394716" h="276301">
                <a:moveTo>
                  <a:pt x="316901" y="178750"/>
                </a:moveTo>
                <a:lnTo>
                  <a:pt x="316901" y="177622"/>
                </a:lnTo>
                <a:lnTo>
                  <a:pt x="314081" y="177622"/>
                </a:lnTo>
                <a:lnTo>
                  <a:pt x="312390" y="175367"/>
                </a:lnTo>
                <a:lnTo>
                  <a:pt x="311826" y="176494"/>
                </a:lnTo>
                <a:lnTo>
                  <a:pt x="311262" y="177622"/>
                </a:lnTo>
                <a:lnTo>
                  <a:pt x="311262" y="178750"/>
                </a:lnTo>
                <a:lnTo>
                  <a:pt x="314081" y="178750"/>
                </a:lnTo>
                <a:lnTo>
                  <a:pt x="316337" y="179314"/>
                </a:lnTo>
                <a:lnTo>
                  <a:pt x="316901" y="178750"/>
                </a:lnTo>
                <a:close/>
                <a:moveTo>
                  <a:pt x="312390" y="169728"/>
                </a:moveTo>
                <a:lnTo>
                  <a:pt x="314081" y="169728"/>
                </a:lnTo>
                <a:lnTo>
                  <a:pt x="317464" y="165781"/>
                </a:lnTo>
                <a:lnTo>
                  <a:pt x="317464" y="164089"/>
                </a:lnTo>
                <a:lnTo>
                  <a:pt x="315773" y="162961"/>
                </a:lnTo>
                <a:lnTo>
                  <a:pt x="309570" y="164089"/>
                </a:lnTo>
                <a:lnTo>
                  <a:pt x="308442" y="165781"/>
                </a:lnTo>
                <a:lnTo>
                  <a:pt x="308442" y="167472"/>
                </a:lnTo>
                <a:lnTo>
                  <a:pt x="306751" y="168036"/>
                </a:lnTo>
                <a:lnTo>
                  <a:pt x="306187" y="170292"/>
                </a:lnTo>
                <a:lnTo>
                  <a:pt x="306751" y="171419"/>
                </a:lnTo>
                <a:lnTo>
                  <a:pt x="311262" y="171983"/>
                </a:lnTo>
                <a:lnTo>
                  <a:pt x="312390" y="169728"/>
                </a:lnTo>
                <a:close/>
                <a:moveTo>
                  <a:pt x="215402" y="11278"/>
                </a:moveTo>
                <a:lnTo>
                  <a:pt x="169164" y="10150"/>
                </a:lnTo>
                <a:lnTo>
                  <a:pt x="145481" y="11842"/>
                </a:lnTo>
                <a:lnTo>
                  <a:pt x="115032" y="6203"/>
                </a:lnTo>
                <a:lnTo>
                  <a:pt x="76688" y="6203"/>
                </a:lnTo>
                <a:lnTo>
                  <a:pt x="41727" y="0"/>
                </a:lnTo>
                <a:lnTo>
                  <a:pt x="0" y="25375"/>
                </a:lnTo>
                <a:lnTo>
                  <a:pt x="11278" y="40036"/>
                </a:lnTo>
                <a:lnTo>
                  <a:pt x="9022" y="64846"/>
                </a:lnTo>
                <a:lnTo>
                  <a:pt x="19736" y="55824"/>
                </a:lnTo>
                <a:lnTo>
                  <a:pt x="31577" y="50749"/>
                </a:lnTo>
                <a:lnTo>
                  <a:pt x="38344" y="68230"/>
                </a:lnTo>
                <a:lnTo>
                  <a:pt x="55260" y="68230"/>
                </a:lnTo>
                <a:lnTo>
                  <a:pt x="60335" y="63718"/>
                </a:lnTo>
                <a:lnTo>
                  <a:pt x="77252" y="64846"/>
                </a:lnTo>
                <a:lnTo>
                  <a:pt x="84582" y="82327"/>
                </a:lnTo>
                <a:lnTo>
                  <a:pt x="71049" y="91912"/>
                </a:lnTo>
                <a:lnTo>
                  <a:pt x="69921" y="119543"/>
                </a:lnTo>
                <a:lnTo>
                  <a:pt x="64846" y="124618"/>
                </a:lnTo>
                <a:lnTo>
                  <a:pt x="63155" y="141534"/>
                </a:lnTo>
                <a:lnTo>
                  <a:pt x="50749" y="144353"/>
                </a:lnTo>
                <a:lnTo>
                  <a:pt x="62027" y="165781"/>
                </a:lnTo>
                <a:lnTo>
                  <a:pt x="53005" y="190028"/>
                </a:lnTo>
                <a:lnTo>
                  <a:pt x="63155" y="200741"/>
                </a:lnTo>
                <a:lnTo>
                  <a:pt x="58644" y="210327"/>
                </a:lnTo>
                <a:lnTo>
                  <a:pt x="47366" y="224424"/>
                </a:lnTo>
                <a:lnTo>
                  <a:pt x="49621" y="236266"/>
                </a:lnTo>
                <a:lnTo>
                  <a:pt x="76688" y="241905"/>
                </a:lnTo>
                <a:lnTo>
                  <a:pt x="84582" y="262768"/>
                </a:lnTo>
                <a:lnTo>
                  <a:pt x="95860" y="275173"/>
                </a:lnTo>
                <a:lnTo>
                  <a:pt x="109957" y="278557"/>
                </a:lnTo>
                <a:lnTo>
                  <a:pt x="121798" y="264460"/>
                </a:lnTo>
                <a:lnTo>
                  <a:pt x="140406" y="251491"/>
                </a:lnTo>
                <a:lnTo>
                  <a:pt x="168600" y="252054"/>
                </a:lnTo>
                <a:lnTo>
                  <a:pt x="206380" y="252054"/>
                </a:lnTo>
                <a:lnTo>
                  <a:pt x="227808" y="223860"/>
                </a:lnTo>
                <a:lnTo>
                  <a:pt x="249799" y="216530"/>
                </a:lnTo>
                <a:lnTo>
                  <a:pt x="256565" y="192847"/>
                </a:lnTo>
                <a:lnTo>
                  <a:pt x="273482" y="176494"/>
                </a:lnTo>
                <a:lnTo>
                  <a:pt x="262204" y="155631"/>
                </a:lnTo>
                <a:lnTo>
                  <a:pt x="273482" y="126873"/>
                </a:lnTo>
                <a:lnTo>
                  <a:pt x="290962" y="107137"/>
                </a:lnTo>
                <a:lnTo>
                  <a:pt x="293782" y="95296"/>
                </a:lnTo>
                <a:lnTo>
                  <a:pt x="330998" y="87965"/>
                </a:lnTo>
                <a:lnTo>
                  <a:pt x="358064" y="64282"/>
                </a:lnTo>
                <a:lnTo>
                  <a:pt x="356372" y="44546"/>
                </a:lnTo>
                <a:lnTo>
                  <a:pt x="322539" y="49058"/>
                </a:lnTo>
                <a:lnTo>
                  <a:pt x="290398" y="33269"/>
                </a:lnTo>
                <a:lnTo>
                  <a:pt x="279685" y="40599"/>
                </a:lnTo>
                <a:lnTo>
                  <a:pt x="226680" y="24811"/>
                </a:lnTo>
                <a:lnTo>
                  <a:pt x="215402" y="11278"/>
                </a:lnTo>
                <a:close/>
                <a:moveTo>
                  <a:pt x="362011" y="138715"/>
                </a:moveTo>
                <a:lnTo>
                  <a:pt x="362575" y="137023"/>
                </a:lnTo>
                <a:lnTo>
                  <a:pt x="363139" y="135895"/>
                </a:lnTo>
                <a:lnTo>
                  <a:pt x="363703" y="135331"/>
                </a:lnTo>
                <a:lnTo>
                  <a:pt x="362575" y="134203"/>
                </a:lnTo>
                <a:lnTo>
                  <a:pt x="362575" y="133640"/>
                </a:lnTo>
                <a:lnTo>
                  <a:pt x="363703" y="132512"/>
                </a:lnTo>
                <a:lnTo>
                  <a:pt x="362575" y="131948"/>
                </a:lnTo>
                <a:lnTo>
                  <a:pt x="355244" y="134203"/>
                </a:lnTo>
                <a:lnTo>
                  <a:pt x="351297" y="136459"/>
                </a:lnTo>
                <a:lnTo>
                  <a:pt x="339456" y="144917"/>
                </a:lnTo>
                <a:lnTo>
                  <a:pt x="339456" y="146609"/>
                </a:lnTo>
                <a:lnTo>
                  <a:pt x="340020" y="147737"/>
                </a:lnTo>
                <a:lnTo>
                  <a:pt x="342275" y="147737"/>
                </a:lnTo>
                <a:lnTo>
                  <a:pt x="343403" y="149992"/>
                </a:lnTo>
                <a:lnTo>
                  <a:pt x="345658" y="147737"/>
                </a:lnTo>
                <a:lnTo>
                  <a:pt x="347350" y="147173"/>
                </a:lnTo>
                <a:lnTo>
                  <a:pt x="349042" y="147737"/>
                </a:lnTo>
                <a:lnTo>
                  <a:pt x="350733" y="148864"/>
                </a:lnTo>
                <a:lnTo>
                  <a:pt x="351297" y="152248"/>
                </a:lnTo>
                <a:lnTo>
                  <a:pt x="351861" y="153375"/>
                </a:lnTo>
                <a:lnTo>
                  <a:pt x="355244" y="153939"/>
                </a:lnTo>
                <a:lnTo>
                  <a:pt x="360319" y="156195"/>
                </a:lnTo>
                <a:lnTo>
                  <a:pt x="362575" y="155067"/>
                </a:lnTo>
                <a:lnTo>
                  <a:pt x="365394" y="153375"/>
                </a:lnTo>
                <a:lnTo>
                  <a:pt x="366522" y="149992"/>
                </a:lnTo>
                <a:lnTo>
                  <a:pt x="368214" y="147173"/>
                </a:lnTo>
                <a:lnTo>
                  <a:pt x="369906" y="144353"/>
                </a:lnTo>
                <a:lnTo>
                  <a:pt x="371597" y="142098"/>
                </a:lnTo>
                <a:lnTo>
                  <a:pt x="371033" y="139842"/>
                </a:lnTo>
                <a:lnTo>
                  <a:pt x="369341" y="139278"/>
                </a:lnTo>
                <a:lnTo>
                  <a:pt x="367650" y="138715"/>
                </a:lnTo>
                <a:lnTo>
                  <a:pt x="364830" y="139842"/>
                </a:lnTo>
                <a:lnTo>
                  <a:pt x="362011" y="138715"/>
                </a:lnTo>
                <a:close/>
                <a:moveTo>
                  <a:pt x="395844" y="137023"/>
                </a:moveTo>
                <a:lnTo>
                  <a:pt x="396408" y="134767"/>
                </a:lnTo>
                <a:lnTo>
                  <a:pt x="396408" y="134203"/>
                </a:lnTo>
                <a:lnTo>
                  <a:pt x="393588" y="130256"/>
                </a:lnTo>
                <a:lnTo>
                  <a:pt x="388513" y="128565"/>
                </a:lnTo>
                <a:lnTo>
                  <a:pt x="382875" y="129128"/>
                </a:lnTo>
                <a:lnTo>
                  <a:pt x="382311" y="129692"/>
                </a:lnTo>
                <a:lnTo>
                  <a:pt x="382311" y="131948"/>
                </a:lnTo>
                <a:lnTo>
                  <a:pt x="382875" y="132512"/>
                </a:lnTo>
                <a:lnTo>
                  <a:pt x="386258" y="133076"/>
                </a:lnTo>
                <a:lnTo>
                  <a:pt x="395280" y="137023"/>
                </a:lnTo>
                <a:lnTo>
                  <a:pt x="395844" y="137023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7" name="Freeform: Shape 410">
            <a:extLst>
              <a:ext uri="{FF2B5EF4-FFF2-40B4-BE49-F238E27FC236}">
                <a16:creationId xmlns:a16="http://schemas.microsoft.com/office/drawing/2014/main" id="{4A035A8B-6E17-4805-B450-453C16C12C8A}"/>
              </a:ext>
            </a:extLst>
          </p:cNvPr>
          <p:cNvSpPr/>
          <p:nvPr/>
        </p:nvSpPr>
        <p:spPr>
          <a:xfrm>
            <a:off x="4195158" y="3784515"/>
            <a:ext cx="4214" cy="4214"/>
          </a:xfrm>
          <a:custGeom>
            <a:avLst/>
            <a:gdLst>
              <a:gd name="connsiteX0" fmla="*/ 5075 w 0"/>
              <a:gd name="connsiteY0" fmla="*/ 5639 h 5638"/>
              <a:gd name="connsiteX1" fmla="*/ 4511 w 0"/>
              <a:gd name="connsiteY1" fmla="*/ 5075 h 5638"/>
              <a:gd name="connsiteX2" fmla="*/ 2819 w 0"/>
              <a:gd name="connsiteY2" fmla="*/ 1692 h 5638"/>
              <a:gd name="connsiteX3" fmla="*/ 1128 w 0"/>
              <a:gd name="connsiteY3" fmla="*/ 0 h 5638"/>
              <a:gd name="connsiteX4" fmla="*/ 564 w 0"/>
              <a:gd name="connsiteY4" fmla="*/ 564 h 5638"/>
              <a:gd name="connsiteX5" fmla="*/ 0 w 0"/>
              <a:gd name="connsiteY5" fmla="*/ 2255 h 5638"/>
              <a:gd name="connsiteX6" fmla="*/ 1692 w 0"/>
              <a:gd name="connsiteY6" fmla="*/ 3947 h 5638"/>
              <a:gd name="connsiteX7" fmla="*/ 3383 w 0"/>
              <a:gd name="connsiteY7" fmla="*/ 6203 h 5638"/>
              <a:gd name="connsiteX8" fmla="*/ 5075 w 0"/>
              <a:gd name="connsiteY8" fmla="*/ 6767 h 5638"/>
              <a:gd name="connsiteX9" fmla="*/ 5075 w 0"/>
              <a:gd name="connsiteY9" fmla="*/ 5639 h 5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h="5638">
                <a:moveTo>
                  <a:pt x="5075" y="5639"/>
                </a:moveTo>
                <a:lnTo>
                  <a:pt x="4511" y="5075"/>
                </a:lnTo>
                <a:lnTo>
                  <a:pt x="2819" y="1692"/>
                </a:lnTo>
                <a:lnTo>
                  <a:pt x="1128" y="0"/>
                </a:lnTo>
                <a:lnTo>
                  <a:pt x="564" y="564"/>
                </a:lnTo>
                <a:lnTo>
                  <a:pt x="0" y="2255"/>
                </a:lnTo>
                <a:lnTo>
                  <a:pt x="1692" y="3947"/>
                </a:lnTo>
                <a:lnTo>
                  <a:pt x="3383" y="6203"/>
                </a:lnTo>
                <a:lnTo>
                  <a:pt x="5075" y="6767"/>
                </a:lnTo>
                <a:lnTo>
                  <a:pt x="5075" y="5639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8" name="Freeform: Shape 411">
            <a:extLst>
              <a:ext uri="{FF2B5EF4-FFF2-40B4-BE49-F238E27FC236}">
                <a16:creationId xmlns:a16="http://schemas.microsoft.com/office/drawing/2014/main" id="{5899FC00-9340-4DCB-B1EB-EED2EEAAF68A}"/>
              </a:ext>
            </a:extLst>
          </p:cNvPr>
          <p:cNvSpPr/>
          <p:nvPr/>
        </p:nvSpPr>
        <p:spPr>
          <a:xfrm>
            <a:off x="4369189" y="3632818"/>
            <a:ext cx="4214" cy="4214"/>
          </a:xfrm>
          <a:custGeom>
            <a:avLst/>
            <a:gdLst>
              <a:gd name="connsiteX0" fmla="*/ 5075 w 5638"/>
              <a:gd name="connsiteY0" fmla="*/ 1692 h 0"/>
              <a:gd name="connsiteX1" fmla="*/ 5639 w 5638"/>
              <a:gd name="connsiteY1" fmla="*/ 564 h 0"/>
              <a:gd name="connsiteX2" fmla="*/ 4511 w 5638"/>
              <a:gd name="connsiteY2" fmla="*/ 0 h 0"/>
              <a:gd name="connsiteX3" fmla="*/ 0 w 5638"/>
              <a:gd name="connsiteY3" fmla="*/ 2819 h 0"/>
              <a:gd name="connsiteX4" fmla="*/ 0 w 5638"/>
              <a:gd name="connsiteY4" fmla="*/ 3383 h 0"/>
              <a:gd name="connsiteX5" fmla="*/ 5075 w 5638"/>
              <a:gd name="connsiteY5" fmla="*/ 1692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638">
                <a:moveTo>
                  <a:pt x="5075" y="1692"/>
                </a:moveTo>
                <a:lnTo>
                  <a:pt x="5639" y="564"/>
                </a:lnTo>
                <a:lnTo>
                  <a:pt x="4511" y="0"/>
                </a:lnTo>
                <a:lnTo>
                  <a:pt x="0" y="2819"/>
                </a:lnTo>
                <a:lnTo>
                  <a:pt x="0" y="3383"/>
                </a:lnTo>
                <a:lnTo>
                  <a:pt x="5075" y="1692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9" name="Freeform: Shape 412">
            <a:extLst>
              <a:ext uri="{FF2B5EF4-FFF2-40B4-BE49-F238E27FC236}">
                <a16:creationId xmlns:a16="http://schemas.microsoft.com/office/drawing/2014/main" id="{9BDD7509-D7DE-40D0-9F83-DC98F0E8FA67}"/>
              </a:ext>
            </a:extLst>
          </p:cNvPr>
          <p:cNvSpPr/>
          <p:nvPr/>
        </p:nvSpPr>
        <p:spPr>
          <a:xfrm>
            <a:off x="5873088" y="2979259"/>
            <a:ext cx="4214" cy="4214"/>
          </a:xfrm>
          <a:custGeom>
            <a:avLst/>
            <a:gdLst>
              <a:gd name="connsiteX0" fmla="*/ 8458 w 5638"/>
              <a:gd name="connsiteY0" fmla="*/ 5075 h 5638"/>
              <a:gd name="connsiteX1" fmla="*/ 9022 w 5638"/>
              <a:gd name="connsiteY1" fmla="*/ 3947 h 5638"/>
              <a:gd name="connsiteX2" fmla="*/ 9586 w 5638"/>
              <a:gd name="connsiteY2" fmla="*/ 2819 h 5638"/>
              <a:gd name="connsiteX3" fmla="*/ 9586 w 5638"/>
              <a:gd name="connsiteY3" fmla="*/ 2256 h 5638"/>
              <a:gd name="connsiteX4" fmla="*/ 8458 w 5638"/>
              <a:gd name="connsiteY4" fmla="*/ 1692 h 5638"/>
              <a:gd name="connsiteX5" fmla="*/ 4511 w 5638"/>
              <a:gd name="connsiteY5" fmla="*/ 564 h 5638"/>
              <a:gd name="connsiteX6" fmla="*/ 2819 w 5638"/>
              <a:gd name="connsiteY6" fmla="*/ 0 h 5638"/>
              <a:gd name="connsiteX7" fmla="*/ 1692 w 5638"/>
              <a:gd name="connsiteY7" fmla="*/ 564 h 5638"/>
              <a:gd name="connsiteX8" fmla="*/ 564 w 5638"/>
              <a:gd name="connsiteY8" fmla="*/ 1692 h 5638"/>
              <a:gd name="connsiteX9" fmla="*/ 0 w 5638"/>
              <a:gd name="connsiteY9" fmla="*/ 3383 h 5638"/>
              <a:gd name="connsiteX10" fmla="*/ 564 w 5638"/>
              <a:gd name="connsiteY10" fmla="*/ 3947 h 5638"/>
              <a:gd name="connsiteX11" fmla="*/ 564 w 5638"/>
              <a:gd name="connsiteY11" fmla="*/ 5075 h 5638"/>
              <a:gd name="connsiteX12" fmla="*/ 564 w 5638"/>
              <a:gd name="connsiteY12" fmla="*/ 6203 h 5638"/>
              <a:gd name="connsiteX13" fmla="*/ 1127 w 5638"/>
              <a:gd name="connsiteY13" fmla="*/ 7331 h 5638"/>
              <a:gd name="connsiteX14" fmla="*/ 2255 w 5638"/>
              <a:gd name="connsiteY14" fmla="*/ 7331 h 5638"/>
              <a:gd name="connsiteX15" fmla="*/ 3383 w 5638"/>
              <a:gd name="connsiteY15" fmla="*/ 7331 h 5638"/>
              <a:gd name="connsiteX16" fmla="*/ 5075 w 5638"/>
              <a:gd name="connsiteY16" fmla="*/ 6767 h 5638"/>
              <a:gd name="connsiteX17" fmla="*/ 7894 w 5638"/>
              <a:gd name="connsiteY17" fmla="*/ 5075 h 5638"/>
              <a:gd name="connsiteX18" fmla="*/ 8458 w 5638"/>
              <a:gd name="connsiteY18" fmla="*/ 5075 h 5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5638" h="5638">
                <a:moveTo>
                  <a:pt x="8458" y="5075"/>
                </a:moveTo>
                <a:lnTo>
                  <a:pt x="9022" y="3947"/>
                </a:lnTo>
                <a:lnTo>
                  <a:pt x="9586" y="2819"/>
                </a:lnTo>
                <a:lnTo>
                  <a:pt x="9586" y="2256"/>
                </a:lnTo>
                <a:lnTo>
                  <a:pt x="8458" y="1692"/>
                </a:lnTo>
                <a:lnTo>
                  <a:pt x="4511" y="564"/>
                </a:lnTo>
                <a:lnTo>
                  <a:pt x="2819" y="0"/>
                </a:lnTo>
                <a:lnTo>
                  <a:pt x="1692" y="564"/>
                </a:lnTo>
                <a:lnTo>
                  <a:pt x="564" y="1692"/>
                </a:lnTo>
                <a:lnTo>
                  <a:pt x="0" y="3383"/>
                </a:lnTo>
                <a:lnTo>
                  <a:pt x="564" y="3947"/>
                </a:lnTo>
                <a:lnTo>
                  <a:pt x="564" y="5075"/>
                </a:lnTo>
                <a:lnTo>
                  <a:pt x="564" y="6203"/>
                </a:lnTo>
                <a:lnTo>
                  <a:pt x="1127" y="7331"/>
                </a:lnTo>
                <a:lnTo>
                  <a:pt x="2255" y="7331"/>
                </a:lnTo>
                <a:lnTo>
                  <a:pt x="3383" y="7331"/>
                </a:lnTo>
                <a:lnTo>
                  <a:pt x="5075" y="6767"/>
                </a:lnTo>
                <a:lnTo>
                  <a:pt x="7894" y="5075"/>
                </a:lnTo>
                <a:lnTo>
                  <a:pt x="8458" y="5075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0" name="Freeform: Shape 413">
            <a:extLst>
              <a:ext uri="{FF2B5EF4-FFF2-40B4-BE49-F238E27FC236}">
                <a16:creationId xmlns:a16="http://schemas.microsoft.com/office/drawing/2014/main" id="{5B0AE7C3-8C88-4552-A2BA-3B9A9E4A7D55}"/>
              </a:ext>
            </a:extLst>
          </p:cNvPr>
          <p:cNvSpPr/>
          <p:nvPr/>
        </p:nvSpPr>
        <p:spPr>
          <a:xfrm>
            <a:off x="4396156" y="3647989"/>
            <a:ext cx="4214" cy="16855"/>
          </a:xfrm>
          <a:custGeom>
            <a:avLst/>
            <a:gdLst>
              <a:gd name="connsiteX0" fmla="*/ 5075 w 5638"/>
              <a:gd name="connsiteY0" fmla="*/ 24247 h 22555"/>
              <a:gd name="connsiteX1" fmla="*/ 6203 w 5638"/>
              <a:gd name="connsiteY1" fmla="*/ 23683 h 22555"/>
              <a:gd name="connsiteX2" fmla="*/ 6203 w 5638"/>
              <a:gd name="connsiteY2" fmla="*/ 23119 h 22555"/>
              <a:gd name="connsiteX3" fmla="*/ 6203 w 5638"/>
              <a:gd name="connsiteY3" fmla="*/ 21991 h 22555"/>
              <a:gd name="connsiteX4" fmla="*/ 5639 w 5638"/>
              <a:gd name="connsiteY4" fmla="*/ 21427 h 22555"/>
              <a:gd name="connsiteX5" fmla="*/ 5075 w 5638"/>
              <a:gd name="connsiteY5" fmla="*/ 20300 h 22555"/>
              <a:gd name="connsiteX6" fmla="*/ 2819 w 5638"/>
              <a:gd name="connsiteY6" fmla="*/ 19172 h 22555"/>
              <a:gd name="connsiteX7" fmla="*/ 0 w 5638"/>
              <a:gd name="connsiteY7" fmla="*/ 21991 h 22555"/>
              <a:gd name="connsiteX8" fmla="*/ 0 w 5638"/>
              <a:gd name="connsiteY8" fmla="*/ 23119 h 22555"/>
              <a:gd name="connsiteX9" fmla="*/ 564 w 5638"/>
              <a:gd name="connsiteY9" fmla="*/ 24811 h 22555"/>
              <a:gd name="connsiteX10" fmla="*/ 3947 w 5638"/>
              <a:gd name="connsiteY10" fmla="*/ 25375 h 22555"/>
              <a:gd name="connsiteX11" fmla="*/ 5075 w 5638"/>
              <a:gd name="connsiteY11" fmla="*/ 24247 h 22555"/>
              <a:gd name="connsiteX12" fmla="*/ 6203 w 5638"/>
              <a:gd name="connsiteY12" fmla="*/ 4511 h 22555"/>
              <a:gd name="connsiteX13" fmla="*/ 6203 w 5638"/>
              <a:gd name="connsiteY13" fmla="*/ 1692 h 22555"/>
              <a:gd name="connsiteX14" fmla="*/ 5639 w 5638"/>
              <a:gd name="connsiteY14" fmla="*/ 564 h 22555"/>
              <a:gd name="connsiteX15" fmla="*/ 3947 w 5638"/>
              <a:gd name="connsiteY15" fmla="*/ 564 h 22555"/>
              <a:gd name="connsiteX16" fmla="*/ 3383 w 5638"/>
              <a:gd name="connsiteY16" fmla="*/ 0 h 22555"/>
              <a:gd name="connsiteX17" fmla="*/ 2819 w 5638"/>
              <a:gd name="connsiteY17" fmla="*/ 0 h 22555"/>
              <a:gd name="connsiteX18" fmla="*/ 2255 w 5638"/>
              <a:gd name="connsiteY18" fmla="*/ 564 h 22555"/>
              <a:gd name="connsiteX19" fmla="*/ 2819 w 5638"/>
              <a:gd name="connsiteY19" fmla="*/ 3947 h 22555"/>
              <a:gd name="connsiteX20" fmla="*/ 5639 w 5638"/>
              <a:gd name="connsiteY20" fmla="*/ 5639 h 22555"/>
              <a:gd name="connsiteX21" fmla="*/ 6203 w 5638"/>
              <a:gd name="connsiteY21" fmla="*/ 4511 h 225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5638" h="22555">
                <a:moveTo>
                  <a:pt x="5075" y="24247"/>
                </a:moveTo>
                <a:lnTo>
                  <a:pt x="6203" y="23683"/>
                </a:lnTo>
                <a:lnTo>
                  <a:pt x="6203" y="23119"/>
                </a:lnTo>
                <a:lnTo>
                  <a:pt x="6203" y="21991"/>
                </a:lnTo>
                <a:lnTo>
                  <a:pt x="5639" y="21427"/>
                </a:lnTo>
                <a:lnTo>
                  <a:pt x="5075" y="20300"/>
                </a:lnTo>
                <a:lnTo>
                  <a:pt x="2819" y="19172"/>
                </a:lnTo>
                <a:lnTo>
                  <a:pt x="0" y="21991"/>
                </a:lnTo>
                <a:lnTo>
                  <a:pt x="0" y="23119"/>
                </a:lnTo>
                <a:lnTo>
                  <a:pt x="564" y="24811"/>
                </a:lnTo>
                <a:lnTo>
                  <a:pt x="3947" y="25375"/>
                </a:lnTo>
                <a:lnTo>
                  <a:pt x="5075" y="24247"/>
                </a:lnTo>
                <a:close/>
                <a:moveTo>
                  <a:pt x="6203" y="4511"/>
                </a:moveTo>
                <a:lnTo>
                  <a:pt x="6203" y="1692"/>
                </a:lnTo>
                <a:lnTo>
                  <a:pt x="5639" y="564"/>
                </a:lnTo>
                <a:lnTo>
                  <a:pt x="3947" y="564"/>
                </a:lnTo>
                <a:lnTo>
                  <a:pt x="3383" y="0"/>
                </a:lnTo>
                <a:lnTo>
                  <a:pt x="2819" y="0"/>
                </a:lnTo>
                <a:lnTo>
                  <a:pt x="2255" y="564"/>
                </a:lnTo>
                <a:lnTo>
                  <a:pt x="2819" y="3947"/>
                </a:lnTo>
                <a:lnTo>
                  <a:pt x="5639" y="5639"/>
                </a:lnTo>
                <a:lnTo>
                  <a:pt x="6203" y="4511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1" name="Freeform: Shape 414">
            <a:extLst>
              <a:ext uri="{FF2B5EF4-FFF2-40B4-BE49-F238E27FC236}">
                <a16:creationId xmlns:a16="http://schemas.microsoft.com/office/drawing/2014/main" id="{F21DB215-496D-4CD2-8C39-48FC3ACC183C}"/>
              </a:ext>
            </a:extLst>
          </p:cNvPr>
          <p:cNvSpPr/>
          <p:nvPr/>
        </p:nvSpPr>
        <p:spPr>
          <a:xfrm>
            <a:off x="4029978" y="3400217"/>
            <a:ext cx="126413" cy="160124"/>
          </a:xfrm>
          <a:custGeom>
            <a:avLst/>
            <a:gdLst>
              <a:gd name="connsiteX0" fmla="*/ 157323 w 169164"/>
              <a:gd name="connsiteY0" fmla="*/ 206380 h 214274"/>
              <a:gd name="connsiteX1" fmla="*/ 158450 w 169164"/>
              <a:gd name="connsiteY1" fmla="*/ 202997 h 214274"/>
              <a:gd name="connsiteX2" fmla="*/ 156759 w 169164"/>
              <a:gd name="connsiteY2" fmla="*/ 202433 h 214274"/>
              <a:gd name="connsiteX3" fmla="*/ 153939 w 169164"/>
              <a:gd name="connsiteY3" fmla="*/ 206380 h 214274"/>
              <a:gd name="connsiteX4" fmla="*/ 150556 w 169164"/>
              <a:gd name="connsiteY4" fmla="*/ 208072 h 214274"/>
              <a:gd name="connsiteX5" fmla="*/ 148864 w 169164"/>
              <a:gd name="connsiteY5" fmla="*/ 208072 h 214274"/>
              <a:gd name="connsiteX6" fmla="*/ 144917 w 169164"/>
              <a:gd name="connsiteY6" fmla="*/ 206380 h 214274"/>
              <a:gd name="connsiteX7" fmla="*/ 142098 w 169164"/>
              <a:gd name="connsiteY7" fmla="*/ 206380 h 214274"/>
              <a:gd name="connsiteX8" fmla="*/ 139842 w 169164"/>
              <a:gd name="connsiteY8" fmla="*/ 209199 h 214274"/>
              <a:gd name="connsiteX9" fmla="*/ 136459 w 169164"/>
              <a:gd name="connsiteY9" fmla="*/ 209763 h 214274"/>
              <a:gd name="connsiteX10" fmla="*/ 137023 w 169164"/>
              <a:gd name="connsiteY10" fmla="*/ 210327 h 214274"/>
              <a:gd name="connsiteX11" fmla="*/ 137023 w 169164"/>
              <a:gd name="connsiteY11" fmla="*/ 211455 h 214274"/>
              <a:gd name="connsiteX12" fmla="*/ 135895 w 169164"/>
              <a:gd name="connsiteY12" fmla="*/ 213147 h 214274"/>
              <a:gd name="connsiteX13" fmla="*/ 135895 w 169164"/>
              <a:gd name="connsiteY13" fmla="*/ 214274 h 214274"/>
              <a:gd name="connsiteX14" fmla="*/ 136459 w 169164"/>
              <a:gd name="connsiteY14" fmla="*/ 215966 h 214274"/>
              <a:gd name="connsiteX15" fmla="*/ 144917 w 169164"/>
              <a:gd name="connsiteY15" fmla="*/ 215402 h 214274"/>
              <a:gd name="connsiteX16" fmla="*/ 152248 w 169164"/>
              <a:gd name="connsiteY16" fmla="*/ 214274 h 214274"/>
              <a:gd name="connsiteX17" fmla="*/ 156195 w 169164"/>
              <a:gd name="connsiteY17" fmla="*/ 209199 h 214274"/>
              <a:gd name="connsiteX18" fmla="*/ 157323 w 169164"/>
              <a:gd name="connsiteY18" fmla="*/ 206380 h 214274"/>
              <a:gd name="connsiteX19" fmla="*/ 161834 w 169164"/>
              <a:gd name="connsiteY19" fmla="*/ 195102 h 214274"/>
              <a:gd name="connsiteX20" fmla="*/ 159578 w 169164"/>
              <a:gd name="connsiteY20" fmla="*/ 193411 h 214274"/>
              <a:gd name="connsiteX21" fmla="*/ 157323 w 169164"/>
              <a:gd name="connsiteY21" fmla="*/ 195102 h 214274"/>
              <a:gd name="connsiteX22" fmla="*/ 157886 w 169164"/>
              <a:gd name="connsiteY22" fmla="*/ 196794 h 214274"/>
              <a:gd name="connsiteX23" fmla="*/ 161834 w 169164"/>
              <a:gd name="connsiteY23" fmla="*/ 195102 h 214274"/>
              <a:gd name="connsiteX24" fmla="*/ 161834 w 169164"/>
              <a:gd name="connsiteY24" fmla="*/ 162397 h 214274"/>
              <a:gd name="connsiteX25" fmla="*/ 159578 w 169164"/>
              <a:gd name="connsiteY25" fmla="*/ 161270 h 214274"/>
              <a:gd name="connsiteX26" fmla="*/ 157886 w 169164"/>
              <a:gd name="connsiteY26" fmla="*/ 164089 h 214274"/>
              <a:gd name="connsiteX27" fmla="*/ 159578 w 169164"/>
              <a:gd name="connsiteY27" fmla="*/ 164653 h 214274"/>
              <a:gd name="connsiteX28" fmla="*/ 163525 w 169164"/>
              <a:gd name="connsiteY28" fmla="*/ 164089 h 214274"/>
              <a:gd name="connsiteX29" fmla="*/ 166345 w 169164"/>
              <a:gd name="connsiteY29" fmla="*/ 164653 h 214274"/>
              <a:gd name="connsiteX30" fmla="*/ 169164 w 169164"/>
              <a:gd name="connsiteY30" fmla="*/ 166908 h 214274"/>
              <a:gd name="connsiteX31" fmla="*/ 170856 w 169164"/>
              <a:gd name="connsiteY31" fmla="*/ 165781 h 214274"/>
              <a:gd name="connsiteX32" fmla="*/ 170292 w 169164"/>
              <a:gd name="connsiteY32" fmla="*/ 165217 h 214274"/>
              <a:gd name="connsiteX33" fmla="*/ 168036 w 169164"/>
              <a:gd name="connsiteY33" fmla="*/ 163525 h 214274"/>
              <a:gd name="connsiteX34" fmla="*/ 164653 w 169164"/>
              <a:gd name="connsiteY34" fmla="*/ 162961 h 214274"/>
              <a:gd name="connsiteX35" fmla="*/ 163525 w 169164"/>
              <a:gd name="connsiteY35" fmla="*/ 162961 h 214274"/>
              <a:gd name="connsiteX36" fmla="*/ 161834 w 169164"/>
              <a:gd name="connsiteY36" fmla="*/ 162397 h 214274"/>
              <a:gd name="connsiteX37" fmla="*/ 124617 w 169164"/>
              <a:gd name="connsiteY37" fmla="*/ 169728 h 214274"/>
              <a:gd name="connsiteX38" fmla="*/ 128565 w 169164"/>
              <a:gd name="connsiteY38" fmla="*/ 166345 h 214274"/>
              <a:gd name="connsiteX39" fmla="*/ 132512 w 169164"/>
              <a:gd name="connsiteY39" fmla="*/ 164653 h 214274"/>
              <a:gd name="connsiteX40" fmla="*/ 137587 w 169164"/>
              <a:gd name="connsiteY40" fmla="*/ 158450 h 214274"/>
              <a:gd name="connsiteX41" fmla="*/ 137023 w 169164"/>
              <a:gd name="connsiteY41" fmla="*/ 153375 h 214274"/>
              <a:gd name="connsiteX42" fmla="*/ 138151 w 169164"/>
              <a:gd name="connsiteY42" fmla="*/ 151120 h 214274"/>
              <a:gd name="connsiteX43" fmla="*/ 134767 w 169164"/>
              <a:gd name="connsiteY43" fmla="*/ 151684 h 214274"/>
              <a:gd name="connsiteX44" fmla="*/ 134203 w 169164"/>
              <a:gd name="connsiteY44" fmla="*/ 153375 h 214274"/>
              <a:gd name="connsiteX45" fmla="*/ 133640 w 169164"/>
              <a:gd name="connsiteY45" fmla="*/ 155067 h 214274"/>
              <a:gd name="connsiteX46" fmla="*/ 135331 w 169164"/>
              <a:gd name="connsiteY46" fmla="*/ 157322 h 214274"/>
              <a:gd name="connsiteX47" fmla="*/ 135331 w 169164"/>
              <a:gd name="connsiteY47" fmla="*/ 158450 h 214274"/>
              <a:gd name="connsiteX48" fmla="*/ 134203 w 169164"/>
              <a:gd name="connsiteY48" fmla="*/ 160706 h 214274"/>
              <a:gd name="connsiteX49" fmla="*/ 132512 w 169164"/>
              <a:gd name="connsiteY49" fmla="*/ 161270 h 214274"/>
              <a:gd name="connsiteX50" fmla="*/ 131948 w 169164"/>
              <a:gd name="connsiteY50" fmla="*/ 162397 h 214274"/>
              <a:gd name="connsiteX51" fmla="*/ 130256 w 169164"/>
              <a:gd name="connsiteY51" fmla="*/ 162961 h 214274"/>
              <a:gd name="connsiteX52" fmla="*/ 128001 w 169164"/>
              <a:gd name="connsiteY52" fmla="*/ 165781 h 214274"/>
              <a:gd name="connsiteX53" fmla="*/ 123490 w 169164"/>
              <a:gd name="connsiteY53" fmla="*/ 169164 h 214274"/>
              <a:gd name="connsiteX54" fmla="*/ 122362 w 169164"/>
              <a:gd name="connsiteY54" fmla="*/ 170856 h 214274"/>
              <a:gd name="connsiteX55" fmla="*/ 124617 w 169164"/>
              <a:gd name="connsiteY55" fmla="*/ 169728 h 214274"/>
              <a:gd name="connsiteX56" fmla="*/ 131384 w 169164"/>
              <a:gd name="connsiteY56" fmla="*/ 151684 h 214274"/>
              <a:gd name="connsiteX57" fmla="*/ 128001 w 169164"/>
              <a:gd name="connsiteY57" fmla="*/ 150556 h 214274"/>
              <a:gd name="connsiteX58" fmla="*/ 126873 w 169164"/>
              <a:gd name="connsiteY58" fmla="*/ 148300 h 214274"/>
              <a:gd name="connsiteX59" fmla="*/ 124617 w 169164"/>
              <a:gd name="connsiteY59" fmla="*/ 147736 h 214274"/>
              <a:gd name="connsiteX60" fmla="*/ 124054 w 169164"/>
              <a:gd name="connsiteY60" fmla="*/ 148864 h 214274"/>
              <a:gd name="connsiteX61" fmla="*/ 124054 w 169164"/>
              <a:gd name="connsiteY61" fmla="*/ 149992 h 214274"/>
              <a:gd name="connsiteX62" fmla="*/ 124617 w 169164"/>
              <a:gd name="connsiteY62" fmla="*/ 152248 h 214274"/>
              <a:gd name="connsiteX63" fmla="*/ 125745 w 169164"/>
              <a:gd name="connsiteY63" fmla="*/ 151684 h 214274"/>
              <a:gd name="connsiteX64" fmla="*/ 130256 w 169164"/>
              <a:gd name="connsiteY64" fmla="*/ 153939 h 214274"/>
              <a:gd name="connsiteX65" fmla="*/ 132512 w 169164"/>
              <a:gd name="connsiteY65" fmla="*/ 152248 h 214274"/>
              <a:gd name="connsiteX66" fmla="*/ 131384 w 169164"/>
              <a:gd name="connsiteY66" fmla="*/ 151684 h 214274"/>
              <a:gd name="connsiteX67" fmla="*/ 108265 w 169164"/>
              <a:gd name="connsiteY67" fmla="*/ 145481 h 214274"/>
              <a:gd name="connsiteX68" fmla="*/ 108265 w 169164"/>
              <a:gd name="connsiteY68" fmla="*/ 141534 h 214274"/>
              <a:gd name="connsiteX69" fmla="*/ 106009 w 169164"/>
              <a:gd name="connsiteY69" fmla="*/ 138714 h 214274"/>
              <a:gd name="connsiteX70" fmla="*/ 102626 w 169164"/>
              <a:gd name="connsiteY70" fmla="*/ 136459 h 214274"/>
              <a:gd name="connsiteX71" fmla="*/ 102062 w 169164"/>
              <a:gd name="connsiteY71" fmla="*/ 129692 h 214274"/>
              <a:gd name="connsiteX72" fmla="*/ 100371 w 169164"/>
              <a:gd name="connsiteY72" fmla="*/ 125745 h 214274"/>
              <a:gd name="connsiteX73" fmla="*/ 99243 w 169164"/>
              <a:gd name="connsiteY73" fmla="*/ 122362 h 214274"/>
              <a:gd name="connsiteX74" fmla="*/ 96987 w 169164"/>
              <a:gd name="connsiteY74" fmla="*/ 117851 h 214274"/>
              <a:gd name="connsiteX75" fmla="*/ 96987 w 169164"/>
              <a:gd name="connsiteY75" fmla="*/ 120670 h 214274"/>
              <a:gd name="connsiteX76" fmla="*/ 97551 w 169164"/>
              <a:gd name="connsiteY76" fmla="*/ 121234 h 214274"/>
              <a:gd name="connsiteX77" fmla="*/ 98115 w 169164"/>
              <a:gd name="connsiteY77" fmla="*/ 124617 h 214274"/>
              <a:gd name="connsiteX78" fmla="*/ 100371 w 169164"/>
              <a:gd name="connsiteY78" fmla="*/ 129692 h 214274"/>
              <a:gd name="connsiteX79" fmla="*/ 100935 w 169164"/>
              <a:gd name="connsiteY79" fmla="*/ 131948 h 214274"/>
              <a:gd name="connsiteX80" fmla="*/ 100371 w 169164"/>
              <a:gd name="connsiteY80" fmla="*/ 134203 h 214274"/>
              <a:gd name="connsiteX81" fmla="*/ 98115 w 169164"/>
              <a:gd name="connsiteY81" fmla="*/ 134767 h 214274"/>
              <a:gd name="connsiteX82" fmla="*/ 97551 w 169164"/>
              <a:gd name="connsiteY82" fmla="*/ 135895 h 214274"/>
              <a:gd name="connsiteX83" fmla="*/ 100371 w 169164"/>
              <a:gd name="connsiteY83" fmla="*/ 137587 h 214274"/>
              <a:gd name="connsiteX84" fmla="*/ 104882 w 169164"/>
              <a:gd name="connsiteY84" fmla="*/ 139278 h 214274"/>
              <a:gd name="connsiteX85" fmla="*/ 107701 w 169164"/>
              <a:gd name="connsiteY85" fmla="*/ 146609 h 214274"/>
              <a:gd name="connsiteX86" fmla="*/ 108265 w 169164"/>
              <a:gd name="connsiteY86" fmla="*/ 145481 h 214274"/>
              <a:gd name="connsiteX87" fmla="*/ 85146 w 169164"/>
              <a:gd name="connsiteY87" fmla="*/ 125745 h 214274"/>
              <a:gd name="connsiteX88" fmla="*/ 82326 w 169164"/>
              <a:gd name="connsiteY88" fmla="*/ 124054 h 214274"/>
              <a:gd name="connsiteX89" fmla="*/ 81199 w 169164"/>
              <a:gd name="connsiteY89" fmla="*/ 122362 h 214274"/>
              <a:gd name="connsiteX90" fmla="*/ 77252 w 169164"/>
              <a:gd name="connsiteY90" fmla="*/ 118415 h 214274"/>
              <a:gd name="connsiteX91" fmla="*/ 75560 w 169164"/>
              <a:gd name="connsiteY91" fmla="*/ 117851 h 214274"/>
              <a:gd name="connsiteX92" fmla="*/ 74432 w 169164"/>
              <a:gd name="connsiteY92" fmla="*/ 120106 h 214274"/>
              <a:gd name="connsiteX93" fmla="*/ 76688 w 169164"/>
              <a:gd name="connsiteY93" fmla="*/ 120670 h 214274"/>
              <a:gd name="connsiteX94" fmla="*/ 81763 w 169164"/>
              <a:gd name="connsiteY94" fmla="*/ 124617 h 214274"/>
              <a:gd name="connsiteX95" fmla="*/ 84018 w 169164"/>
              <a:gd name="connsiteY95" fmla="*/ 125745 h 214274"/>
              <a:gd name="connsiteX96" fmla="*/ 85146 w 169164"/>
              <a:gd name="connsiteY96" fmla="*/ 125745 h 214274"/>
              <a:gd name="connsiteX97" fmla="*/ 126309 w 169164"/>
              <a:gd name="connsiteY97" fmla="*/ 103190 h 214274"/>
              <a:gd name="connsiteX98" fmla="*/ 125745 w 169164"/>
              <a:gd name="connsiteY98" fmla="*/ 101498 h 214274"/>
              <a:gd name="connsiteX99" fmla="*/ 125181 w 169164"/>
              <a:gd name="connsiteY99" fmla="*/ 101498 h 214274"/>
              <a:gd name="connsiteX100" fmla="*/ 123490 w 169164"/>
              <a:gd name="connsiteY100" fmla="*/ 102062 h 214274"/>
              <a:gd name="connsiteX101" fmla="*/ 121798 w 169164"/>
              <a:gd name="connsiteY101" fmla="*/ 107137 h 214274"/>
              <a:gd name="connsiteX102" fmla="*/ 123490 w 169164"/>
              <a:gd name="connsiteY102" fmla="*/ 107137 h 214274"/>
              <a:gd name="connsiteX103" fmla="*/ 126309 w 169164"/>
              <a:gd name="connsiteY103" fmla="*/ 103190 h 214274"/>
              <a:gd name="connsiteX104" fmla="*/ 27066 w 169164"/>
              <a:gd name="connsiteY104" fmla="*/ 96987 h 214274"/>
              <a:gd name="connsiteX105" fmla="*/ 25938 w 169164"/>
              <a:gd name="connsiteY105" fmla="*/ 95296 h 214274"/>
              <a:gd name="connsiteX106" fmla="*/ 24247 w 169164"/>
              <a:gd name="connsiteY106" fmla="*/ 96423 h 214274"/>
              <a:gd name="connsiteX107" fmla="*/ 21427 w 169164"/>
              <a:gd name="connsiteY107" fmla="*/ 96423 h 214274"/>
              <a:gd name="connsiteX108" fmla="*/ 20300 w 169164"/>
              <a:gd name="connsiteY108" fmla="*/ 96987 h 214274"/>
              <a:gd name="connsiteX109" fmla="*/ 18044 w 169164"/>
              <a:gd name="connsiteY109" fmla="*/ 96987 h 214274"/>
              <a:gd name="connsiteX110" fmla="*/ 16353 w 169164"/>
              <a:gd name="connsiteY110" fmla="*/ 98115 h 214274"/>
              <a:gd name="connsiteX111" fmla="*/ 18608 w 169164"/>
              <a:gd name="connsiteY111" fmla="*/ 102626 h 214274"/>
              <a:gd name="connsiteX112" fmla="*/ 20300 w 169164"/>
              <a:gd name="connsiteY112" fmla="*/ 104318 h 214274"/>
              <a:gd name="connsiteX113" fmla="*/ 20864 w 169164"/>
              <a:gd name="connsiteY113" fmla="*/ 109957 h 214274"/>
              <a:gd name="connsiteX114" fmla="*/ 21991 w 169164"/>
              <a:gd name="connsiteY114" fmla="*/ 110520 h 214274"/>
              <a:gd name="connsiteX115" fmla="*/ 21427 w 169164"/>
              <a:gd name="connsiteY115" fmla="*/ 114468 h 214274"/>
              <a:gd name="connsiteX116" fmla="*/ 27630 w 169164"/>
              <a:gd name="connsiteY116" fmla="*/ 115031 h 214274"/>
              <a:gd name="connsiteX117" fmla="*/ 29886 w 169164"/>
              <a:gd name="connsiteY117" fmla="*/ 110520 h 214274"/>
              <a:gd name="connsiteX118" fmla="*/ 29886 w 169164"/>
              <a:gd name="connsiteY118" fmla="*/ 108829 h 214274"/>
              <a:gd name="connsiteX119" fmla="*/ 29886 w 169164"/>
              <a:gd name="connsiteY119" fmla="*/ 108265 h 214274"/>
              <a:gd name="connsiteX120" fmla="*/ 29886 w 169164"/>
              <a:gd name="connsiteY120" fmla="*/ 107137 h 214274"/>
              <a:gd name="connsiteX121" fmla="*/ 29886 w 169164"/>
              <a:gd name="connsiteY121" fmla="*/ 106009 h 214274"/>
              <a:gd name="connsiteX122" fmla="*/ 29886 w 169164"/>
              <a:gd name="connsiteY122" fmla="*/ 100934 h 214274"/>
              <a:gd name="connsiteX123" fmla="*/ 28194 w 169164"/>
              <a:gd name="connsiteY123" fmla="*/ 98115 h 214274"/>
              <a:gd name="connsiteX124" fmla="*/ 25938 w 169164"/>
              <a:gd name="connsiteY124" fmla="*/ 101498 h 214274"/>
              <a:gd name="connsiteX125" fmla="*/ 23683 w 169164"/>
              <a:gd name="connsiteY125" fmla="*/ 99807 h 214274"/>
              <a:gd name="connsiteX126" fmla="*/ 27066 w 169164"/>
              <a:gd name="connsiteY126" fmla="*/ 97551 h 214274"/>
              <a:gd name="connsiteX127" fmla="*/ 27066 w 169164"/>
              <a:gd name="connsiteY127" fmla="*/ 96987 h 214274"/>
              <a:gd name="connsiteX128" fmla="*/ 99807 w 169164"/>
              <a:gd name="connsiteY128" fmla="*/ 98679 h 214274"/>
              <a:gd name="connsiteX129" fmla="*/ 94168 w 169164"/>
              <a:gd name="connsiteY129" fmla="*/ 90785 h 214274"/>
              <a:gd name="connsiteX130" fmla="*/ 94168 w 169164"/>
              <a:gd name="connsiteY130" fmla="*/ 89657 h 214274"/>
              <a:gd name="connsiteX131" fmla="*/ 91349 w 169164"/>
              <a:gd name="connsiteY131" fmla="*/ 81199 h 214274"/>
              <a:gd name="connsiteX132" fmla="*/ 89657 w 169164"/>
              <a:gd name="connsiteY132" fmla="*/ 80635 h 214274"/>
              <a:gd name="connsiteX133" fmla="*/ 89093 w 169164"/>
              <a:gd name="connsiteY133" fmla="*/ 81199 h 214274"/>
              <a:gd name="connsiteX134" fmla="*/ 88529 w 169164"/>
              <a:gd name="connsiteY134" fmla="*/ 82326 h 214274"/>
              <a:gd name="connsiteX135" fmla="*/ 90785 w 169164"/>
              <a:gd name="connsiteY135" fmla="*/ 84582 h 214274"/>
              <a:gd name="connsiteX136" fmla="*/ 90785 w 169164"/>
              <a:gd name="connsiteY136" fmla="*/ 86837 h 214274"/>
              <a:gd name="connsiteX137" fmla="*/ 92476 w 169164"/>
              <a:gd name="connsiteY137" fmla="*/ 87965 h 214274"/>
              <a:gd name="connsiteX138" fmla="*/ 94732 w 169164"/>
              <a:gd name="connsiteY138" fmla="*/ 94168 h 214274"/>
              <a:gd name="connsiteX139" fmla="*/ 96987 w 169164"/>
              <a:gd name="connsiteY139" fmla="*/ 96423 h 214274"/>
              <a:gd name="connsiteX140" fmla="*/ 96423 w 169164"/>
              <a:gd name="connsiteY140" fmla="*/ 98115 h 214274"/>
              <a:gd name="connsiteX141" fmla="*/ 94168 w 169164"/>
              <a:gd name="connsiteY141" fmla="*/ 99807 h 214274"/>
              <a:gd name="connsiteX142" fmla="*/ 93604 w 169164"/>
              <a:gd name="connsiteY142" fmla="*/ 100934 h 214274"/>
              <a:gd name="connsiteX143" fmla="*/ 94168 w 169164"/>
              <a:gd name="connsiteY143" fmla="*/ 100934 h 214274"/>
              <a:gd name="connsiteX144" fmla="*/ 97551 w 169164"/>
              <a:gd name="connsiteY144" fmla="*/ 100371 h 214274"/>
              <a:gd name="connsiteX145" fmla="*/ 99807 w 169164"/>
              <a:gd name="connsiteY145" fmla="*/ 100371 h 214274"/>
              <a:gd name="connsiteX146" fmla="*/ 99807 w 169164"/>
              <a:gd name="connsiteY146" fmla="*/ 98679 h 214274"/>
              <a:gd name="connsiteX147" fmla="*/ 40599 w 169164"/>
              <a:gd name="connsiteY147" fmla="*/ 69357 h 214274"/>
              <a:gd name="connsiteX148" fmla="*/ 43419 w 169164"/>
              <a:gd name="connsiteY148" fmla="*/ 68229 h 214274"/>
              <a:gd name="connsiteX149" fmla="*/ 43419 w 169164"/>
              <a:gd name="connsiteY149" fmla="*/ 68229 h 214274"/>
              <a:gd name="connsiteX150" fmla="*/ 41727 w 169164"/>
              <a:gd name="connsiteY150" fmla="*/ 67102 h 214274"/>
              <a:gd name="connsiteX151" fmla="*/ 37780 w 169164"/>
              <a:gd name="connsiteY151" fmla="*/ 67102 h 214274"/>
              <a:gd name="connsiteX152" fmla="*/ 35524 w 169164"/>
              <a:gd name="connsiteY152" fmla="*/ 67666 h 214274"/>
              <a:gd name="connsiteX153" fmla="*/ 34397 w 169164"/>
              <a:gd name="connsiteY153" fmla="*/ 68793 h 214274"/>
              <a:gd name="connsiteX154" fmla="*/ 34961 w 169164"/>
              <a:gd name="connsiteY154" fmla="*/ 69357 h 214274"/>
              <a:gd name="connsiteX155" fmla="*/ 37216 w 169164"/>
              <a:gd name="connsiteY155" fmla="*/ 69921 h 214274"/>
              <a:gd name="connsiteX156" fmla="*/ 40599 w 169164"/>
              <a:gd name="connsiteY156" fmla="*/ 69357 h 214274"/>
              <a:gd name="connsiteX157" fmla="*/ 27066 w 169164"/>
              <a:gd name="connsiteY157" fmla="*/ 80635 h 214274"/>
              <a:gd name="connsiteX158" fmla="*/ 24247 w 169164"/>
              <a:gd name="connsiteY158" fmla="*/ 77251 h 214274"/>
              <a:gd name="connsiteX159" fmla="*/ 22555 w 169164"/>
              <a:gd name="connsiteY159" fmla="*/ 72177 h 214274"/>
              <a:gd name="connsiteX160" fmla="*/ 21427 w 169164"/>
              <a:gd name="connsiteY160" fmla="*/ 69921 h 214274"/>
              <a:gd name="connsiteX161" fmla="*/ 21991 w 169164"/>
              <a:gd name="connsiteY161" fmla="*/ 67102 h 214274"/>
              <a:gd name="connsiteX162" fmla="*/ 20300 w 169164"/>
              <a:gd name="connsiteY162" fmla="*/ 64846 h 214274"/>
              <a:gd name="connsiteX163" fmla="*/ 16916 w 169164"/>
              <a:gd name="connsiteY163" fmla="*/ 62591 h 214274"/>
              <a:gd name="connsiteX164" fmla="*/ 15225 w 169164"/>
              <a:gd name="connsiteY164" fmla="*/ 63154 h 214274"/>
              <a:gd name="connsiteX165" fmla="*/ 15789 w 169164"/>
              <a:gd name="connsiteY165" fmla="*/ 69357 h 214274"/>
              <a:gd name="connsiteX166" fmla="*/ 14661 w 169164"/>
              <a:gd name="connsiteY166" fmla="*/ 72740 h 214274"/>
              <a:gd name="connsiteX167" fmla="*/ 10150 w 169164"/>
              <a:gd name="connsiteY167" fmla="*/ 78943 h 214274"/>
              <a:gd name="connsiteX168" fmla="*/ 10714 w 169164"/>
              <a:gd name="connsiteY168" fmla="*/ 81199 h 214274"/>
              <a:gd name="connsiteX169" fmla="*/ 10714 w 169164"/>
              <a:gd name="connsiteY169" fmla="*/ 81199 h 214274"/>
              <a:gd name="connsiteX170" fmla="*/ 11278 w 169164"/>
              <a:gd name="connsiteY170" fmla="*/ 82326 h 214274"/>
              <a:gd name="connsiteX171" fmla="*/ 8458 w 169164"/>
              <a:gd name="connsiteY171" fmla="*/ 84582 h 214274"/>
              <a:gd name="connsiteX172" fmla="*/ 8458 w 169164"/>
              <a:gd name="connsiteY172" fmla="*/ 82890 h 214274"/>
              <a:gd name="connsiteX173" fmla="*/ 5075 w 169164"/>
              <a:gd name="connsiteY173" fmla="*/ 83454 h 214274"/>
              <a:gd name="connsiteX174" fmla="*/ 6767 w 169164"/>
              <a:gd name="connsiteY174" fmla="*/ 86274 h 214274"/>
              <a:gd name="connsiteX175" fmla="*/ 10150 w 169164"/>
              <a:gd name="connsiteY175" fmla="*/ 88529 h 214274"/>
              <a:gd name="connsiteX176" fmla="*/ 11841 w 169164"/>
              <a:gd name="connsiteY176" fmla="*/ 89093 h 214274"/>
              <a:gd name="connsiteX177" fmla="*/ 13533 w 169164"/>
              <a:gd name="connsiteY177" fmla="*/ 87965 h 214274"/>
              <a:gd name="connsiteX178" fmla="*/ 13533 w 169164"/>
              <a:gd name="connsiteY178" fmla="*/ 90785 h 214274"/>
              <a:gd name="connsiteX179" fmla="*/ 15225 w 169164"/>
              <a:gd name="connsiteY179" fmla="*/ 93040 h 214274"/>
              <a:gd name="connsiteX180" fmla="*/ 15789 w 169164"/>
              <a:gd name="connsiteY180" fmla="*/ 95296 h 214274"/>
              <a:gd name="connsiteX181" fmla="*/ 17480 w 169164"/>
              <a:gd name="connsiteY181" fmla="*/ 93604 h 214274"/>
              <a:gd name="connsiteX182" fmla="*/ 20864 w 169164"/>
              <a:gd name="connsiteY182" fmla="*/ 92476 h 214274"/>
              <a:gd name="connsiteX183" fmla="*/ 21991 w 169164"/>
              <a:gd name="connsiteY183" fmla="*/ 91348 h 214274"/>
              <a:gd name="connsiteX184" fmla="*/ 25938 w 169164"/>
              <a:gd name="connsiteY184" fmla="*/ 89093 h 214274"/>
              <a:gd name="connsiteX185" fmla="*/ 25938 w 169164"/>
              <a:gd name="connsiteY185" fmla="*/ 87965 h 214274"/>
              <a:gd name="connsiteX186" fmla="*/ 26502 w 169164"/>
              <a:gd name="connsiteY186" fmla="*/ 84582 h 214274"/>
              <a:gd name="connsiteX187" fmla="*/ 27066 w 169164"/>
              <a:gd name="connsiteY187" fmla="*/ 80635 h 214274"/>
              <a:gd name="connsiteX188" fmla="*/ 64846 w 169164"/>
              <a:gd name="connsiteY188" fmla="*/ 52441 h 214274"/>
              <a:gd name="connsiteX189" fmla="*/ 63155 w 169164"/>
              <a:gd name="connsiteY189" fmla="*/ 49621 h 214274"/>
              <a:gd name="connsiteX190" fmla="*/ 62591 w 169164"/>
              <a:gd name="connsiteY190" fmla="*/ 50185 h 214274"/>
              <a:gd name="connsiteX191" fmla="*/ 62027 w 169164"/>
              <a:gd name="connsiteY191" fmla="*/ 52441 h 214274"/>
              <a:gd name="connsiteX192" fmla="*/ 60335 w 169164"/>
              <a:gd name="connsiteY192" fmla="*/ 54696 h 214274"/>
              <a:gd name="connsiteX193" fmla="*/ 63155 w 169164"/>
              <a:gd name="connsiteY193" fmla="*/ 54132 h 214274"/>
              <a:gd name="connsiteX194" fmla="*/ 65410 w 169164"/>
              <a:gd name="connsiteY194" fmla="*/ 54696 h 214274"/>
              <a:gd name="connsiteX195" fmla="*/ 68793 w 169164"/>
              <a:gd name="connsiteY195" fmla="*/ 57516 h 214274"/>
              <a:gd name="connsiteX196" fmla="*/ 72741 w 169164"/>
              <a:gd name="connsiteY196" fmla="*/ 58643 h 214274"/>
              <a:gd name="connsiteX197" fmla="*/ 74432 w 169164"/>
              <a:gd name="connsiteY197" fmla="*/ 62027 h 214274"/>
              <a:gd name="connsiteX198" fmla="*/ 77815 w 169164"/>
              <a:gd name="connsiteY198" fmla="*/ 65410 h 214274"/>
              <a:gd name="connsiteX199" fmla="*/ 77815 w 169164"/>
              <a:gd name="connsiteY199" fmla="*/ 68793 h 214274"/>
              <a:gd name="connsiteX200" fmla="*/ 75560 w 169164"/>
              <a:gd name="connsiteY200" fmla="*/ 72177 h 214274"/>
              <a:gd name="connsiteX201" fmla="*/ 74996 w 169164"/>
              <a:gd name="connsiteY201" fmla="*/ 76124 h 214274"/>
              <a:gd name="connsiteX202" fmla="*/ 71613 w 169164"/>
              <a:gd name="connsiteY202" fmla="*/ 76688 h 214274"/>
              <a:gd name="connsiteX203" fmla="*/ 72177 w 169164"/>
              <a:gd name="connsiteY203" fmla="*/ 77251 h 214274"/>
              <a:gd name="connsiteX204" fmla="*/ 73868 w 169164"/>
              <a:gd name="connsiteY204" fmla="*/ 78943 h 214274"/>
              <a:gd name="connsiteX205" fmla="*/ 74432 w 169164"/>
              <a:gd name="connsiteY205" fmla="*/ 81199 h 214274"/>
              <a:gd name="connsiteX206" fmla="*/ 75560 w 169164"/>
              <a:gd name="connsiteY206" fmla="*/ 82326 h 214274"/>
              <a:gd name="connsiteX207" fmla="*/ 75560 w 169164"/>
              <a:gd name="connsiteY207" fmla="*/ 78379 h 214274"/>
              <a:gd name="connsiteX208" fmla="*/ 77252 w 169164"/>
              <a:gd name="connsiteY208" fmla="*/ 73868 h 214274"/>
              <a:gd name="connsiteX209" fmla="*/ 79507 w 169164"/>
              <a:gd name="connsiteY209" fmla="*/ 66538 h 214274"/>
              <a:gd name="connsiteX210" fmla="*/ 78943 w 169164"/>
              <a:gd name="connsiteY210" fmla="*/ 64846 h 214274"/>
              <a:gd name="connsiteX211" fmla="*/ 77252 w 169164"/>
              <a:gd name="connsiteY211" fmla="*/ 63154 h 214274"/>
              <a:gd name="connsiteX212" fmla="*/ 73304 w 169164"/>
              <a:gd name="connsiteY212" fmla="*/ 58080 h 214274"/>
              <a:gd name="connsiteX213" fmla="*/ 69357 w 169164"/>
              <a:gd name="connsiteY213" fmla="*/ 56388 h 214274"/>
              <a:gd name="connsiteX214" fmla="*/ 64846 w 169164"/>
              <a:gd name="connsiteY214" fmla="*/ 52441 h 214274"/>
              <a:gd name="connsiteX215" fmla="*/ 15225 w 169164"/>
              <a:gd name="connsiteY215" fmla="*/ 7894 h 214274"/>
              <a:gd name="connsiteX216" fmla="*/ 12405 w 169164"/>
              <a:gd name="connsiteY216" fmla="*/ 5639 h 214274"/>
              <a:gd name="connsiteX217" fmla="*/ 11278 w 169164"/>
              <a:gd name="connsiteY217" fmla="*/ 7894 h 214274"/>
              <a:gd name="connsiteX218" fmla="*/ 11278 w 169164"/>
              <a:gd name="connsiteY218" fmla="*/ 8458 h 214274"/>
              <a:gd name="connsiteX219" fmla="*/ 10714 w 169164"/>
              <a:gd name="connsiteY219" fmla="*/ 10150 h 214274"/>
              <a:gd name="connsiteX220" fmla="*/ 7894 w 169164"/>
              <a:gd name="connsiteY220" fmla="*/ 12405 h 214274"/>
              <a:gd name="connsiteX221" fmla="*/ 5075 w 169164"/>
              <a:gd name="connsiteY221" fmla="*/ 12969 h 214274"/>
              <a:gd name="connsiteX222" fmla="*/ 1128 w 169164"/>
              <a:gd name="connsiteY222" fmla="*/ 9586 h 214274"/>
              <a:gd name="connsiteX223" fmla="*/ 0 w 169164"/>
              <a:gd name="connsiteY223" fmla="*/ 9022 h 214274"/>
              <a:gd name="connsiteX224" fmla="*/ 4511 w 169164"/>
              <a:gd name="connsiteY224" fmla="*/ 15225 h 214274"/>
              <a:gd name="connsiteX225" fmla="*/ 6203 w 169164"/>
              <a:gd name="connsiteY225" fmla="*/ 15789 h 214274"/>
              <a:gd name="connsiteX226" fmla="*/ 8458 w 169164"/>
              <a:gd name="connsiteY226" fmla="*/ 15789 h 214274"/>
              <a:gd name="connsiteX227" fmla="*/ 13533 w 169164"/>
              <a:gd name="connsiteY227" fmla="*/ 14097 h 214274"/>
              <a:gd name="connsiteX228" fmla="*/ 22555 w 169164"/>
              <a:gd name="connsiteY228" fmla="*/ 11278 h 214274"/>
              <a:gd name="connsiteX229" fmla="*/ 32141 w 169164"/>
              <a:gd name="connsiteY229" fmla="*/ 10150 h 214274"/>
              <a:gd name="connsiteX230" fmla="*/ 32705 w 169164"/>
              <a:gd name="connsiteY230" fmla="*/ 9022 h 214274"/>
              <a:gd name="connsiteX231" fmla="*/ 32141 w 169164"/>
              <a:gd name="connsiteY231" fmla="*/ 7330 h 214274"/>
              <a:gd name="connsiteX232" fmla="*/ 27630 w 169164"/>
              <a:gd name="connsiteY232" fmla="*/ 8458 h 214274"/>
              <a:gd name="connsiteX233" fmla="*/ 21991 w 169164"/>
              <a:gd name="connsiteY233" fmla="*/ 7894 h 214274"/>
              <a:gd name="connsiteX234" fmla="*/ 20864 w 169164"/>
              <a:gd name="connsiteY234" fmla="*/ 9022 h 214274"/>
              <a:gd name="connsiteX235" fmla="*/ 18608 w 169164"/>
              <a:gd name="connsiteY235" fmla="*/ 9022 h 214274"/>
              <a:gd name="connsiteX236" fmla="*/ 15225 w 169164"/>
              <a:gd name="connsiteY236" fmla="*/ 7894 h 214274"/>
              <a:gd name="connsiteX237" fmla="*/ 49621 w 169164"/>
              <a:gd name="connsiteY237" fmla="*/ 37216 h 214274"/>
              <a:gd name="connsiteX238" fmla="*/ 50749 w 169164"/>
              <a:gd name="connsiteY238" fmla="*/ 35524 h 214274"/>
              <a:gd name="connsiteX239" fmla="*/ 53005 w 169164"/>
              <a:gd name="connsiteY239" fmla="*/ 25375 h 214274"/>
              <a:gd name="connsiteX240" fmla="*/ 57516 w 169164"/>
              <a:gd name="connsiteY240" fmla="*/ 21991 h 214274"/>
              <a:gd name="connsiteX241" fmla="*/ 58080 w 169164"/>
              <a:gd name="connsiteY241" fmla="*/ 15225 h 214274"/>
              <a:gd name="connsiteX242" fmla="*/ 55260 w 169164"/>
              <a:gd name="connsiteY242" fmla="*/ 12405 h 214274"/>
              <a:gd name="connsiteX243" fmla="*/ 53005 w 169164"/>
              <a:gd name="connsiteY243" fmla="*/ 11278 h 214274"/>
              <a:gd name="connsiteX244" fmla="*/ 52441 w 169164"/>
              <a:gd name="connsiteY244" fmla="*/ 10150 h 214274"/>
              <a:gd name="connsiteX245" fmla="*/ 53005 w 169164"/>
              <a:gd name="connsiteY245" fmla="*/ 9022 h 214274"/>
              <a:gd name="connsiteX246" fmla="*/ 51877 w 169164"/>
              <a:gd name="connsiteY246" fmla="*/ 8458 h 214274"/>
              <a:gd name="connsiteX247" fmla="*/ 50185 w 169164"/>
              <a:gd name="connsiteY247" fmla="*/ 7330 h 214274"/>
              <a:gd name="connsiteX248" fmla="*/ 47930 w 169164"/>
              <a:gd name="connsiteY248" fmla="*/ 3947 h 214274"/>
              <a:gd name="connsiteX249" fmla="*/ 45674 w 169164"/>
              <a:gd name="connsiteY249" fmla="*/ 1692 h 214274"/>
              <a:gd name="connsiteX250" fmla="*/ 41727 w 169164"/>
              <a:gd name="connsiteY250" fmla="*/ 1128 h 214274"/>
              <a:gd name="connsiteX251" fmla="*/ 38344 w 169164"/>
              <a:gd name="connsiteY251" fmla="*/ 564 h 214274"/>
              <a:gd name="connsiteX252" fmla="*/ 36088 w 169164"/>
              <a:gd name="connsiteY252" fmla="*/ 0 h 214274"/>
              <a:gd name="connsiteX253" fmla="*/ 33269 w 169164"/>
              <a:gd name="connsiteY253" fmla="*/ 1692 h 214274"/>
              <a:gd name="connsiteX254" fmla="*/ 37780 w 169164"/>
              <a:gd name="connsiteY254" fmla="*/ 1692 h 214274"/>
              <a:gd name="connsiteX255" fmla="*/ 46238 w 169164"/>
              <a:gd name="connsiteY255" fmla="*/ 3383 h 214274"/>
              <a:gd name="connsiteX256" fmla="*/ 50185 w 169164"/>
              <a:gd name="connsiteY256" fmla="*/ 11841 h 214274"/>
              <a:gd name="connsiteX257" fmla="*/ 53005 w 169164"/>
              <a:gd name="connsiteY257" fmla="*/ 14097 h 214274"/>
              <a:gd name="connsiteX258" fmla="*/ 53569 w 169164"/>
              <a:gd name="connsiteY258" fmla="*/ 16352 h 214274"/>
              <a:gd name="connsiteX259" fmla="*/ 52441 w 169164"/>
              <a:gd name="connsiteY259" fmla="*/ 18608 h 214274"/>
              <a:gd name="connsiteX260" fmla="*/ 52441 w 169164"/>
              <a:gd name="connsiteY260" fmla="*/ 20863 h 214274"/>
              <a:gd name="connsiteX261" fmla="*/ 50749 w 169164"/>
              <a:gd name="connsiteY261" fmla="*/ 23683 h 214274"/>
              <a:gd name="connsiteX262" fmla="*/ 50185 w 169164"/>
              <a:gd name="connsiteY262" fmla="*/ 28194 h 214274"/>
              <a:gd name="connsiteX263" fmla="*/ 48494 w 169164"/>
              <a:gd name="connsiteY263" fmla="*/ 30449 h 214274"/>
              <a:gd name="connsiteX264" fmla="*/ 44547 w 169164"/>
              <a:gd name="connsiteY264" fmla="*/ 33269 h 214274"/>
              <a:gd name="connsiteX265" fmla="*/ 46802 w 169164"/>
              <a:gd name="connsiteY265" fmla="*/ 34397 h 214274"/>
              <a:gd name="connsiteX266" fmla="*/ 48494 w 169164"/>
              <a:gd name="connsiteY266" fmla="*/ 37780 h 214274"/>
              <a:gd name="connsiteX267" fmla="*/ 49621 w 169164"/>
              <a:gd name="connsiteY267" fmla="*/ 37216 h 214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</a:cxnLst>
            <a:rect l="l" t="t" r="r" b="b"/>
            <a:pathLst>
              <a:path w="169164" h="214274">
                <a:moveTo>
                  <a:pt x="157323" y="206380"/>
                </a:moveTo>
                <a:lnTo>
                  <a:pt x="158450" y="202997"/>
                </a:lnTo>
                <a:lnTo>
                  <a:pt x="156759" y="202433"/>
                </a:lnTo>
                <a:lnTo>
                  <a:pt x="153939" y="206380"/>
                </a:lnTo>
                <a:lnTo>
                  <a:pt x="150556" y="208072"/>
                </a:lnTo>
                <a:lnTo>
                  <a:pt x="148864" y="208072"/>
                </a:lnTo>
                <a:lnTo>
                  <a:pt x="144917" y="206380"/>
                </a:lnTo>
                <a:lnTo>
                  <a:pt x="142098" y="206380"/>
                </a:lnTo>
                <a:lnTo>
                  <a:pt x="139842" y="209199"/>
                </a:lnTo>
                <a:lnTo>
                  <a:pt x="136459" y="209763"/>
                </a:lnTo>
                <a:lnTo>
                  <a:pt x="137023" y="210327"/>
                </a:lnTo>
                <a:lnTo>
                  <a:pt x="137023" y="211455"/>
                </a:lnTo>
                <a:lnTo>
                  <a:pt x="135895" y="213147"/>
                </a:lnTo>
                <a:lnTo>
                  <a:pt x="135895" y="214274"/>
                </a:lnTo>
                <a:lnTo>
                  <a:pt x="136459" y="215966"/>
                </a:lnTo>
                <a:lnTo>
                  <a:pt x="144917" y="215402"/>
                </a:lnTo>
                <a:lnTo>
                  <a:pt x="152248" y="214274"/>
                </a:lnTo>
                <a:lnTo>
                  <a:pt x="156195" y="209199"/>
                </a:lnTo>
                <a:lnTo>
                  <a:pt x="157323" y="206380"/>
                </a:lnTo>
                <a:close/>
                <a:moveTo>
                  <a:pt x="161834" y="195102"/>
                </a:moveTo>
                <a:lnTo>
                  <a:pt x="159578" y="193411"/>
                </a:lnTo>
                <a:lnTo>
                  <a:pt x="157323" y="195102"/>
                </a:lnTo>
                <a:lnTo>
                  <a:pt x="157886" y="196794"/>
                </a:lnTo>
                <a:lnTo>
                  <a:pt x="161834" y="195102"/>
                </a:lnTo>
                <a:close/>
                <a:moveTo>
                  <a:pt x="161834" y="162397"/>
                </a:moveTo>
                <a:lnTo>
                  <a:pt x="159578" y="161270"/>
                </a:lnTo>
                <a:lnTo>
                  <a:pt x="157886" y="164089"/>
                </a:lnTo>
                <a:lnTo>
                  <a:pt x="159578" y="164653"/>
                </a:lnTo>
                <a:lnTo>
                  <a:pt x="163525" y="164089"/>
                </a:lnTo>
                <a:lnTo>
                  <a:pt x="166345" y="164653"/>
                </a:lnTo>
                <a:lnTo>
                  <a:pt x="169164" y="166908"/>
                </a:lnTo>
                <a:lnTo>
                  <a:pt x="170856" y="165781"/>
                </a:lnTo>
                <a:lnTo>
                  <a:pt x="170292" y="165217"/>
                </a:lnTo>
                <a:lnTo>
                  <a:pt x="168036" y="163525"/>
                </a:lnTo>
                <a:lnTo>
                  <a:pt x="164653" y="162961"/>
                </a:lnTo>
                <a:lnTo>
                  <a:pt x="163525" y="162961"/>
                </a:lnTo>
                <a:lnTo>
                  <a:pt x="161834" y="162397"/>
                </a:lnTo>
                <a:close/>
                <a:moveTo>
                  <a:pt x="124617" y="169728"/>
                </a:moveTo>
                <a:lnTo>
                  <a:pt x="128565" y="166345"/>
                </a:lnTo>
                <a:lnTo>
                  <a:pt x="132512" y="164653"/>
                </a:lnTo>
                <a:lnTo>
                  <a:pt x="137587" y="158450"/>
                </a:lnTo>
                <a:lnTo>
                  <a:pt x="137023" y="153375"/>
                </a:lnTo>
                <a:lnTo>
                  <a:pt x="138151" y="151120"/>
                </a:lnTo>
                <a:lnTo>
                  <a:pt x="134767" y="151684"/>
                </a:lnTo>
                <a:lnTo>
                  <a:pt x="134203" y="153375"/>
                </a:lnTo>
                <a:lnTo>
                  <a:pt x="133640" y="155067"/>
                </a:lnTo>
                <a:lnTo>
                  <a:pt x="135331" y="157322"/>
                </a:lnTo>
                <a:lnTo>
                  <a:pt x="135331" y="158450"/>
                </a:lnTo>
                <a:lnTo>
                  <a:pt x="134203" y="160706"/>
                </a:lnTo>
                <a:lnTo>
                  <a:pt x="132512" y="161270"/>
                </a:lnTo>
                <a:lnTo>
                  <a:pt x="131948" y="162397"/>
                </a:lnTo>
                <a:lnTo>
                  <a:pt x="130256" y="162961"/>
                </a:lnTo>
                <a:lnTo>
                  <a:pt x="128001" y="165781"/>
                </a:lnTo>
                <a:lnTo>
                  <a:pt x="123490" y="169164"/>
                </a:lnTo>
                <a:lnTo>
                  <a:pt x="122362" y="170856"/>
                </a:lnTo>
                <a:lnTo>
                  <a:pt x="124617" y="169728"/>
                </a:lnTo>
                <a:close/>
                <a:moveTo>
                  <a:pt x="131384" y="151684"/>
                </a:moveTo>
                <a:lnTo>
                  <a:pt x="128001" y="150556"/>
                </a:lnTo>
                <a:lnTo>
                  <a:pt x="126873" y="148300"/>
                </a:lnTo>
                <a:lnTo>
                  <a:pt x="124617" y="147736"/>
                </a:lnTo>
                <a:lnTo>
                  <a:pt x="124054" y="148864"/>
                </a:lnTo>
                <a:lnTo>
                  <a:pt x="124054" y="149992"/>
                </a:lnTo>
                <a:lnTo>
                  <a:pt x="124617" y="152248"/>
                </a:lnTo>
                <a:lnTo>
                  <a:pt x="125745" y="151684"/>
                </a:lnTo>
                <a:lnTo>
                  <a:pt x="130256" y="153939"/>
                </a:lnTo>
                <a:lnTo>
                  <a:pt x="132512" y="152248"/>
                </a:lnTo>
                <a:lnTo>
                  <a:pt x="131384" y="151684"/>
                </a:lnTo>
                <a:close/>
                <a:moveTo>
                  <a:pt x="108265" y="145481"/>
                </a:moveTo>
                <a:lnTo>
                  <a:pt x="108265" y="141534"/>
                </a:lnTo>
                <a:lnTo>
                  <a:pt x="106009" y="138714"/>
                </a:lnTo>
                <a:lnTo>
                  <a:pt x="102626" y="136459"/>
                </a:lnTo>
                <a:lnTo>
                  <a:pt x="102062" y="129692"/>
                </a:lnTo>
                <a:lnTo>
                  <a:pt x="100371" y="125745"/>
                </a:lnTo>
                <a:lnTo>
                  <a:pt x="99243" y="122362"/>
                </a:lnTo>
                <a:lnTo>
                  <a:pt x="96987" y="117851"/>
                </a:lnTo>
                <a:lnTo>
                  <a:pt x="96987" y="120670"/>
                </a:lnTo>
                <a:lnTo>
                  <a:pt x="97551" y="121234"/>
                </a:lnTo>
                <a:lnTo>
                  <a:pt x="98115" y="124617"/>
                </a:lnTo>
                <a:lnTo>
                  <a:pt x="100371" y="129692"/>
                </a:lnTo>
                <a:lnTo>
                  <a:pt x="100935" y="131948"/>
                </a:lnTo>
                <a:lnTo>
                  <a:pt x="100371" y="134203"/>
                </a:lnTo>
                <a:lnTo>
                  <a:pt x="98115" y="134767"/>
                </a:lnTo>
                <a:lnTo>
                  <a:pt x="97551" y="135895"/>
                </a:lnTo>
                <a:lnTo>
                  <a:pt x="100371" y="137587"/>
                </a:lnTo>
                <a:lnTo>
                  <a:pt x="104882" y="139278"/>
                </a:lnTo>
                <a:lnTo>
                  <a:pt x="107701" y="146609"/>
                </a:lnTo>
                <a:lnTo>
                  <a:pt x="108265" y="145481"/>
                </a:lnTo>
                <a:close/>
                <a:moveTo>
                  <a:pt x="85146" y="125745"/>
                </a:moveTo>
                <a:lnTo>
                  <a:pt x="82326" y="124054"/>
                </a:lnTo>
                <a:lnTo>
                  <a:pt x="81199" y="122362"/>
                </a:lnTo>
                <a:lnTo>
                  <a:pt x="77252" y="118415"/>
                </a:lnTo>
                <a:lnTo>
                  <a:pt x="75560" y="117851"/>
                </a:lnTo>
                <a:lnTo>
                  <a:pt x="74432" y="120106"/>
                </a:lnTo>
                <a:lnTo>
                  <a:pt x="76688" y="120670"/>
                </a:lnTo>
                <a:lnTo>
                  <a:pt x="81763" y="124617"/>
                </a:lnTo>
                <a:lnTo>
                  <a:pt x="84018" y="125745"/>
                </a:lnTo>
                <a:lnTo>
                  <a:pt x="85146" y="125745"/>
                </a:lnTo>
                <a:close/>
                <a:moveTo>
                  <a:pt x="126309" y="103190"/>
                </a:moveTo>
                <a:lnTo>
                  <a:pt x="125745" y="101498"/>
                </a:lnTo>
                <a:lnTo>
                  <a:pt x="125181" y="101498"/>
                </a:lnTo>
                <a:lnTo>
                  <a:pt x="123490" y="102062"/>
                </a:lnTo>
                <a:lnTo>
                  <a:pt x="121798" y="107137"/>
                </a:lnTo>
                <a:lnTo>
                  <a:pt x="123490" y="107137"/>
                </a:lnTo>
                <a:lnTo>
                  <a:pt x="126309" y="103190"/>
                </a:lnTo>
                <a:close/>
                <a:moveTo>
                  <a:pt x="27066" y="96987"/>
                </a:moveTo>
                <a:lnTo>
                  <a:pt x="25938" y="95296"/>
                </a:lnTo>
                <a:lnTo>
                  <a:pt x="24247" y="96423"/>
                </a:lnTo>
                <a:lnTo>
                  <a:pt x="21427" y="96423"/>
                </a:lnTo>
                <a:lnTo>
                  <a:pt x="20300" y="96987"/>
                </a:lnTo>
                <a:lnTo>
                  <a:pt x="18044" y="96987"/>
                </a:lnTo>
                <a:lnTo>
                  <a:pt x="16353" y="98115"/>
                </a:lnTo>
                <a:lnTo>
                  <a:pt x="18608" y="102626"/>
                </a:lnTo>
                <a:lnTo>
                  <a:pt x="20300" y="104318"/>
                </a:lnTo>
                <a:lnTo>
                  <a:pt x="20864" y="109957"/>
                </a:lnTo>
                <a:lnTo>
                  <a:pt x="21991" y="110520"/>
                </a:lnTo>
                <a:lnTo>
                  <a:pt x="21427" y="114468"/>
                </a:lnTo>
                <a:lnTo>
                  <a:pt x="27630" y="115031"/>
                </a:lnTo>
                <a:lnTo>
                  <a:pt x="29886" y="110520"/>
                </a:lnTo>
                <a:lnTo>
                  <a:pt x="29886" y="108829"/>
                </a:lnTo>
                <a:lnTo>
                  <a:pt x="29886" y="108265"/>
                </a:lnTo>
                <a:lnTo>
                  <a:pt x="29886" y="107137"/>
                </a:lnTo>
                <a:lnTo>
                  <a:pt x="29886" y="106009"/>
                </a:lnTo>
                <a:lnTo>
                  <a:pt x="29886" y="100934"/>
                </a:lnTo>
                <a:lnTo>
                  <a:pt x="28194" y="98115"/>
                </a:lnTo>
                <a:lnTo>
                  <a:pt x="25938" y="101498"/>
                </a:lnTo>
                <a:lnTo>
                  <a:pt x="23683" y="99807"/>
                </a:lnTo>
                <a:lnTo>
                  <a:pt x="27066" y="97551"/>
                </a:lnTo>
                <a:lnTo>
                  <a:pt x="27066" y="96987"/>
                </a:lnTo>
                <a:close/>
                <a:moveTo>
                  <a:pt x="99807" y="98679"/>
                </a:moveTo>
                <a:lnTo>
                  <a:pt x="94168" y="90785"/>
                </a:lnTo>
                <a:lnTo>
                  <a:pt x="94168" y="89657"/>
                </a:lnTo>
                <a:lnTo>
                  <a:pt x="91349" y="81199"/>
                </a:lnTo>
                <a:lnTo>
                  <a:pt x="89657" y="80635"/>
                </a:lnTo>
                <a:lnTo>
                  <a:pt x="89093" y="81199"/>
                </a:lnTo>
                <a:lnTo>
                  <a:pt x="88529" y="82326"/>
                </a:lnTo>
                <a:lnTo>
                  <a:pt x="90785" y="84582"/>
                </a:lnTo>
                <a:lnTo>
                  <a:pt x="90785" y="86837"/>
                </a:lnTo>
                <a:lnTo>
                  <a:pt x="92476" y="87965"/>
                </a:lnTo>
                <a:lnTo>
                  <a:pt x="94732" y="94168"/>
                </a:lnTo>
                <a:lnTo>
                  <a:pt x="96987" y="96423"/>
                </a:lnTo>
                <a:lnTo>
                  <a:pt x="96423" y="98115"/>
                </a:lnTo>
                <a:lnTo>
                  <a:pt x="94168" y="99807"/>
                </a:lnTo>
                <a:lnTo>
                  <a:pt x="93604" y="100934"/>
                </a:lnTo>
                <a:lnTo>
                  <a:pt x="94168" y="100934"/>
                </a:lnTo>
                <a:lnTo>
                  <a:pt x="97551" y="100371"/>
                </a:lnTo>
                <a:lnTo>
                  <a:pt x="99807" y="100371"/>
                </a:lnTo>
                <a:lnTo>
                  <a:pt x="99807" y="98679"/>
                </a:lnTo>
                <a:close/>
                <a:moveTo>
                  <a:pt x="40599" y="69357"/>
                </a:moveTo>
                <a:lnTo>
                  <a:pt x="43419" y="68229"/>
                </a:lnTo>
                <a:lnTo>
                  <a:pt x="43419" y="68229"/>
                </a:lnTo>
                <a:lnTo>
                  <a:pt x="41727" y="67102"/>
                </a:lnTo>
                <a:lnTo>
                  <a:pt x="37780" y="67102"/>
                </a:lnTo>
                <a:lnTo>
                  <a:pt x="35524" y="67666"/>
                </a:lnTo>
                <a:lnTo>
                  <a:pt x="34397" y="68793"/>
                </a:lnTo>
                <a:lnTo>
                  <a:pt x="34961" y="69357"/>
                </a:lnTo>
                <a:lnTo>
                  <a:pt x="37216" y="69921"/>
                </a:lnTo>
                <a:lnTo>
                  <a:pt x="40599" y="69357"/>
                </a:lnTo>
                <a:close/>
                <a:moveTo>
                  <a:pt x="27066" y="80635"/>
                </a:moveTo>
                <a:lnTo>
                  <a:pt x="24247" y="77251"/>
                </a:lnTo>
                <a:lnTo>
                  <a:pt x="22555" y="72177"/>
                </a:lnTo>
                <a:lnTo>
                  <a:pt x="21427" y="69921"/>
                </a:lnTo>
                <a:lnTo>
                  <a:pt x="21991" y="67102"/>
                </a:lnTo>
                <a:lnTo>
                  <a:pt x="20300" y="64846"/>
                </a:lnTo>
                <a:lnTo>
                  <a:pt x="16916" y="62591"/>
                </a:lnTo>
                <a:lnTo>
                  <a:pt x="15225" y="63154"/>
                </a:lnTo>
                <a:lnTo>
                  <a:pt x="15789" y="69357"/>
                </a:lnTo>
                <a:lnTo>
                  <a:pt x="14661" y="72740"/>
                </a:lnTo>
                <a:lnTo>
                  <a:pt x="10150" y="78943"/>
                </a:lnTo>
                <a:lnTo>
                  <a:pt x="10714" y="81199"/>
                </a:lnTo>
                <a:lnTo>
                  <a:pt x="10714" y="81199"/>
                </a:lnTo>
                <a:lnTo>
                  <a:pt x="11278" y="82326"/>
                </a:lnTo>
                <a:lnTo>
                  <a:pt x="8458" y="84582"/>
                </a:lnTo>
                <a:lnTo>
                  <a:pt x="8458" y="82890"/>
                </a:lnTo>
                <a:lnTo>
                  <a:pt x="5075" y="83454"/>
                </a:lnTo>
                <a:lnTo>
                  <a:pt x="6767" y="86274"/>
                </a:lnTo>
                <a:lnTo>
                  <a:pt x="10150" y="88529"/>
                </a:lnTo>
                <a:lnTo>
                  <a:pt x="11841" y="89093"/>
                </a:lnTo>
                <a:lnTo>
                  <a:pt x="13533" y="87965"/>
                </a:lnTo>
                <a:lnTo>
                  <a:pt x="13533" y="90785"/>
                </a:lnTo>
                <a:lnTo>
                  <a:pt x="15225" y="93040"/>
                </a:lnTo>
                <a:lnTo>
                  <a:pt x="15789" y="95296"/>
                </a:lnTo>
                <a:lnTo>
                  <a:pt x="17480" y="93604"/>
                </a:lnTo>
                <a:lnTo>
                  <a:pt x="20864" y="92476"/>
                </a:lnTo>
                <a:lnTo>
                  <a:pt x="21991" y="91348"/>
                </a:lnTo>
                <a:lnTo>
                  <a:pt x="25938" y="89093"/>
                </a:lnTo>
                <a:lnTo>
                  <a:pt x="25938" y="87965"/>
                </a:lnTo>
                <a:lnTo>
                  <a:pt x="26502" y="84582"/>
                </a:lnTo>
                <a:lnTo>
                  <a:pt x="27066" y="80635"/>
                </a:lnTo>
                <a:close/>
                <a:moveTo>
                  <a:pt x="64846" y="52441"/>
                </a:moveTo>
                <a:lnTo>
                  <a:pt x="63155" y="49621"/>
                </a:lnTo>
                <a:lnTo>
                  <a:pt x="62591" y="50185"/>
                </a:lnTo>
                <a:lnTo>
                  <a:pt x="62027" y="52441"/>
                </a:lnTo>
                <a:lnTo>
                  <a:pt x="60335" y="54696"/>
                </a:lnTo>
                <a:lnTo>
                  <a:pt x="63155" y="54132"/>
                </a:lnTo>
                <a:lnTo>
                  <a:pt x="65410" y="54696"/>
                </a:lnTo>
                <a:lnTo>
                  <a:pt x="68793" y="57516"/>
                </a:lnTo>
                <a:lnTo>
                  <a:pt x="72741" y="58643"/>
                </a:lnTo>
                <a:lnTo>
                  <a:pt x="74432" y="62027"/>
                </a:lnTo>
                <a:lnTo>
                  <a:pt x="77815" y="65410"/>
                </a:lnTo>
                <a:lnTo>
                  <a:pt x="77815" y="68793"/>
                </a:lnTo>
                <a:lnTo>
                  <a:pt x="75560" y="72177"/>
                </a:lnTo>
                <a:lnTo>
                  <a:pt x="74996" y="76124"/>
                </a:lnTo>
                <a:lnTo>
                  <a:pt x="71613" y="76688"/>
                </a:lnTo>
                <a:lnTo>
                  <a:pt x="72177" y="77251"/>
                </a:lnTo>
                <a:lnTo>
                  <a:pt x="73868" y="78943"/>
                </a:lnTo>
                <a:lnTo>
                  <a:pt x="74432" y="81199"/>
                </a:lnTo>
                <a:lnTo>
                  <a:pt x="75560" y="82326"/>
                </a:lnTo>
                <a:lnTo>
                  <a:pt x="75560" y="78379"/>
                </a:lnTo>
                <a:lnTo>
                  <a:pt x="77252" y="73868"/>
                </a:lnTo>
                <a:lnTo>
                  <a:pt x="79507" y="66538"/>
                </a:lnTo>
                <a:lnTo>
                  <a:pt x="78943" y="64846"/>
                </a:lnTo>
                <a:lnTo>
                  <a:pt x="77252" y="63154"/>
                </a:lnTo>
                <a:lnTo>
                  <a:pt x="73304" y="58080"/>
                </a:lnTo>
                <a:lnTo>
                  <a:pt x="69357" y="56388"/>
                </a:lnTo>
                <a:lnTo>
                  <a:pt x="64846" y="52441"/>
                </a:lnTo>
                <a:close/>
                <a:moveTo>
                  <a:pt x="15225" y="7894"/>
                </a:moveTo>
                <a:lnTo>
                  <a:pt x="12405" y="5639"/>
                </a:lnTo>
                <a:lnTo>
                  <a:pt x="11278" y="7894"/>
                </a:lnTo>
                <a:lnTo>
                  <a:pt x="11278" y="8458"/>
                </a:lnTo>
                <a:lnTo>
                  <a:pt x="10714" y="10150"/>
                </a:lnTo>
                <a:lnTo>
                  <a:pt x="7894" y="12405"/>
                </a:lnTo>
                <a:lnTo>
                  <a:pt x="5075" y="12969"/>
                </a:lnTo>
                <a:lnTo>
                  <a:pt x="1128" y="9586"/>
                </a:lnTo>
                <a:lnTo>
                  <a:pt x="0" y="9022"/>
                </a:lnTo>
                <a:lnTo>
                  <a:pt x="4511" y="15225"/>
                </a:lnTo>
                <a:lnTo>
                  <a:pt x="6203" y="15789"/>
                </a:lnTo>
                <a:lnTo>
                  <a:pt x="8458" y="15789"/>
                </a:lnTo>
                <a:lnTo>
                  <a:pt x="13533" y="14097"/>
                </a:lnTo>
                <a:lnTo>
                  <a:pt x="22555" y="11278"/>
                </a:lnTo>
                <a:lnTo>
                  <a:pt x="32141" y="10150"/>
                </a:lnTo>
                <a:lnTo>
                  <a:pt x="32705" y="9022"/>
                </a:lnTo>
                <a:lnTo>
                  <a:pt x="32141" y="7330"/>
                </a:lnTo>
                <a:lnTo>
                  <a:pt x="27630" y="8458"/>
                </a:lnTo>
                <a:lnTo>
                  <a:pt x="21991" y="7894"/>
                </a:lnTo>
                <a:lnTo>
                  <a:pt x="20864" y="9022"/>
                </a:lnTo>
                <a:lnTo>
                  <a:pt x="18608" y="9022"/>
                </a:lnTo>
                <a:lnTo>
                  <a:pt x="15225" y="7894"/>
                </a:lnTo>
                <a:close/>
                <a:moveTo>
                  <a:pt x="49621" y="37216"/>
                </a:moveTo>
                <a:lnTo>
                  <a:pt x="50749" y="35524"/>
                </a:lnTo>
                <a:lnTo>
                  <a:pt x="53005" y="25375"/>
                </a:lnTo>
                <a:lnTo>
                  <a:pt x="57516" y="21991"/>
                </a:lnTo>
                <a:lnTo>
                  <a:pt x="58080" y="15225"/>
                </a:lnTo>
                <a:lnTo>
                  <a:pt x="55260" y="12405"/>
                </a:lnTo>
                <a:lnTo>
                  <a:pt x="53005" y="11278"/>
                </a:lnTo>
                <a:lnTo>
                  <a:pt x="52441" y="10150"/>
                </a:lnTo>
                <a:lnTo>
                  <a:pt x="53005" y="9022"/>
                </a:lnTo>
                <a:lnTo>
                  <a:pt x="51877" y="8458"/>
                </a:lnTo>
                <a:lnTo>
                  <a:pt x="50185" y="7330"/>
                </a:lnTo>
                <a:lnTo>
                  <a:pt x="47930" y="3947"/>
                </a:lnTo>
                <a:lnTo>
                  <a:pt x="45674" y="1692"/>
                </a:lnTo>
                <a:lnTo>
                  <a:pt x="41727" y="1128"/>
                </a:lnTo>
                <a:lnTo>
                  <a:pt x="38344" y="564"/>
                </a:lnTo>
                <a:lnTo>
                  <a:pt x="36088" y="0"/>
                </a:lnTo>
                <a:lnTo>
                  <a:pt x="33269" y="1692"/>
                </a:lnTo>
                <a:lnTo>
                  <a:pt x="37780" y="1692"/>
                </a:lnTo>
                <a:lnTo>
                  <a:pt x="46238" y="3383"/>
                </a:lnTo>
                <a:lnTo>
                  <a:pt x="50185" y="11841"/>
                </a:lnTo>
                <a:lnTo>
                  <a:pt x="53005" y="14097"/>
                </a:lnTo>
                <a:lnTo>
                  <a:pt x="53569" y="16352"/>
                </a:lnTo>
                <a:lnTo>
                  <a:pt x="52441" y="18608"/>
                </a:lnTo>
                <a:lnTo>
                  <a:pt x="52441" y="20863"/>
                </a:lnTo>
                <a:lnTo>
                  <a:pt x="50749" y="23683"/>
                </a:lnTo>
                <a:lnTo>
                  <a:pt x="50185" y="28194"/>
                </a:lnTo>
                <a:lnTo>
                  <a:pt x="48494" y="30449"/>
                </a:lnTo>
                <a:lnTo>
                  <a:pt x="44547" y="33269"/>
                </a:lnTo>
                <a:lnTo>
                  <a:pt x="46802" y="34397"/>
                </a:lnTo>
                <a:lnTo>
                  <a:pt x="48494" y="37780"/>
                </a:lnTo>
                <a:lnTo>
                  <a:pt x="49621" y="37216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2" name="Freeform: Shape 415">
            <a:extLst>
              <a:ext uri="{FF2B5EF4-FFF2-40B4-BE49-F238E27FC236}">
                <a16:creationId xmlns:a16="http://schemas.microsoft.com/office/drawing/2014/main" id="{15B76509-927F-4CEE-A675-72FA6801F580}"/>
              </a:ext>
            </a:extLst>
          </p:cNvPr>
          <p:cNvSpPr/>
          <p:nvPr/>
        </p:nvSpPr>
        <p:spPr>
          <a:xfrm>
            <a:off x="4379301" y="3254842"/>
            <a:ext cx="4214" cy="4214"/>
          </a:xfrm>
          <a:custGeom>
            <a:avLst/>
            <a:gdLst>
              <a:gd name="connsiteX0" fmla="*/ 4511 w 5638"/>
              <a:gd name="connsiteY0" fmla="*/ 3383 h 0"/>
              <a:gd name="connsiteX1" fmla="*/ 6766 w 5638"/>
              <a:gd name="connsiteY1" fmla="*/ 0 h 0"/>
              <a:gd name="connsiteX2" fmla="*/ 6203 w 5638"/>
              <a:gd name="connsiteY2" fmla="*/ 0 h 0"/>
              <a:gd name="connsiteX3" fmla="*/ 3383 w 5638"/>
              <a:gd name="connsiteY3" fmla="*/ 2819 h 0"/>
              <a:gd name="connsiteX4" fmla="*/ 0 w 5638"/>
              <a:gd name="connsiteY4" fmla="*/ 3947 h 0"/>
              <a:gd name="connsiteX5" fmla="*/ 564 w 5638"/>
              <a:gd name="connsiteY5" fmla="*/ 4511 h 0"/>
              <a:gd name="connsiteX6" fmla="*/ 1127 w 5638"/>
              <a:gd name="connsiteY6" fmla="*/ 4511 h 0"/>
              <a:gd name="connsiteX7" fmla="*/ 4511 w 5638"/>
              <a:gd name="connsiteY7" fmla="*/ 3383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638">
                <a:moveTo>
                  <a:pt x="4511" y="3383"/>
                </a:moveTo>
                <a:lnTo>
                  <a:pt x="6766" y="0"/>
                </a:lnTo>
                <a:lnTo>
                  <a:pt x="6203" y="0"/>
                </a:lnTo>
                <a:lnTo>
                  <a:pt x="3383" y="2819"/>
                </a:lnTo>
                <a:lnTo>
                  <a:pt x="0" y="3947"/>
                </a:lnTo>
                <a:lnTo>
                  <a:pt x="564" y="4511"/>
                </a:lnTo>
                <a:lnTo>
                  <a:pt x="1127" y="4511"/>
                </a:lnTo>
                <a:lnTo>
                  <a:pt x="4511" y="3383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3" name="Freeform: Shape 416">
            <a:extLst>
              <a:ext uri="{FF2B5EF4-FFF2-40B4-BE49-F238E27FC236}">
                <a16:creationId xmlns:a16="http://schemas.microsoft.com/office/drawing/2014/main" id="{D6A22161-B473-42AD-8E15-4631119B0656}"/>
              </a:ext>
            </a:extLst>
          </p:cNvPr>
          <p:cNvSpPr/>
          <p:nvPr/>
        </p:nvSpPr>
        <p:spPr>
          <a:xfrm>
            <a:off x="4441243" y="3765552"/>
            <a:ext cx="4214" cy="4214"/>
          </a:xfrm>
          <a:custGeom>
            <a:avLst/>
            <a:gdLst>
              <a:gd name="connsiteX0" fmla="*/ 4511 w 5638"/>
              <a:gd name="connsiteY0" fmla="*/ 8458 h 5638"/>
              <a:gd name="connsiteX1" fmla="*/ 6767 w 5638"/>
              <a:gd name="connsiteY1" fmla="*/ 6203 h 5638"/>
              <a:gd name="connsiteX2" fmla="*/ 5075 w 5638"/>
              <a:gd name="connsiteY2" fmla="*/ 4511 h 5638"/>
              <a:gd name="connsiteX3" fmla="*/ 1692 w 5638"/>
              <a:gd name="connsiteY3" fmla="*/ 0 h 5638"/>
              <a:gd name="connsiteX4" fmla="*/ 0 w 5638"/>
              <a:gd name="connsiteY4" fmla="*/ 564 h 5638"/>
              <a:gd name="connsiteX5" fmla="*/ 0 w 5638"/>
              <a:gd name="connsiteY5" fmla="*/ 6203 h 5638"/>
              <a:gd name="connsiteX6" fmla="*/ 564 w 5638"/>
              <a:gd name="connsiteY6" fmla="*/ 7894 h 5638"/>
              <a:gd name="connsiteX7" fmla="*/ 3383 w 5638"/>
              <a:gd name="connsiteY7" fmla="*/ 9586 h 5638"/>
              <a:gd name="connsiteX8" fmla="*/ 4511 w 5638"/>
              <a:gd name="connsiteY8" fmla="*/ 8458 h 5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638" h="5638">
                <a:moveTo>
                  <a:pt x="4511" y="8458"/>
                </a:moveTo>
                <a:lnTo>
                  <a:pt x="6767" y="6203"/>
                </a:lnTo>
                <a:lnTo>
                  <a:pt x="5075" y="4511"/>
                </a:lnTo>
                <a:lnTo>
                  <a:pt x="1692" y="0"/>
                </a:lnTo>
                <a:lnTo>
                  <a:pt x="0" y="564"/>
                </a:lnTo>
                <a:lnTo>
                  <a:pt x="0" y="6203"/>
                </a:lnTo>
                <a:lnTo>
                  <a:pt x="564" y="7894"/>
                </a:lnTo>
                <a:lnTo>
                  <a:pt x="3383" y="9586"/>
                </a:lnTo>
                <a:lnTo>
                  <a:pt x="4511" y="8458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4" name="Freeform: Shape 417">
            <a:extLst>
              <a:ext uri="{FF2B5EF4-FFF2-40B4-BE49-F238E27FC236}">
                <a16:creationId xmlns:a16="http://schemas.microsoft.com/office/drawing/2014/main" id="{86B0D0DC-4450-4A1C-9130-E6DF2BC07A79}"/>
              </a:ext>
            </a:extLst>
          </p:cNvPr>
          <p:cNvSpPr/>
          <p:nvPr/>
        </p:nvSpPr>
        <p:spPr>
          <a:xfrm>
            <a:off x="6859958" y="4427539"/>
            <a:ext cx="29497" cy="25283"/>
          </a:xfrm>
          <a:custGeom>
            <a:avLst/>
            <a:gdLst>
              <a:gd name="connsiteX0" fmla="*/ 16916 w 39471"/>
              <a:gd name="connsiteY0" fmla="*/ 33833 h 33832"/>
              <a:gd name="connsiteX1" fmla="*/ 14661 w 39471"/>
              <a:gd name="connsiteY1" fmla="*/ 31577 h 33832"/>
              <a:gd name="connsiteX2" fmla="*/ 12406 w 39471"/>
              <a:gd name="connsiteY2" fmla="*/ 31577 h 33832"/>
              <a:gd name="connsiteX3" fmla="*/ 12406 w 39471"/>
              <a:gd name="connsiteY3" fmla="*/ 32705 h 33832"/>
              <a:gd name="connsiteX4" fmla="*/ 12970 w 39471"/>
              <a:gd name="connsiteY4" fmla="*/ 34961 h 33832"/>
              <a:gd name="connsiteX5" fmla="*/ 19172 w 39471"/>
              <a:gd name="connsiteY5" fmla="*/ 36088 h 33832"/>
              <a:gd name="connsiteX6" fmla="*/ 16916 w 39471"/>
              <a:gd name="connsiteY6" fmla="*/ 33833 h 33832"/>
              <a:gd name="connsiteX7" fmla="*/ 38908 w 39471"/>
              <a:gd name="connsiteY7" fmla="*/ 25375 h 33832"/>
              <a:gd name="connsiteX8" fmla="*/ 38344 w 39471"/>
              <a:gd name="connsiteY8" fmla="*/ 25375 h 33832"/>
              <a:gd name="connsiteX9" fmla="*/ 37216 w 39471"/>
              <a:gd name="connsiteY9" fmla="*/ 25938 h 33832"/>
              <a:gd name="connsiteX10" fmla="*/ 36652 w 39471"/>
              <a:gd name="connsiteY10" fmla="*/ 27066 h 33832"/>
              <a:gd name="connsiteX11" fmla="*/ 36088 w 39471"/>
              <a:gd name="connsiteY11" fmla="*/ 28758 h 33832"/>
              <a:gd name="connsiteX12" fmla="*/ 34397 w 39471"/>
              <a:gd name="connsiteY12" fmla="*/ 28758 h 33832"/>
              <a:gd name="connsiteX13" fmla="*/ 33269 w 39471"/>
              <a:gd name="connsiteY13" fmla="*/ 28758 h 33832"/>
              <a:gd name="connsiteX14" fmla="*/ 31013 w 39471"/>
              <a:gd name="connsiteY14" fmla="*/ 28758 h 33832"/>
              <a:gd name="connsiteX15" fmla="*/ 35525 w 39471"/>
              <a:gd name="connsiteY15" fmla="*/ 31577 h 33832"/>
              <a:gd name="connsiteX16" fmla="*/ 38344 w 39471"/>
              <a:gd name="connsiteY16" fmla="*/ 34397 h 33832"/>
              <a:gd name="connsiteX17" fmla="*/ 39472 w 39471"/>
              <a:gd name="connsiteY17" fmla="*/ 35524 h 33832"/>
              <a:gd name="connsiteX18" fmla="*/ 40035 w 39471"/>
              <a:gd name="connsiteY18" fmla="*/ 34397 h 33832"/>
              <a:gd name="connsiteX19" fmla="*/ 40600 w 39471"/>
              <a:gd name="connsiteY19" fmla="*/ 30450 h 33832"/>
              <a:gd name="connsiteX20" fmla="*/ 38908 w 39471"/>
              <a:gd name="connsiteY20" fmla="*/ 25375 h 33832"/>
              <a:gd name="connsiteX21" fmla="*/ 7331 w 39471"/>
              <a:gd name="connsiteY21" fmla="*/ 19172 h 33832"/>
              <a:gd name="connsiteX22" fmla="*/ 8458 w 39471"/>
              <a:gd name="connsiteY22" fmla="*/ 17480 h 33832"/>
              <a:gd name="connsiteX23" fmla="*/ 7331 w 39471"/>
              <a:gd name="connsiteY23" fmla="*/ 13533 h 33832"/>
              <a:gd name="connsiteX24" fmla="*/ 5075 w 39471"/>
              <a:gd name="connsiteY24" fmla="*/ 9022 h 33832"/>
              <a:gd name="connsiteX25" fmla="*/ 5639 w 39471"/>
              <a:gd name="connsiteY25" fmla="*/ 1128 h 33832"/>
              <a:gd name="connsiteX26" fmla="*/ 4511 w 39471"/>
              <a:gd name="connsiteY26" fmla="*/ 0 h 33832"/>
              <a:gd name="connsiteX27" fmla="*/ 2819 w 39471"/>
              <a:gd name="connsiteY27" fmla="*/ 0 h 33832"/>
              <a:gd name="connsiteX28" fmla="*/ 2256 w 39471"/>
              <a:gd name="connsiteY28" fmla="*/ 564 h 33832"/>
              <a:gd name="connsiteX29" fmla="*/ 1692 w 39471"/>
              <a:gd name="connsiteY29" fmla="*/ 2256 h 33832"/>
              <a:gd name="connsiteX30" fmla="*/ 0 w 39471"/>
              <a:gd name="connsiteY30" fmla="*/ 13533 h 33832"/>
              <a:gd name="connsiteX31" fmla="*/ 2256 w 39471"/>
              <a:gd name="connsiteY31" fmla="*/ 16916 h 33832"/>
              <a:gd name="connsiteX32" fmla="*/ 3948 w 39471"/>
              <a:gd name="connsiteY32" fmla="*/ 17480 h 33832"/>
              <a:gd name="connsiteX33" fmla="*/ 6767 w 39471"/>
              <a:gd name="connsiteY33" fmla="*/ 19736 h 33832"/>
              <a:gd name="connsiteX34" fmla="*/ 7331 w 39471"/>
              <a:gd name="connsiteY34" fmla="*/ 19172 h 33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39471" h="33832">
                <a:moveTo>
                  <a:pt x="16916" y="33833"/>
                </a:moveTo>
                <a:lnTo>
                  <a:pt x="14661" y="31577"/>
                </a:lnTo>
                <a:lnTo>
                  <a:pt x="12406" y="31577"/>
                </a:lnTo>
                <a:lnTo>
                  <a:pt x="12406" y="32705"/>
                </a:lnTo>
                <a:lnTo>
                  <a:pt x="12970" y="34961"/>
                </a:lnTo>
                <a:lnTo>
                  <a:pt x="19172" y="36088"/>
                </a:lnTo>
                <a:lnTo>
                  <a:pt x="16916" y="33833"/>
                </a:lnTo>
                <a:close/>
                <a:moveTo>
                  <a:pt x="38908" y="25375"/>
                </a:moveTo>
                <a:lnTo>
                  <a:pt x="38344" y="25375"/>
                </a:lnTo>
                <a:lnTo>
                  <a:pt x="37216" y="25938"/>
                </a:lnTo>
                <a:lnTo>
                  <a:pt x="36652" y="27066"/>
                </a:lnTo>
                <a:lnTo>
                  <a:pt x="36088" y="28758"/>
                </a:lnTo>
                <a:lnTo>
                  <a:pt x="34397" y="28758"/>
                </a:lnTo>
                <a:lnTo>
                  <a:pt x="33269" y="28758"/>
                </a:lnTo>
                <a:lnTo>
                  <a:pt x="31013" y="28758"/>
                </a:lnTo>
                <a:lnTo>
                  <a:pt x="35525" y="31577"/>
                </a:lnTo>
                <a:lnTo>
                  <a:pt x="38344" y="34397"/>
                </a:lnTo>
                <a:lnTo>
                  <a:pt x="39472" y="35524"/>
                </a:lnTo>
                <a:lnTo>
                  <a:pt x="40035" y="34397"/>
                </a:lnTo>
                <a:lnTo>
                  <a:pt x="40600" y="30450"/>
                </a:lnTo>
                <a:lnTo>
                  <a:pt x="38908" y="25375"/>
                </a:lnTo>
                <a:close/>
                <a:moveTo>
                  <a:pt x="7331" y="19172"/>
                </a:moveTo>
                <a:lnTo>
                  <a:pt x="8458" y="17480"/>
                </a:lnTo>
                <a:lnTo>
                  <a:pt x="7331" y="13533"/>
                </a:lnTo>
                <a:lnTo>
                  <a:pt x="5075" y="9022"/>
                </a:lnTo>
                <a:lnTo>
                  <a:pt x="5639" y="1128"/>
                </a:lnTo>
                <a:lnTo>
                  <a:pt x="4511" y="0"/>
                </a:lnTo>
                <a:lnTo>
                  <a:pt x="2819" y="0"/>
                </a:lnTo>
                <a:lnTo>
                  <a:pt x="2256" y="564"/>
                </a:lnTo>
                <a:lnTo>
                  <a:pt x="1692" y="2256"/>
                </a:lnTo>
                <a:lnTo>
                  <a:pt x="0" y="13533"/>
                </a:lnTo>
                <a:lnTo>
                  <a:pt x="2256" y="16916"/>
                </a:lnTo>
                <a:lnTo>
                  <a:pt x="3948" y="17480"/>
                </a:lnTo>
                <a:lnTo>
                  <a:pt x="6767" y="19736"/>
                </a:lnTo>
                <a:lnTo>
                  <a:pt x="7331" y="19172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5" name="Freeform: Shape 418">
            <a:extLst>
              <a:ext uri="{FF2B5EF4-FFF2-40B4-BE49-F238E27FC236}">
                <a16:creationId xmlns:a16="http://schemas.microsoft.com/office/drawing/2014/main" id="{7F761108-353F-474F-8385-7CC5EA0913CC}"/>
              </a:ext>
            </a:extLst>
          </p:cNvPr>
          <p:cNvSpPr/>
          <p:nvPr/>
        </p:nvSpPr>
        <p:spPr>
          <a:xfrm>
            <a:off x="5250292" y="3661893"/>
            <a:ext cx="58993" cy="63207"/>
          </a:xfrm>
          <a:custGeom>
            <a:avLst/>
            <a:gdLst>
              <a:gd name="connsiteX0" fmla="*/ 29886 w 78943"/>
              <a:gd name="connsiteY0" fmla="*/ 83454 h 84582"/>
              <a:gd name="connsiteX1" fmla="*/ 30450 w 78943"/>
              <a:gd name="connsiteY1" fmla="*/ 81199 h 84582"/>
              <a:gd name="connsiteX2" fmla="*/ 29322 w 78943"/>
              <a:gd name="connsiteY2" fmla="*/ 77816 h 84582"/>
              <a:gd name="connsiteX3" fmla="*/ 27630 w 78943"/>
              <a:gd name="connsiteY3" fmla="*/ 77252 h 84582"/>
              <a:gd name="connsiteX4" fmla="*/ 24247 w 78943"/>
              <a:gd name="connsiteY4" fmla="*/ 79507 h 84582"/>
              <a:gd name="connsiteX5" fmla="*/ 23683 w 78943"/>
              <a:gd name="connsiteY5" fmla="*/ 81199 h 84582"/>
              <a:gd name="connsiteX6" fmla="*/ 24247 w 78943"/>
              <a:gd name="connsiteY6" fmla="*/ 82890 h 84582"/>
              <a:gd name="connsiteX7" fmla="*/ 25939 w 78943"/>
              <a:gd name="connsiteY7" fmla="*/ 84582 h 84582"/>
              <a:gd name="connsiteX8" fmla="*/ 27630 w 78943"/>
              <a:gd name="connsiteY8" fmla="*/ 85146 h 84582"/>
              <a:gd name="connsiteX9" fmla="*/ 29886 w 78943"/>
              <a:gd name="connsiteY9" fmla="*/ 83454 h 84582"/>
              <a:gd name="connsiteX10" fmla="*/ 65410 w 78943"/>
              <a:gd name="connsiteY10" fmla="*/ 73868 h 84582"/>
              <a:gd name="connsiteX11" fmla="*/ 67666 w 78943"/>
              <a:gd name="connsiteY11" fmla="*/ 72741 h 84582"/>
              <a:gd name="connsiteX12" fmla="*/ 67666 w 78943"/>
              <a:gd name="connsiteY12" fmla="*/ 68793 h 84582"/>
              <a:gd name="connsiteX13" fmla="*/ 67102 w 78943"/>
              <a:gd name="connsiteY13" fmla="*/ 67102 h 84582"/>
              <a:gd name="connsiteX14" fmla="*/ 64846 w 78943"/>
              <a:gd name="connsiteY14" fmla="*/ 67102 h 84582"/>
              <a:gd name="connsiteX15" fmla="*/ 63719 w 78943"/>
              <a:gd name="connsiteY15" fmla="*/ 69357 h 84582"/>
              <a:gd name="connsiteX16" fmla="*/ 63719 w 78943"/>
              <a:gd name="connsiteY16" fmla="*/ 69921 h 84582"/>
              <a:gd name="connsiteX17" fmla="*/ 63719 w 78943"/>
              <a:gd name="connsiteY17" fmla="*/ 72177 h 84582"/>
              <a:gd name="connsiteX18" fmla="*/ 64846 w 78943"/>
              <a:gd name="connsiteY18" fmla="*/ 73868 h 84582"/>
              <a:gd name="connsiteX19" fmla="*/ 65410 w 78943"/>
              <a:gd name="connsiteY19" fmla="*/ 73868 h 84582"/>
              <a:gd name="connsiteX20" fmla="*/ 57516 w 78943"/>
              <a:gd name="connsiteY20" fmla="*/ 78379 h 84582"/>
              <a:gd name="connsiteX21" fmla="*/ 54696 w 78943"/>
              <a:gd name="connsiteY21" fmla="*/ 73304 h 84582"/>
              <a:gd name="connsiteX22" fmla="*/ 53005 w 78943"/>
              <a:gd name="connsiteY22" fmla="*/ 72741 h 84582"/>
              <a:gd name="connsiteX23" fmla="*/ 49622 w 78943"/>
              <a:gd name="connsiteY23" fmla="*/ 68793 h 84582"/>
              <a:gd name="connsiteX24" fmla="*/ 49622 w 78943"/>
              <a:gd name="connsiteY24" fmla="*/ 67102 h 84582"/>
              <a:gd name="connsiteX25" fmla="*/ 47930 w 78943"/>
              <a:gd name="connsiteY25" fmla="*/ 66538 h 84582"/>
              <a:gd name="connsiteX26" fmla="*/ 47930 w 78943"/>
              <a:gd name="connsiteY26" fmla="*/ 67666 h 84582"/>
              <a:gd name="connsiteX27" fmla="*/ 47930 w 78943"/>
              <a:gd name="connsiteY27" fmla="*/ 69921 h 84582"/>
              <a:gd name="connsiteX28" fmla="*/ 46802 w 78943"/>
              <a:gd name="connsiteY28" fmla="*/ 72741 h 84582"/>
              <a:gd name="connsiteX29" fmla="*/ 46802 w 78943"/>
              <a:gd name="connsiteY29" fmla="*/ 75560 h 84582"/>
              <a:gd name="connsiteX30" fmla="*/ 49058 w 78943"/>
              <a:gd name="connsiteY30" fmla="*/ 80071 h 84582"/>
              <a:gd name="connsiteX31" fmla="*/ 51313 w 78943"/>
              <a:gd name="connsiteY31" fmla="*/ 81199 h 84582"/>
              <a:gd name="connsiteX32" fmla="*/ 55261 w 78943"/>
              <a:gd name="connsiteY32" fmla="*/ 81763 h 84582"/>
              <a:gd name="connsiteX33" fmla="*/ 57516 w 78943"/>
              <a:gd name="connsiteY33" fmla="*/ 78379 h 84582"/>
              <a:gd name="connsiteX34" fmla="*/ 74996 w 78943"/>
              <a:gd name="connsiteY34" fmla="*/ 34397 h 84582"/>
              <a:gd name="connsiteX35" fmla="*/ 74996 w 78943"/>
              <a:gd name="connsiteY35" fmla="*/ 37216 h 84582"/>
              <a:gd name="connsiteX36" fmla="*/ 73304 w 78943"/>
              <a:gd name="connsiteY36" fmla="*/ 41163 h 84582"/>
              <a:gd name="connsiteX37" fmla="*/ 76124 w 78943"/>
              <a:gd name="connsiteY37" fmla="*/ 42855 h 84582"/>
              <a:gd name="connsiteX38" fmla="*/ 77816 w 78943"/>
              <a:gd name="connsiteY38" fmla="*/ 43419 h 84582"/>
              <a:gd name="connsiteX39" fmla="*/ 81199 w 78943"/>
              <a:gd name="connsiteY39" fmla="*/ 41163 h 84582"/>
              <a:gd name="connsiteX40" fmla="*/ 82327 w 78943"/>
              <a:gd name="connsiteY40" fmla="*/ 38344 h 84582"/>
              <a:gd name="connsiteX41" fmla="*/ 81763 w 78943"/>
              <a:gd name="connsiteY41" fmla="*/ 36652 h 84582"/>
              <a:gd name="connsiteX42" fmla="*/ 80071 w 78943"/>
              <a:gd name="connsiteY42" fmla="*/ 34961 h 84582"/>
              <a:gd name="connsiteX43" fmla="*/ 78379 w 78943"/>
              <a:gd name="connsiteY43" fmla="*/ 34397 h 84582"/>
              <a:gd name="connsiteX44" fmla="*/ 77816 w 78943"/>
              <a:gd name="connsiteY44" fmla="*/ 34961 h 84582"/>
              <a:gd name="connsiteX45" fmla="*/ 74996 w 78943"/>
              <a:gd name="connsiteY45" fmla="*/ 34397 h 84582"/>
              <a:gd name="connsiteX46" fmla="*/ 38908 w 78943"/>
              <a:gd name="connsiteY46" fmla="*/ 20300 h 84582"/>
              <a:gd name="connsiteX47" fmla="*/ 33269 w 78943"/>
              <a:gd name="connsiteY47" fmla="*/ 19736 h 84582"/>
              <a:gd name="connsiteX48" fmla="*/ 29886 w 78943"/>
              <a:gd name="connsiteY48" fmla="*/ 18608 h 84582"/>
              <a:gd name="connsiteX49" fmla="*/ 29322 w 78943"/>
              <a:gd name="connsiteY49" fmla="*/ 18608 h 84582"/>
              <a:gd name="connsiteX50" fmla="*/ 29322 w 78943"/>
              <a:gd name="connsiteY50" fmla="*/ 20300 h 84582"/>
              <a:gd name="connsiteX51" fmla="*/ 31577 w 78943"/>
              <a:gd name="connsiteY51" fmla="*/ 24811 h 84582"/>
              <a:gd name="connsiteX52" fmla="*/ 32705 w 78943"/>
              <a:gd name="connsiteY52" fmla="*/ 21991 h 84582"/>
              <a:gd name="connsiteX53" fmla="*/ 33833 w 78943"/>
              <a:gd name="connsiteY53" fmla="*/ 21428 h 84582"/>
              <a:gd name="connsiteX54" fmla="*/ 38344 w 78943"/>
              <a:gd name="connsiteY54" fmla="*/ 22555 h 84582"/>
              <a:gd name="connsiteX55" fmla="*/ 40599 w 78943"/>
              <a:gd name="connsiteY55" fmla="*/ 21991 h 84582"/>
              <a:gd name="connsiteX56" fmla="*/ 40036 w 78943"/>
              <a:gd name="connsiteY56" fmla="*/ 21428 h 84582"/>
              <a:gd name="connsiteX57" fmla="*/ 38908 w 78943"/>
              <a:gd name="connsiteY57" fmla="*/ 20300 h 84582"/>
              <a:gd name="connsiteX58" fmla="*/ 76688 w 78943"/>
              <a:gd name="connsiteY58" fmla="*/ 19172 h 84582"/>
              <a:gd name="connsiteX59" fmla="*/ 76124 w 78943"/>
              <a:gd name="connsiteY59" fmla="*/ 16353 h 84582"/>
              <a:gd name="connsiteX60" fmla="*/ 76124 w 78943"/>
              <a:gd name="connsiteY60" fmla="*/ 12405 h 84582"/>
              <a:gd name="connsiteX61" fmla="*/ 74996 w 78943"/>
              <a:gd name="connsiteY61" fmla="*/ 12405 h 84582"/>
              <a:gd name="connsiteX62" fmla="*/ 73304 w 78943"/>
              <a:gd name="connsiteY62" fmla="*/ 13533 h 84582"/>
              <a:gd name="connsiteX63" fmla="*/ 73868 w 78943"/>
              <a:gd name="connsiteY63" fmla="*/ 17480 h 84582"/>
              <a:gd name="connsiteX64" fmla="*/ 74432 w 78943"/>
              <a:gd name="connsiteY64" fmla="*/ 18044 h 84582"/>
              <a:gd name="connsiteX65" fmla="*/ 75560 w 78943"/>
              <a:gd name="connsiteY65" fmla="*/ 20864 h 84582"/>
              <a:gd name="connsiteX66" fmla="*/ 76688 w 78943"/>
              <a:gd name="connsiteY66" fmla="*/ 19172 h 84582"/>
              <a:gd name="connsiteX67" fmla="*/ 14097 w 78943"/>
              <a:gd name="connsiteY67" fmla="*/ 13533 h 84582"/>
              <a:gd name="connsiteX68" fmla="*/ 14097 w 78943"/>
              <a:gd name="connsiteY68" fmla="*/ 12405 h 84582"/>
              <a:gd name="connsiteX69" fmla="*/ 12405 w 78943"/>
              <a:gd name="connsiteY69" fmla="*/ 9586 h 84582"/>
              <a:gd name="connsiteX70" fmla="*/ 10714 w 78943"/>
              <a:gd name="connsiteY70" fmla="*/ 10150 h 84582"/>
              <a:gd name="connsiteX71" fmla="*/ 8458 w 78943"/>
              <a:gd name="connsiteY71" fmla="*/ 11278 h 84582"/>
              <a:gd name="connsiteX72" fmla="*/ 7894 w 78943"/>
              <a:gd name="connsiteY72" fmla="*/ 12969 h 84582"/>
              <a:gd name="connsiteX73" fmla="*/ 10150 w 78943"/>
              <a:gd name="connsiteY73" fmla="*/ 14097 h 84582"/>
              <a:gd name="connsiteX74" fmla="*/ 11278 w 78943"/>
              <a:gd name="connsiteY74" fmla="*/ 14097 h 84582"/>
              <a:gd name="connsiteX75" fmla="*/ 14097 w 78943"/>
              <a:gd name="connsiteY75" fmla="*/ 13533 h 84582"/>
              <a:gd name="connsiteX76" fmla="*/ 5639 w 78943"/>
              <a:gd name="connsiteY76" fmla="*/ 8458 h 84582"/>
              <a:gd name="connsiteX77" fmla="*/ 10150 w 78943"/>
              <a:gd name="connsiteY77" fmla="*/ 5075 h 84582"/>
              <a:gd name="connsiteX78" fmla="*/ 11278 w 78943"/>
              <a:gd name="connsiteY78" fmla="*/ 3383 h 84582"/>
              <a:gd name="connsiteX79" fmla="*/ 10150 w 78943"/>
              <a:gd name="connsiteY79" fmla="*/ 564 h 84582"/>
              <a:gd name="connsiteX80" fmla="*/ 7331 w 78943"/>
              <a:gd name="connsiteY80" fmla="*/ 0 h 84582"/>
              <a:gd name="connsiteX81" fmla="*/ 564 w 78943"/>
              <a:gd name="connsiteY81" fmla="*/ 3383 h 84582"/>
              <a:gd name="connsiteX82" fmla="*/ 0 w 78943"/>
              <a:gd name="connsiteY82" fmla="*/ 4511 h 84582"/>
              <a:gd name="connsiteX83" fmla="*/ 564 w 78943"/>
              <a:gd name="connsiteY83" fmla="*/ 6203 h 84582"/>
              <a:gd name="connsiteX84" fmla="*/ 1128 w 78943"/>
              <a:gd name="connsiteY84" fmla="*/ 9022 h 84582"/>
              <a:gd name="connsiteX85" fmla="*/ 2256 w 78943"/>
              <a:gd name="connsiteY85" fmla="*/ 9586 h 84582"/>
              <a:gd name="connsiteX86" fmla="*/ 5639 w 78943"/>
              <a:gd name="connsiteY86" fmla="*/ 8458 h 84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</a:cxnLst>
            <a:rect l="l" t="t" r="r" b="b"/>
            <a:pathLst>
              <a:path w="78943" h="84582">
                <a:moveTo>
                  <a:pt x="29886" y="83454"/>
                </a:moveTo>
                <a:lnTo>
                  <a:pt x="30450" y="81199"/>
                </a:lnTo>
                <a:lnTo>
                  <a:pt x="29322" y="77816"/>
                </a:lnTo>
                <a:lnTo>
                  <a:pt x="27630" y="77252"/>
                </a:lnTo>
                <a:lnTo>
                  <a:pt x="24247" y="79507"/>
                </a:lnTo>
                <a:lnTo>
                  <a:pt x="23683" y="81199"/>
                </a:lnTo>
                <a:lnTo>
                  <a:pt x="24247" y="82890"/>
                </a:lnTo>
                <a:lnTo>
                  <a:pt x="25939" y="84582"/>
                </a:lnTo>
                <a:lnTo>
                  <a:pt x="27630" y="85146"/>
                </a:lnTo>
                <a:lnTo>
                  <a:pt x="29886" y="83454"/>
                </a:lnTo>
                <a:close/>
                <a:moveTo>
                  <a:pt x="65410" y="73868"/>
                </a:moveTo>
                <a:lnTo>
                  <a:pt x="67666" y="72741"/>
                </a:lnTo>
                <a:lnTo>
                  <a:pt x="67666" y="68793"/>
                </a:lnTo>
                <a:lnTo>
                  <a:pt x="67102" y="67102"/>
                </a:lnTo>
                <a:lnTo>
                  <a:pt x="64846" y="67102"/>
                </a:lnTo>
                <a:lnTo>
                  <a:pt x="63719" y="69357"/>
                </a:lnTo>
                <a:lnTo>
                  <a:pt x="63719" y="69921"/>
                </a:lnTo>
                <a:lnTo>
                  <a:pt x="63719" y="72177"/>
                </a:lnTo>
                <a:lnTo>
                  <a:pt x="64846" y="73868"/>
                </a:lnTo>
                <a:lnTo>
                  <a:pt x="65410" y="73868"/>
                </a:lnTo>
                <a:close/>
                <a:moveTo>
                  <a:pt x="57516" y="78379"/>
                </a:moveTo>
                <a:lnTo>
                  <a:pt x="54696" y="73304"/>
                </a:lnTo>
                <a:lnTo>
                  <a:pt x="53005" y="72741"/>
                </a:lnTo>
                <a:lnTo>
                  <a:pt x="49622" y="68793"/>
                </a:lnTo>
                <a:lnTo>
                  <a:pt x="49622" y="67102"/>
                </a:lnTo>
                <a:lnTo>
                  <a:pt x="47930" y="66538"/>
                </a:lnTo>
                <a:lnTo>
                  <a:pt x="47930" y="67666"/>
                </a:lnTo>
                <a:lnTo>
                  <a:pt x="47930" y="69921"/>
                </a:lnTo>
                <a:lnTo>
                  <a:pt x="46802" y="72741"/>
                </a:lnTo>
                <a:lnTo>
                  <a:pt x="46802" y="75560"/>
                </a:lnTo>
                <a:lnTo>
                  <a:pt x="49058" y="80071"/>
                </a:lnTo>
                <a:lnTo>
                  <a:pt x="51313" y="81199"/>
                </a:lnTo>
                <a:lnTo>
                  <a:pt x="55261" y="81763"/>
                </a:lnTo>
                <a:lnTo>
                  <a:pt x="57516" y="78379"/>
                </a:lnTo>
                <a:close/>
                <a:moveTo>
                  <a:pt x="74996" y="34397"/>
                </a:moveTo>
                <a:lnTo>
                  <a:pt x="74996" y="37216"/>
                </a:lnTo>
                <a:lnTo>
                  <a:pt x="73304" y="41163"/>
                </a:lnTo>
                <a:lnTo>
                  <a:pt x="76124" y="42855"/>
                </a:lnTo>
                <a:lnTo>
                  <a:pt x="77816" y="43419"/>
                </a:lnTo>
                <a:lnTo>
                  <a:pt x="81199" y="41163"/>
                </a:lnTo>
                <a:lnTo>
                  <a:pt x="82327" y="38344"/>
                </a:lnTo>
                <a:lnTo>
                  <a:pt x="81763" y="36652"/>
                </a:lnTo>
                <a:lnTo>
                  <a:pt x="80071" y="34961"/>
                </a:lnTo>
                <a:lnTo>
                  <a:pt x="78379" y="34397"/>
                </a:lnTo>
                <a:lnTo>
                  <a:pt x="77816" y="34961"/>
                </a:lnTo>
                <a:lnTo>
                  <a:pt x="74996" y="34397"/>
                </a:lnTo>
                <a:close/>
                <a:moveTo>
                  <a:pt x="38908" y="20300"/>
                </a:moveTo>
                <a:lnTo>
                  <a:pt x="33269" y="19736"/>
                </a:lnTo>
                <a:lnTo>
                  <a:pt x="29886" y="18608"/>
                </a:lnTo>
                <a:lnTo>
                  <a:pt x="29322" y="18608"/>
                </a:lnTo>
                <a:lnTo>
                  <a:pt x="29322" y="20300"/>
                </a:lnTo>
                <a:lnTo>
                  <a:pt x="31577" y="24811"/>
                </a:lnTo>
                <a:lnTo>
                  <a:pt x="32705" y="21991"/>
                </a:lnTo>
                <a:lnTo>
                  <a:pt x="33833" y="21428"/>
                </a:lnTo>
                <a:lnTo>
                  <a:pt x="38344" y="22555"/>
                </a:lnTo>
                <a:lnTo>
                  <a:pt x="40599" y="21991"/>
                </a:lnTo>
                <a:lnTo>
                  <a:pt x="40036" y="21428"/>
                </a:lnTo>
                <a:lnTo>
                  <a:pt x="38908" y="20300"/>
                </a:lnTo>
                <a:close/>
                <a:moveTo>
                  <a:pt x="76688" y="19172"/>
                </a:moveTo>
                <a:lnTo>
                  <a:pt x="76124" y="16353"/>
                </a:lnTo>
                <a:lnTo>
                  <a:pt x="76124" y="12405"/>
                </a:lnTo>
                <a:lnTo>
                  <a:pt x="74996" y="12405"/>
                </a:lnTo>
                <a:lnTo>
                  <a:pt x="73304" y="13533"/>
                </a:lnTo>
                <a:lnTo>
                  <a:pt x="73868" y="17480"/>
                </a:lnTo>
                <a:lnTo>
                  <a:pt x="74432" y="18044"/>
                </a:lnTo>
                <a:lnTo>
                  <a:pt x="75560" y="20864"/>
                </a:lnTo>
                <a:lnTo>
                  <a:pt x="76688" y="19172"/>
                </a:lnTo>
                <a:close/>
                <a:moveTo>
                  <a:pt x="14097" y="13533"/>
                </a:moveTo>
                <a:lnTo>
                  <a:pt x="14097" y="12405"/>
                </a:lnTo>
                <a:lnTo>
                  <a:pt x="12405" y="9586"/>
                </a:lnTo>
                <a:lnTo>
                  <a:pt x="10714" y="10150"/>
                </a:lnTo>
                <a:lnTo>
                  <a:pt x="8458" y="11278"/>
                </a:lnTo>
                <a:lnTo>
                  <a:pt x="7894" y="12969"/>
                </a:lnTo>
                <a:lnTo>
                  <a:pt x="10150" y="14097"/>
                </a:lnTo>
                <a:lnTo>
                  <a:pt x="11278" y="14097"/>
                </a:lnTo>
                <a:lnTo>
                  <a:pt x="14097" y="13533"/>
                </a:lnTo>
                <a:close/>
                <a:moveTo>
                  <a:pt x="5639" y="8458"/>
                </a:moveTo>
                <a:lnTo>
                  <a:pt x="10150" y="5075"/>
                </a:lnTo>
                <a:lnTo>
                  <a:pt x="11278" y="3383"/>
                </a:lnTo>
                <a:lnTo>
                  <a:pt x="10150" y="564"/>
                </a:lnTo>
                <a:lnTo>
                  <a:pt x="7331" y="0"/>
                </a:lnTo>
                <a:lnTo>
                  <a:pt x="564" y="3383"/>
                </a:lnTo>
                <a:lnTo>
                  <a:pt x="0" y="4511"/>
                </a:lnTo>
                <a:lnTo>
                  <a:pt x="564" y="6203"/>
                </a:lnTo>
                <a:lnTo>
                  <a:pt x="1128" y="9022"/>
                </a:lnTo>
                <a:lnTo>
                  <a:pt x="2256" y="9586"/>
                </a:lnTo>
                <a:lnTo>
                  <a:pt x="5639" y="8458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6" name="Freeform: Shape 419">
            <a:extLst>
              <a:ext uri="{FF2B5EF4-FFF2-40B4-BE49-F238E27FC236}">
                <a16:creationId xmlns:a16="http://schemas.microsoft.com/office/drawing/2014/main" id="{5743A560-FB00-4C5A-AE0F-BA7F02D4CFDF}"/>
              </a:ext>
            </a:extLst>
          </p:cNvPr>
          <p:cNvSpPr/>
          <p:nvPr/>
        </p:nvSpPr>
        <p:spPr>
          <a:xfrm>
            <a:off x="3946966" y="3592787"/>
            <a:ext cx="37924" cy="12641"/>
          </a:xfrm>
          <a:custGeom>
            <a:avLst/>
            <a:gdLst>
              <a:gd name="connsiteX0" fmla="*/ 1128 w 50749"/>
              <a:gd name="connsiteY0" fmla="*/ 15225 h 16916"/>
              <a:gd name="connsiteX1" fmla="*/ 564 w 50749"/>
              <a:gd name="connsiteY1" fmla="*/ 13533 h 16916"/>
              <a:gd name="connsiteX2" fmla="*/ 0 w 50749"/>
              <a:gd name="connsiteY2" fmla="*/ 14097 h 16916"/>
              <a:gd name="connsiteX3" fmla="*/ 0 w 50749"/>
              <a:gd name="connsiteY3" fmla="*/ 17480 h 16916"/>
              <a:gd name="connsiteX4" fmla="*/ 2819 w 50749"/>
              <a:gd name="connsiteY4" fmla="*/ 17480 h 16916"/>
              <a:gd name="connsiteX5" fmla="*/ 3947 w 50749"/>
              <a:gd name="connsiteY5" fmla="*/ 17480 h 16916"/>
              <a:gd name="connsiteX6" fmla="*/ 5639 w 50749"/>
              <a:gd name="connsiteY6" fmla="*/ 16352 h 16916"/>
              <a:gd name="connsiteX7" fmla="*/ 9022 w 50749"/>
              <a:gd name="connsiteY7" fmla="*/ 16352 h 16916"/>
              <a:gd name="connsiteX8" fmla="*/ 8458 w 50749"/>
              <a:gd name="connsiteY8" fmla="*/ 15225 h 16916"/>
              <a:gd name="connsiteX9" fmla="*/ 3947 w 50749"/>
              <a:gd name="connsiteY9" fmla="*/ 14661 h 16916"/>
              <a:gd name="connsiteX10" fmla="*/ 3383 w 50749"/>
              <a:gd name="connsiteY10" fmla="*/ 15225 h 16916"/>
              <a:gd name="connsiteX11" fmla="*/ 2256 w 50749"/>
              <a:gd name="connsiteY11" fmla="*/ 15789 h 16916"/>
              <a:gd name="connsiteX12" fmla="*/ 1128 w 50749"/>
              <a:gd name="connsiteY12" fmla="*/ 15225 h 16916"/>
              <a:gd name="connsiteX13" fmla="*/ 46238 w 50749"/>
              <a:gd name="connsiteY13" fmla="*/ 2255 h 16916"/>
              <a:gd name="connsiteX14" fmla="*/ 46238 w 50749"/>
              <a:gd name="connsiteY14" fmla="*/ 2255 h 16916"/>
              <a:gd name="connsiteX15" fmla="*/ 45674 w 50749"/>
              <a:gd name="connsiteY15" fmla="*/ 1692 h 16916"/>
              <a:gd name="connsiteX16" fmla="*/ 45110 w 50749"/>
              <a:gd name="connsiteY16" fmla="*/ 1692 h 16916"/>
              <a:gd name="connsiteX17" fmla="*/ 43419 w 50749"/>
              <a:gd name="connsiteY17" fmla="*/ 2255 h 16916"/>
              <a:gd name="connsiteX18" fmla="*/ 42855 w 50749"/>
              <a:gd name="connsiteY18" fmla="*/ 2255 h 16916"/>
              <a:gd name="connsiteX19" fmla="*/ 42291 w 50749"/>
              <a:gd name="connsiteY19" fmla="*/ 2255 h 16916"/>
              <a:gd name="connsiteX20" fmla="*/ 41727 w 50749"/>
              <a:gd name="connsiteY20" fmla="*/ 2819 h 16916"/>
              <a:gd name="connsiteX21" fmla="*/ 41163 w 50749"/>
              <a:gd name="connsiteY21" fmla="*/ 3383 h 16916"/>
              <a:gd name="connsiteX22" fmla="*/ 42291 w 50749"/>
              <a:gd name="connsiteY22" fmla="*/ 3383 h 16916"/>
              <a:gd name="connsiteX23" fmla="*/ 44547 w 50749"/>
              <a:gd name="connsiteY23" fmla="*/ 2255 h 16916"/>
              <a:gd name="connsiteX24" fmla="*/ 45674 w 50749"/>
              <a:gd name="connsiteY24" fmla="*/ 2255 h 16916"/>
              <a:gd name="connsiteX25" fmla="*/ 46238 w 50749"/>
              <a:gd name="connsiteY25" fmla="*/ 2255 h 16916"/>
              <a:gd name="connsiteX26" fmla="*/ 50749 w 50749"/>
              <a:gd name="connsiteY26" fmla="*/ 1692 h 16916"/>
              <a:gd name="connsiteX27" fmla="*/ 53569 w 50749"/>
              <a:gd name="connsiteY27" fmla="*/ 564 h 16916"/>
              <a:gd name="connsiteX28" fmla="*/ 53569 w 50749"/>
              <a:gd name="connsiteY28" fmla="*/ 564 h 16916"/>
              <a:gd name="connsiteX29" fmla="*/ 53005 w 50749"/>
              <a:gd name="connsiteY29" fmla="*/ 0 h 16916"/>
              <a:gd name="connsiteX30" fmla="*/ 52441 w 50749"/>
              <a:gd name="connsiteY30" fmla="*/ 0 h 16916"/>
              <a:gd name="connsiteX31" fmla="*/ 51877 w 50749"/>
              <a:gd name="connsiteY31" fmla="*/ 564 h 16916"/>
              <a:gd name="connsiteX32" fmla="*/ 51313 w 50749"/>
              <a:gd name="connsiteY32" fmla="*/ 564 h 16916"/>
              <a:gd name="connsiteX33" fmla="*/ 48494 w 50749"/>
              <a:gd name="connsiteY33" fmla="*/ 2255 h 16916"/>
              <a:gd name="connsiteX34" fmla="*/ 49621 w 50749"/>
              <a:gd name="connsiteY34" fmla="*/ 2255 h 16916"/>
              <a:gd name="connsiteX35" fmla="*/ 50749 w 50749"/>
              <a:gd name="connsiteY35" fmla="*/ 1692 h 169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50749" h="16916">
                <a:moveTo>
                  <a:pt x="1128" y="15225"/>
                </a:moveTo>
                <a:lnTo>
                  <a:pt x="564" y="13533"/>
                </a:lnTo>
                <a:lnTo>
                  <a:pt x="0" y="14097"/>
                </a:lnTo>
                <a:lnTo>
                  <a:pt x="0" y="17480"/>
                </a:lnTo>
                <a:lnTo>
                  <a:pt x="2819" y="17480"/>
                </a:lnTo>
                <a:lnTo>
                  <a:pt x="3947" y="17480"/>
                </a:lnTo>
                <a:lnTo>
                  <a:pt x="5639" y="16352"/>
                </a:lnTo>
                <a:lnTo>
                  <a:pt x="9022" y="16352"/>
                </a:lnTo>
                <a:lnTo>
                  <a:pt x="8458" y="15225"/>
                </a:lnTo>
                <a:lnTo>
                  <a:pt x="3947" y="14661"/>
                </a:lnTo>
                <a:lnTo>
                  <a:pt x="3383" y="15225"/>
                </a:lnTo>
                <a:lnTo>
                  <a:pt x="2256" y="15789"/>
                </a:lnTo>
                <a:lnTo>
                  <a:pt x="1128" y="15225"/>
                </a:lnTo>
                <a:close/>
                <a:moveTo>
                  <a:pt x="46238" y="2255"/>
                </a:moveTo>
                <a:lnTo>
                  <a:pt x="46238" y="2255"/>
                </a:lnTo>
                <a:lnTo>
                  <a:pt x="45674" y="1692"/>
                </a:lnTo>
                <a:lnTo>
                  <a:pt x="45110" y="1692"/>
                </a:lnTo>
                <a:lnTo>
                  <a:pt x="43419" y="2255"/>
                </a:lnTo>
                <a:lnTo>
                  <a:pt x="42855" y="2255"/>
                </a:lnTo>
                <a:lnTo>
                  <a:pt x="42291" y="2255"/>
                </a:lnTo>
                <a:lnTo>
                  <a:pt x="41727" y="2819"/>
                </a:lnTo>
                <a:lnTo>
                  <a:pt x="41163" y="3383"/>
                </a:lnTo>
                <a:lnTo>
                  <a:pt x="42291" y="3383"/>
                </a:lnTo>
                <a:lnTo>
                  <a:pt x="44547" y="2255"/>
                </a:lnTo>
                <a:lnTo>
                  <a:pt x="45674" y="2255"/>
                </a:lnTo>
                <a:lnTo>
                  <a:pt x="46238" y="2255"/>
                </a:lnTo>
                <a:close/>
                <a:moveTo>
                  <a:pt x="50749" y="1692"/>
                </a:moveTo>
                <a:lnTo>
                  <a:pt x="53569" y="564"/>
                </a:lnTo>
                <a:lnTo>
                  <a:pt x="53569" y="564"/>
                </a:lnTo>
                <a:lnTo>
                  <a:pt x="53005" y="0"/>
                </a:lnTo>
                <a:lnTo>
                  <a:pt x="52441" y="0"/>
                </a:lnTo>
                <a:lnTo>
                  <a:pt x="51877" y="564"/>
                </a:lnTo>
                <a:lnTo>
                  <a:pt x="51313" y="564"/>
                </a:lnTo>
                <a:lnTo>
                  <a:pt x="48494" y="2255"/>
                </a:lnTo>
                <a:lnTo>
                  <a:pt x="49621" y="2255"/>
                </a:lnTo>
                <a:lnTo>
                  <a:pt x="50749" y="1692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7" name="Freeform: Shape 420">
            <a:extLst>
              <a:ext uri="{FF2B5EF4-FFF2-40B4-BE49-F238E27FC236}">
                <a16:creationId xmlns:a16="http://schemas.microsoft.com/office/drawing/2014/main" id="{601914F1-8E3C-4C2A-ABAA-52C74237C6E9}"/>
              </a:ext>
            </a:extLst>
          </p:cNvPr>
          <p:cNvSpPr/>
          <p:nvPr/>
        </p:nvSpPr>
        <p:spPr>
          <a:xfrm>
            <a:off x="4402476" y="3703610"/>
            <a:ext cx="4214" cy="8428"/>
          </a:xfrm>
          <a:custGeom>
            <a:avLst/>
            <a:gdLst>
              <a:gd name="connsiteX0" fmla="*/ 5075 w 5638"/>
              <a:gd name="connsiteY0" fmla="*/ 13533 h 11277"/>
              <a:gd name="connsiteX1" fmla="*/ 6766 w 5638"/>
              <a:gd name="connsiteY1" fmla="*/ 9586 h 11277"/>
              <a:gd name="connsiteX2" fmla="*/ 6203 w 5638"/>
              <a:gd name="connsiteY2" fmla="*/ 3947 h 11277"/>
              <a:gd name="connsiteX3" fmla="*/ 5075 w 5638"/>
              <a:gd name="connsiteY3" fmla="*/ 1692 h 11277"/>
              <a:gd name="connsiteX4" fmla="*/ 564 w 5638"/>
              <a:gd name="connsiteY4" fmla="*/ 0 h 11277"/>
              <a:gd name="connsiteX5" fmla="*/ 564 w 5638"/>
              <a:gd name="connsiteY5" fmla="*/ 1128 h 11277"/>
              <a:gd name="connsiteX6" fmla="*/ 0 w 5638"/>
              <a:gd name="connsiteY6" fmla="*/ 3947 h 11277"/>
              <a:gd name="connsiteX7" fmla="*/ 1692 w 5638"/>
              <a:gd name="connsiteY7" fmla="*/ 8458 h 11277"/>
              <a:gd name="connsiteX8" fmla="*/ 2255 w 5638"/>
              <a:gd name="connsiteY8" fmla="*/ 14661 h 11277"/>
              <a:gd name="connsiteX9" fmla="*/ 5075 w 5638"/>
              <a:gd name="connsiteY9" fmla="*/ 13533 h 112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638" h="11277">
                <a:moveTo>
                  <a:pt x="5075" y="13533"/>
                </a:moveTo>
                <a:lnTo>
                  <a:pt x="6766" y="9586"/>
                </a:lnTo>
                <a:lnTo>
                  <a:pt x="6203" y="3947"/>
                </a:lnTo>
                <a:lnTo>
                  <a:pt x="5075" y="1692"/>
                </a:lnTo>
                <a:lnTo>
                  <a:pt x="564" y="0"/>
                </a:lnTo>
                <a:lnTo>
                  <a:pt x="564" y="1128"/>
                </a:lnTo>
                <a:lnTo>
                  <a:pt x="0" y="3947"/>
                </a:lnTo>
                <a:lnTo>
                  <a:pt x="1692" y="8458"/>
                </a:lnTo>
                <a:lnTo>
                  <a:pt x="2255" y="14661"/>
                </a:lnTo>
                <a:lnTo>
                  <a:pt x="5075" y="13533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8" name="Freeform: Shape 421">
            <a:extLst>
              <a:ext uri="{FF2B5EF4-FFF2-40B4-BE49-F238E27FC236}">
                <a16:creationId xmlns:a16="http://schemas.microsoft.com/office/drawing/2014/main" id="{F2F92915-9553-4BD4-90FD-F9DED88AE92A}"/>
              </a:ext>
            </a:extLst>
          </p:cNvPr>
          <p:cNvSpPr/>
          <p:nvPr/>
        </p:nvSpPr>
        <p:spPr>
          <a:xfrm>
            <a:off x="4602631" y="5491099"/>
            <a:ext cx="63207" cy="25283"/>
          </a:xfrm>
          <a:custGeom>
            <a:avLst/>
            <a:gdLst>
              <a:gd name="connsiteX0" fmla="*/ 44546 w 84582"/>
              <a:gd name="connsiteY0" fmla="*/ 32705 h 33832"/>
              <a:gd name="connsiteX1" fmla="*/ 43983 w 84582"/>
              <a:gd name="connsiteY1" fmla="*/ 31013 h 33832"/>
              <a:gd name="connsiteX2" fmla="*/ 41727 w 84582"/>
              <a:gd name="connsiteY2" fmla="*/ 29886 h 33832"/>
              <a:gd name="connsiteX3" fmla="*/ 40599 w 84582"/>
              <a:gd name="connsiteY3" fmla="*/ 29321 h 33832"/>
              <a:gd name="connsiteX4" fmla="*/ 41163 w 84582"/>
              <a:gd name="connsiteY4" fmla="*/ 30449 h 33832"/>
              <a:gd name="connsiteX5" fmla="*/ 41727 w 84582"/>
              <a:gd name="connsiteY5" fmla="*/ 32141 h 33832"/>
              <a:gd name="connsiteX6" fmla="*/ 42291 w 84582"/>
              <a:gd name="connsiteY6" fmla="*/ 33269 h 33832"/>
              <a:gd name="connsiteX7" fmla="*/ 43418 w 84582"/>
              <a:gd name="connsiteY7" fmla="*/ 33833 h 33832"/>
              <a:gd name="connsiteX8" fmla="*/ 44546 w 84582"/>
              <a:gd name="connsiteY8" fmla="*/ 32705 h 33832"/>
              <a:gd name="connsiteX9" fmla="*/ 75560 w 84582"/>
              <a:gd name="connsiteY9" fmla="*/ 25375 h 33832"/>
              <a:gd name="connsiteX10" fmla="*/ 74996 w 84582"/>
              <a:gd name="connsiteY10" fmla="*/ 24811 h 33832"/>
              <a:gd name="connsiteX11" fmla="*/ 73868 w 84582"/>
              <a:gd name="connsiteY11" fmla="*/ 24811 h 33832"/>
              <a:gd name="connsiteX12" fmla="*/ 73304 w 84582"/>
              <a:gd name="connsiteY12" fmla="*/ 25938 h 33832"/>
              <a:gd name="connsiteX13" fmla="*/ 74432 w 84582"/>
              <a:gd name="connsiteY13" fmla="*/ 27630 h 33832"/>
              <a:gd name="connsiteX14" fmla="*/ 76688 w 84582"/>
              <a:gd name="connsiteY14" fmla="*/ 28194 h 33832"/>
              <a:gd name="connsiteX15" fmla="*/ 75560 w 84582"/>
              <a:gd name="connsiteY15" fmla="*/ 25375 h 33832"/>
              <a:gd name="connsiteX16" fmla="*/ 2819 w 84582"/>
              <a:gd name="connsiteY16" fmla="*/ 17480 h 33832"/>
              <a:gd name="connsiteX17" fmla="*/ 2255 w 84582"/>
              <a:gd name="connsiteY17" fmla="*/ 18608 h 33832"/>
              <a:gd name="connsiteX18" fmla="*/ 0 w 84582"/>
              <a:gd name="connsiteY18" fmla="*/ 19172 h 33832"/>
              <a:gd name="connsiteX19" fmla="*/ 1127 w 84582"/>
              <a:gd name="connsiteY19" fmla="*/ 20863 h 33832"/>
              <a:gd name="connsiteX20" fmla="*/ 4511 w 84582"/>
              <a:gd name="connsiteY20" fmla="*/ 23119 h 33832"/>
              <a:gd name="connsiteX21" fmla="*/ 6766 w 84582"/>
              <a:gd name="connsiteY21" fmla="*/ 23119 h 33832"/>
              <a:gd name="connsiteX22" fmla="*/ 7330 w 84582"/>
              <a:gd name="connsiteY22" fmla="*/ 21427 h 33832"/>
              <a:gd name="connsiteX23" fmla="*/ 6766 w 84582"/>
              <a:gd name="connsiteY23" fmla="*/ 18044 h 33832"/>
              <a:gd name="connsiteX24" fmla="*/ 5075 w 84582"/>
              <a:gd name="connsiteY24" fmla="*/ 18044 h 33832"/>
              <a:gd name="connsiteX25" fmla="*/ 2819 w 84582"/>
              <a:gd name="connsiteY25" fmla="*/ 17480 h 33832"/>
              <a:gd name="connsiteX26" fmla="*/ 18608 w 84582"/>
              <a:gd name="connsiteY26" fmla="*/ 6203 h 33832"/>
              <a:gd name="connsiteX27" fmla="*/ 13533 w 84582"/>
              <a:gd name="connsiteY27" fmla="*/ 4511 h 33832"/>
              <a:gd name="connsiteX28" fmla="*/ 11278 w 84582"/>
              <a:gd name="connsiteY28" fmla="*/ 2819 h 33832"/>
              <a:gd name="connsiteX29" fmla="*/ 9586 w 84582"/>
              <a:gd name="connsiteY29" fmla="*/ 2819 h 33832"/>
              <a:gd name="connsiteX30" fmla="*/ 11841 w 84582"/>
              <a:gd name="connsiteY30" fmla="*/ 5075 h 33832"/>
              <a:gd name="connsiteX31" fmla="*/ 12405 w 84582"/>
              <a:gd name="connsiteY31" fmla="*/ 6203 h 33832"/>
              <a:gd name="connsiteX32" fmla="*/ 12969 w 84582"/>
              <a:gd name="connsiteY32" fmla="*/ 7330 h 33832"/>
              <a:gd name="connsiteX33" fmla="*/ 16352 w 84582"/>
              <a:gd name="connsiteY33" fmla="*/ 9022 h 33832"/>
              <a:gd name="connsiteX34" fmla="*/ 19736 w 84582"/>
              <a:gd name="connsiteY34" fmla="*/ 10714 h 33832"/>
              <a:gd name="connsiteX35" fmla="*/ 21991 w 84582"/>
              <a:gd name="connsiteY35" fmla="*/ 12405 h 33832"/>
              <a:gd name="connsiteX36" fmla="*/ 21427 w 84582"/>
              <a:gd name="connsiteY36" fmla="*/ 12969 h 33832"/>
              <a:gd name="connsiteX37" fmla="*/ 16916 w 84582"/>
              <a:gd name="connsiteY37" fmla="*/ 14661 h 33832"/>
              <a:gd name="connsiteX38" fmla="*/ 15224 w 84582"/>
              <a:gd name="connsiteY38" fmla="*/ 14661 h 33832"/>
              <a:gd name="connsiteX39" fmla="*/ 14097 w 84582"/>
              <a:gd name="connsiteY39" fmla="*/ 15224 h 33832"/>
              <a:gd name="connsiteX40" fmla="*/ 16352 w 84582"/>
              <a:gd name="connsiteY40" fmla="*/ 16352 h 33832"/>
              <a:gd name="connsiteX41" fmla="*/ 19736 w 84582"/>
              <a:gd name="connsiteY41" fmla="*/ 15789 h 33832"/>
              <a:gd name="connsiteX42" fmla="*/ 20863 w 84582"/>
              <a:gd name="connsiteY42" fmla="*/ 15224 h 33832"/>
              <a:gd name="connsiteX43" fmla="*/ 21991 w 84582"/>
              <a:gd name="connsiteY43" fmla="*/ 15224 h 33832"/>
              <a:gd name="connsiteX44" fmla="*/ 23683 w 84582"/>
              <a:gd name="connsiteY44" fmla="*/ 15789 h 33832"/>
              <a:gd name="connsiteX45" fmla="*/ 23683 w 84582"/>
              <a:gd name="connsiteY45" fmla="*/ 16916 h 33832"/>
              <a:gd name="connsiteX46" fmla="*/ 23119 w 84582"/>
              <a:gd name="connsiteY46" fmla="*/ 18044 h 33832"/>
              <a:gd name="connsiteX47" fmla="*/ 21991 w 84582"/>
              <a:gd name="connsiteY47" fmla="*/ 19172 h 33832"/>
              <a:gd name="connsiteX48" fmla="*/ 19736 w 84582"/>
              <a:gd name="connsiteY48" fmla="*/ 20863 h 33832"/>
              <a:gd name="connsiteX49" fmla="*/ 16352 w 84582"/>
              <a:gd name="connsiteY49" fmla="*/ 23119 h 33832"/>
              <a:gd name="connsiteX50" fmla="*/ 11841 w 84582"/>
              <a:gd name="connsiteY50" fmla="*/ 23119 h 33832"/>
              <a:gd name="connsiteX51" fmla="*/ 7894 w 84582"/>
              <a:gd name="connsiteY51" fmla="*/ 27066 h 33832"/>
              <a:gd name="connsiteX52" fmla="*/ 12969 w 84582"/>
              <a:gd name="connsiteY52" fmla="*/ 29886 h 33832"/>
              <a:gd name="connsiteX53" fmla="*/ 16916 w 84582"/>
              <a:gd name="connsiteY53" fmla="*/ 31577 h 33832"/>
              <a:gd name="connsiteX54" fmla="*/ 21991 w 84582"/>
              <a:gd name="connsiteY54" fmla="*/ 31577 h 33832"/>
              <a:gd name="connsiteX55" fmla="*/ 21991 w 84582"/>
              <a:gd name="connsiteY55" fmla="*/ 31013 h 33832"/>
              <a:gd name="connsiteX56" fmla="*/ 23119 w 84582"/>
              <a:gd name="connsiteY56" fmla="*/ 30449 h 33832"/>
              <a:gd name="connsiteX57" fmla="*/ 24811 w 84582"/>
              <a:gd name="connsiteY57" fmla="*/ 30449 h 33832"/>
              <a:gd name="connsiteX58" fmla="*/ 25375 w 84582"/>
              <a:gd name="connsiteY58" fmla="*/ 29886 h 33832"/>
              <a:gd name="connsiteX59" fmla="*/ 26502 w 84582"/>
              <a:gd name="connsiteY59" fmla="*/ 27630 h 33832"/>
              <a:gd name="connsiteX60" fmla="*/ 26502 w 84582"/>
              <a:gd name="connsiteY60" fmla="*/ 24247 h 33832"/>
              <a:gd name="connsiteX61" fmla="*/ 27630 w 84582"/>
              <a:gd name="connsiteY61" fmla="*/ 24247 h 33832"/>
              <a:gd name="connsiteX62" fmla="*/ 29321 w 84582"/>
              <a:gd name="connsiteY62" fmla="*/ 24811 h 33832"/>
              <a:gd name="connsiteX63" fmla="*/ 33269 w 84582"/>
              <a:gd name="connsiteY63" fmla="*/ 24247 h 33832"/>
              <a:gd name="connsiteX64" fmla="*/ 34960 w 84582"/>
              <a:gd name="connsiteY64" fmla="*/ 23683 h 33832"/>
              <a:gd name="connsiteX65" fmla="*/ 38344 w 84582"/>
              <a:gd name="connsiteY65" fmla="*/ 18608 h 33832"/>
              <a:gd name="connsiteX66" fmla="*/ 40599 w 84582"/>
              <a:gd name="connsiteY66" fmla="*/ 14097 h 33832"/>
              <a:gd name="connsiteX67" fmla="*/ 41727 w 84582"/>
              <a:gd name="connsiteY67" fmla="*/ 11841 h 33832"/>
              <a:gd name="connsiteX68" fmla="*/ 43418 w 84582"/>
              <a:gd name="connsiteY68" fmla="*/ 10714 h 33832"/>
              <a:gd name="connsiteX69" fmla="*/ 43983 w 84582"/>
              <a:gd name="connsiteY69" fmla="*/ 9586 h 33832"/>
              <a:gd name="connsiteX70" fmla="*/ 44546 w 84582"/>
              <a:gd name="connsiteY70" fmla="*/ 7894 h 33832"/>
              <a:gd name="connsiteX71" fmla="*/ 46238 w 84582"/>
              <a:gd name="connsiteY71" fmla="*/ 6766 h 33832"/>
              <a:gd name="connsiteX72" fmla="*/ 46238 w 84582"/>
              <a:gd name="connsiteY72" fmla="*/ 5075 h 33832"/>
              <a:gd name="connsiteX73" fmla="*/ 43983 w 84582"/>
              <a:gd name="connsiteY73" fmla="*/ 3947 h 33832"/>
              <a:gd name="connsiteX74" fmla="*/ 42291 w 84582"/>
              <a:gd name="connsiteY74" fmla="*/ 2819 h 33832"/>
              <a:gd name="connsiteX75" fmla="*/ 40599 w 84582"/>
              <a:gd name="connsiteY75" fmla="*/ 4511 h 33832"/>
              <a:gd name="connsiteX76" fmla="*/ 39472 w 84582"/>
              <a:gd name="connsiteY76" fmla="*/ 3947 h 33832"/>
              <a:gd name="connsiteX77" fmla="*/ 34397 w 84582"/>
              <a:gd name="connsiteY77" fmla="*/ 5639 h 33832"/>
              <a:gd name="connsiteX78" fmla="*/ 32141 w 84582"/>
              <a:gd name="connsiteY78" fmla="*/ 5639 h 33832"/>
              <a:gd name="connsiteX79" fmla="*/ 30449 w 84582"/>
              <a:gd name="connsiteY79" fmla="*/ 4511 h 33832"/>
              <a:gd name="connsiteX80" fmla="*/ 28194 w 84582"/>
              <a:gd name="connsiteY80" fmla="*/ 3947 h 33832"/>
              <a:gd name="connsiteX81" fmla="*/ 25938 w 84582"/>
              <a:gd name="connsiteY81" fmla="*/ 4511 h 33832"/>
              <a:gd name="connsiteX82" fmla="*/ 23119 w 84582"/>
              <a:gd name="connsiteY82" fmla="*/ 7330 h 33832"/>
              <a:gd name="connsiteX83" fmla="*/ 18608 w 84582"/>
              <a:gd name="connsiteY83" fmla="*/ 6203 h 33832"/>
              <a:gd name="connsiteX84" fmla="*/ 22555 w 84582"/>
              <a:gd name="connsiteY84" fmla="*/ 3947 h 33832"/>
              <a:gd name="connsiteX85" fmla="*/ 23119 w 84582"/>
              <a:gd name="connsiteY85" fmla="*/ 2255 h 33832"/>
              <a:gd name="connsiteX86" fmla="*/ 22555 w 84582"/>
              <a:gd name="connsiteY86" fmla="*/ 1127 h 33832"/>
              <a:gd name="connsiteX87" fmla="*/ 19736 w 84582"/>
              <a:gd name="connsiteY87" fmla="*/ 0 h 33832"/>
              <a:gd name="connsiteX88" fmla="*/ 16916 w 84582"/>
              <a:gd name="connsiteY88" fmla="*/ 0 h 33832"/>
              <a:gd name="connsiteX89" fmla="*/ 18044 w 84582"/>
              <a:gd name="connsiteY89" fmla="*/ 2819 h 33832"/>
              <a:gd name="connsiteX90" fmla="*/ 19172 w 84582"/>
              <a:gd name="connsiteY90" fmla="*/ 3947 h 33832"/>
              <a:gd name="connsiteX91" fmla="*/ 22555 w 84582"/>
              <a:gd name="connsiteY91" fmla="*/ 3947 h 33832"/>
              <a:gd name="connsiteX92" fmla="*/ 55824 w 84582"/>
              <a:gd name="connsiteY92" fmla="*/ 0 h 33832"/>
              <a:gd name="connsiteX93" fmla="*/ 53569 w 84582"/>
              <a:gd name="connsiteY93" fmla="*/ 0 h 33832"/>
              <a:gd name="connsiteX94" fmla="*/ 55824 w 84582"/>
              <a:gd name="connsiteY94" fmla="*/ 2819 h 33832"/>
              <a:gd name="connsiteX95" fmla="*/ 51313 w 84582"/>
              <a:gd name="connsiteY95" fmla="*/ 7330 h 33832"/>
              <a:gd name="connsiteX96" fmla="*/ 52441 w 84582"/>
              <a:gd name="connsiteY96" fmla="*/ 10714 h 33832"/>
              <a:gd name="connsiteX97" fmla="*/ 54132 w 84582"/>
              <a:gd name="connsiteY97" fmla="*/ 12969 h 33832"/>
              <a:gd name="connsiteX98" fmla="*/ 54696 w 84582"/>
              <a:gd name="connsiteY98" fmla="*/ 14097 h 33832"/>
              <a:gd name="connsiteX99" fmla="*/ 54132 w 84582"/>
              <a:gd name="connsiteY99" fmla="*/ 14661 h 33832"/>
              <a:gd name="connsiteX100" fmla="*/ 51877 w 84582"/>
              <a:gd name="connsiteY100" fmla="*/ 15224 h 33832"/>
              <a:gd name="connsiteX101" fmla="*/ 50185 w 84582"/>
              <a:gd name="connsiteY101" fmla="*/ 15789 h 33832"/>
              <a:gd name="connsiteX102" fmla="*/ 49057 w 84582"/>
              <a:gd name="connsiteY102" fmla="*/ 17480 h 33832"/>
              <a:gd name="connsiteX103" fmla="*/ 43983 w 84582"/>
              <a:gd name="connsiteY103" fmla="*/ 22555 h 33832"/>
              <a:gd name="connsiteX104" fmla="*/ 45110 w 84582"/>
              <a:gd name="connsiteY104" fmla="*/ 23683 h 33832"/>
              <a:gd name="connsiteX105" fmla="*/ 43418 w 84582"/>
              <a:gd name="connsiteY105" fmla="*/ 27630 h 33832"/>
              <a:gd name="connsiteX106" fmla="*/ 44546 w 84582"/>
              <a:gd name="connsiteY106" fmla="*/ 29321 h 33832"/>
              <a:gd name="connsiteX107" fmla="*/ 49057 w 84582"/>
              <a:gd name="connsiteY107" fmla="*/ 33269 h 33832"/>
              <a:gd name="connsiteX108" fmla="*/ 53569 w 84582"/>
              <a:gd name="connsiteY108" fmla="*/ 35524 h 33832"/>
              <a:gd name="connsiteX109" fmla="*/ 53569 w 84582"/>
              <a:gd name="connsiteY109" fmla="*/ 31577 h 33832"/>
              <a:gd name="connsiteX110" fmla="*/ 55824 w 84582"/>
              <a:gd name="connsiteY110" fmla="*/ 31013 h 33832"/>
              <a:gd name="connsiteX111" fmla="*/ 58080 w 84582"/>
              <a:gd name="connsiteY111" fmla="*/ 32141 h 33832"/>
              <a:gd name="connsiteX112" fmla="*/ 60335 w 84582"/>
              <a:gd name="connsiteY112" fmla="*/ 31013 h 33832"/>
              <a:gd name="connsiteX113" fmla="*/ 55260 w 84582"/>
              <a:gd name="connsiteY113" fmla="*/ 25375 h 33832"/>
              <a:gd name="connsiteX114" fmla="*/ 56952 w 84582"/>
              <a:gd name="connsiteY114" fmla="*/ 25375 h 33832"/>
              <a:gd name="connsiteX115" fmla="*/ 71049 w 84582"/>
              <a:gd name="connsiteY115" fmla="*/ 28194 h 33832"/>
              <a:gd name="connsiteX116" fmla="*/ 70485 w 84582"/>
              <a:gd name="connsiteY116" fmla="*/ 25938 h 33832"/>
              <a:gd name="connsiteX117" fmla="*/ 69921 w 84582"/>
              <a:gd name="connsiteY117" fmla="*/ 24811 h 33832"/>
              <a:gd name="connsiteX118" fmla="*/ 68229 w 84582"/>
              <a:gd name="connsiteY118" fmla="*/ 22555 h 33832"/>
              <a:gd name="connsiteX119" fmla="*/ 76688 w 84582"/>
              <a:gd name="connsiteY119" fmla="*/ 20300 h 33832"/>
              <a:gd name="connsiteX120" fmla="*/ 79507 w 84582"/>
              <a:gd name="connsiteY120" fmla="*/ 18608 h 33832"/>
              <a:gd name="connsiteX121" fmla="*/ 80635 w 84582"/>
              <a:gd name="connsiteY121" fmla="*/ 16916 h 33832"/>
              <a:gd name="connsiteX122" fmla="*/ 84018 w 84582"/>
              <a:gd name="connsiteY122" fmla="*/ 16352 h 33832"/>
              <a:gd name="connsiteX123" fmla="*/ 88529 w 84582"/>
              <a:gd name="connsiteY123" fmla="*/ 14661 h 33832"/>
              <a:gd name="connsiteX124" fmla="*/ 87965 w 84582"/>
              <a:gd name="connsiteY124" fmla="*/ 14097 h 33832"/>
              <a:gd name="connsiteX125" fmla="*/ 88529 w 84582"/>
              <a:gd name="connsiteY125" fmla="*/ 12405 h 33832"/>
              <a:gd name="connsiteX126" fmla="*/ 86274 w 84582"/>
              <a:gd name="connsiteY126" fmla="*/ 11278 h 33832"/>
              <a:gd name="connsiteX127" fmla="*/ 83454 w 84582"/>
              <a:gd name="connsiteY127" fmla="*/ 10714 h 33832"/>
              <a:gd name="connsiteX128" fmla="*/ 84018 w 84582"/>
              <a:gd name="connsiteY128" fmla="*/ 9022 h 33832"/>
              <a:gd name="connsiteX129" fmla="*/ 86837 w 84582"/>
              <a:gd name="connsiteY129" fmla="*/ 8458 h 33832"/>
              <a:gd name="connsiteX130" fmla="*/ 82326 w 84582"/>
              <a:gd name="connsiteY130" fmla="*/ 4511 h 33832"/>
              <a:gd name="connsiteX131" fmla="*/ 80635 w 84582"/>
              <a:gd name="connsiteY131" fmla="*/ 3947 h 33832"/>
              <a:gd name="connsiteX132" fmla="*/ 74996 w 84582"/>
              <a:gd name="connsiteY132" fmla="*/ 4511 h 33832"/>
              <a:gd name="connsiteX133" fmla="*/ 73304 w 84582"/>
              <a:gd name="connsiteY133" fmla="*/ 5075 h 33832"/>
              <a:gd name="connsiteX134" fmla="*/ 73304 w 84582"/>
              <a:gd name="connsiteY134" fmla="*/ 6203 h 33832"/>
              <a:gd name="connsiteX135" fmla="*/ 73868 w 84582"/>
              <a:gd name="connsiteY135" fmla="*/ 7894 h 33832"/>
              <a:gd name="connsiteX136" fmla="*/ 75560 w 84582"/>
              <a:gd name="connsiteY136" fmla="*/ 9586 h 33832"/>
              <a:gd name="connsiteX137" fmla="*/ 76124 w 84582"/>
              <a:gd name="connsiteY137" fmla="*/ 10714 h 33832"/>
              <a:gd name="connsiteX138" fmla="*/ 74996 w 84582"/>
              <a:gd name="connsiteY138" fmla="*/ 10150 h 33832"/>
              <a:gd name="connsiteX139" fmla="*/ 68793 w 84582"/>
              <a:gd name="connsiteY139" fmla="*/ 7894 h 33832"/>
              <a:gd name="connsiteX140" fmla="*/ 67666 w 84582"/>
              <a:gd name="connsiteY140" fmla="*/ 7330 h 33832"/>
              <a:gd name="connsiteX141" fmla="*/ 66538 w 84582"/>
              <a:gd name="connsiteY141" fmla="*/ 5075 h 33832"/>
              <a:gd name="connsiteX142" fmla="*/ 67666 w 84582"/>
              <a:gd name="connsiteY142" fmla="*/ 4511 h 33832"/>
              <a:gd name="connsiteX143" fmla="*/ 69357 w 84582"/>
              <a:gd name="connsiteY143" fmla="*/ 5075 h 33832"/>
              <a:gd name="connsiteX144" fmla="*/ 69921 w 84582"/>
              <a:gd name="connsiteY144" fmla="*/ 3383 h 33832"/>
              <a:gd name="connsiteX145" fmla="*/ 67666 w 84582"/>
              <a:gd name="connsiteY145" fmla="*/ 1692 h 33832"/>
              <a:gd name="connsiteX146" fmla="*/ 65410 w 84582"/>
              <a:gd name="connsiteY146" fmla="*/ 1127 h 33832"/>
              <a:gd name="connsiteX147" fmla="*/ 60335 w 84582"/>
              <a:gd name="connsiteY147" fmla="*/ 1692 h 33832"/>
              <a:gd name="connsiteX148" fmla="*/ 55824 w 84582"/>
              <a:gd name="connsiteY148" fmla="*/ 0 h 33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</a:cxnLst>
            <a:rect l="l" t="t" r="r" b="b"/>
            <a:pathLst>
              <a:path w="84582" h="33832">
                <a:moveTo>
                  <a:pt x="44546" y="32705"/>
                </a:moveTo>
                <a:lnTo>
                  <a:pt x="43983" y="31013"/>
                </a:lnTo>
                <a:lnTo>
                  <a:pt x="41727" y="29886"/>
                </a:lnTo>
                <a:lnTo>
                  <a:pt x="40599" y="29321"/>
                </a:lnTo>
                <a:lnTo>
                  <a:pt x="41163" y="30449"/>
                </a:lnTo>
                <a:lnTo>
                  <a:pt x="41727" y="32141"/>
                </a:lnTo>
                <a:lnTo>
                  <a:pt x="42291" y="33269"/>
                </a:lnTo>
                <a:lnTo>
                  <a:pt x="43418" y="33833"/>
                </a:lnTo>
                <a:lnTo>
                  <a:pt x="44546" y="32705"/>
                </a:lnTo>
                <a:close/>
                <a:moveTo>
                  <a:pt x="75560" y="25375"/>
                </a:moveTo>
                <a:lnTo>
                  <a:pt x="74996" y="24811"/>
                </a:lnTo>
                <a:lnTo>
                  <a:pt x="73868" y="24811"/>
                </a:lnTo>
                <a:lnTo>
                  <a:pt x="73304" y="25938"/>
                </a:lnTo>
                <a:lnTo>
                  <a:pt x="74432" y="27630"/>
                </a:lnTo>
                <a:lnTo>
                  <a:pt x="76688" y="28194"/>
                </a:lnTo>
                <a:lnTo>
                  <a:pt x="75560" y="25375"/>
                </a:lnTo>
                <a:close/>
                <a:moveTo>
                  <a:pt x="2819" y="17480"/>
                </a:moveTo>
                <a:lnTo>
                  <a:pt x="2255" y="18608"/>
                </a:lnTo>
                <a:lnTo>
                  <a:pt x="0" y="19172"/>
                </a:lnTo>
                <a:lnTo>
                  <a:pt x="1127" y="20863"/>
                </a:lnTo>
                <a:lnTo>
                  <a:pt x="4511" y="23119"/>
                </a:lnTo>
                <a:lnTo>
                  <a:pt x="6766" y="23119"/>
                </a:lnTo>
                <a:lnTo>
                  <a:pt x="7330" y="21427"/>
                </a:lnTo>
                <a:lnTo>
                  <a:pt x="6766" y="18044"/>
                </a:lnTo>
                <a:lnTo>
                  <a:pt x="5075" y="18044"/>
                </a:lnTo>
                <a:lnTo>
                  <a:pt x="2819" y="17480"/>
                </a:lnTo>
                <a:close/>
                <a:moveTo>
                  <a:pt x="18608" y="6203"/>
                </a:moveTo>
                <a:lnTo>
                  <a:pt x="13533" y="4511"/>
                </a:lnTo>
                <a:lnTo>
                  <a:pt x="11278" y="2819"/>
                </a:lnTo>
                <a:lnTo>
                  <a:pt x="9586" y="2819"/>
                </a:lnTo>
                <a:lnTo>
                  <a:pt x="11841" y="5075"/>
                </a:lnTo>
                <a:lnTo>
                  <a:pt x="12405" y="6203"/>
                </a:lnTo>
                <a:lnTo>
                  <a:pt x="12969" y="7330"/>
                </a:lnTo>
                <a:lnTo>
                  <a:pt x="16352" y="9022"/>
                </a:lnTo>
                <a:lnTo>
                  <a:pt x="19736" y="10714"/>
                </a:lnTo>
                <a:lnTo>
                  <a:pt x="21991" y="12405"/>
                </a:lnTo>
                <a:lnTo>
                  <a:pt x="21427" y="12969"/>
                </a:lnTo>
                <a:lnTo>
                  <a:pt x="16916" y="14661"/>
                </a:lnTo>
                <a:lnTo>
                  <a:pt x="15224" y="14661"/>
                </a:lnTo>
                <a:lnTo>
                  <a:pt x="14097" y="15224"/>
                </a:lnTo>
                <a:lnTo>
                  <a:pt x="16352" y="16352"/>
                </a:lnTo>
                <a:lnTo>
                  <a:pt x="19736" y="15789"/>
                </a:lnTo>
                <a:lnTo>
                  <a:pt x="20863" y="15224"/>
                </a:lnTo>
                <a:lnTo>
                  <a:pt x="21991" y="15224"/>
                </a:lnTo>
                <a:lnTo>
                  <a:pt x="23683" y="15789"/>
                </a:lnTo>
                <a:lnTo>
                  <a:pt x="23683" y="16916"/>
                </a:lnTo>
                <a:lnTo>
                  <a:pt x="23119" y="18044"/>
                </a:lnTo>
                <a:lnTo>
                  <a:pt x="21991" y="19172"/>
                </a:lnTo>
                <a:lnTo>
                  <a:pt x="19736" y="20863"/>
                </a:lnTo>
                <a:lnTo>
                  <a:pt x="16352" y="23119"/>
                </a:lnTo>
                <a:lnTo>
                  <a:pt x="11841" y="23119"/>
                </a:lnTo>
                <a:lnTo>
                  <a:pt x="7894" y="27066"/>
                </a:lnTo>
                <a:lnTo>
                  <a:pt x="12969" y="29886"/>
                </a:lnTo>
                <a:lnTo>
                  <a:pt x="16916" y="31577"/>
                </a:lnTo>
                <a:lnTo>
                  <a:pt x="21991" y="31577"/>
                </a:lnTo>
                <a:lnTo>
                  <a:pt x="21991" y="31013"/>
                </a:lnTo>
                <a:lnTo>
                  <a:pt x="23119" y="30449"/>
                </a:lnTo>
                <a:lnTo>
                  <a:pt x="24811" y="30449"/>
                </a:lnTo>
                <a:lnTo>
                  <a:pt x="25375" y="29886"/>
                </a:lnTo>
                <a:lnTo>
                  <a:pt x="26502" y="27630"/>
                </a:lnTo>
                <a:lnTo>
                  <a:pt x="26502" y="24247"/>
                </a:lnTo>
                <a:lnTo>
                  <a:pt x="27630" y="24247"/>
                </a:lnTo>
                <a:lnTo>
                  <a:pt x="29321" y="24811"/>
                </a:lnTo>
                <a:lnTo>
                  <a:pt x="33269" y="24247"/>
                </a:lnTo>
                <a:lnTo>
                  <a:pt x="34960" y="23683"/>
                </a:lnTo>
                <a:lnTo>
                  <a:pt x="38344" y="18608"/>
                </a:lnTo>
                <a:lnTo>
                  <a:pt x="40599" y="14097"/>
                </a:lnTo>
                <a:lnTo>
                  <a:pt x="41727" y="11841"/>
                </a:lnTo>
                <a:lnTo>
                  <a:pt x="43418" y="10714"/>
                </a:lnTo>
                <a:lnTo>
                  <a:pt x="43983" y="9586"/>
                </a:lnTo>
                <a:lnTo>
                  <a:pt x="44546" y="7894"/>
                </a:lnTo>
                <a:lnTo>
                  <a:pt x="46238" y="6766"/>
                </a:lnTo>
                <a:lnTo>
                  <a:pt x="46238" y="5075"/>
                </a:lnTo>
                <a:lnTo>
                  <a:pt x="43983" y="3947"/>
                </a:lnTo>
                <a:lnTo>
                  <a:pt x="42291" y="2819"/>
                </a:lnTo>
                <a:lnTo>
                  <a:pt x="40599" y="4511"/>
                </a:lnTo>
                <a:lnTo>
                  <a:pt x="39472" y="3947"/>
                </a:lnTo>
                <a:lnTo>
                  <a:pt x="34397" y="5639"/>
                </a:lnTo>
                <a:lnTo>
                  <a:pt x="32141" y="5639"/>
                </a:lnTo>
                <a:lnTo>
                  <a:pt x="30449" y="4511"/>
                </a:lnTo>
                <a:lnTo>
                  <a:pt x="28194" y="3947"/>
                </a:lnTo>
                <a:lnTo>
                  <a:pt x="25938" y="4511"/>
                </a:lnTo>
                <a:lnTo>
                  <a:pt x="23119" y="7330"/>
                </a:lnTo>
                <a:lnTo>
                  <a:pt x="18608" y="6203"/>
                </a:lnTo>
                <a:close/>
                <a:moveTo>
                  <a:pt x="22555" y="3947"/>
                </a:moveTo>
                <a:lnTo>
                  <a:pt x="23119" y="2255"/>
                </a:lnTo>
                <a:lnTo>
                  <a:pt x="22555" y="1127"/>
                </a:lnTo>
                <a:lnTo>
                  <a:pt x="19736" y="0"/>
                </a:lnTo>
                <a:lnTo>
                  <a:pt x="16916" y="0"/>
                </a:lnTo>
                <a:lnTo>
                  <a:pt x="18044" y="2819"/>
                </a:lnTo>
                <a:lnTo>
                  <a:pt x="19172" y="3947"/>
                </a:lnTo>
                <a:lnTo>
                  <a:pt x="22555" y="3947"/>
                </a:lnTo>
                <a:close/>
                <a:moveTo>
                  <a:pt x="55824" y="0"/>
                </a:moveTo>
                <a:lnTo>
                  <a:pt x="53569" y="0"/>
                </a:lnTo>
                <a:lnTo>
                  <a:pt x="55824" y="2819"/>
                </a:lnTo>
                <a:lnTo>
                  <a:pt x="51313" y="7330"/>
                </a:lnTo>
                <a:lnTo>
                  <a:pt x="52441" y="10714"/>
                </a:lnTo>
                <a:lnTo>
                  <a:pt x="54132" y="12969"/>
                </a:lnTo>
                <a:lnTo>
                  <a:pt x="54696" y="14097"/>
                </a:lnTo>
                <a:lnTo>
                  <a:pt x="54132" y="14661"/>
                </a:lnTo>
                <a:lnTo>
                  <a:pt x="51877" y="15224"/>
                </a:lnTo>
                <a:lnTo>
                  <a:pt x="50185" y="15789"/>
                </a:lnTo>
                <a:lnTo>
                  <a:pt x="49057" y="17480"/>
                </a:lnTo>
                <a:lnTo>
                  <a:pt x="43983" y="22555"/>
                </a:lnTo>
                <a:lnTo>
                  <a:pt x="45110" y="23683"/>
                </a:lnTo>
                <a:lnTo>
                  <a:pt x="43418" y="27630"/>
                </a:lnTo>
                <a:lnTo>
                  <a:pt x="44546" y="29321"/>
                </a:lnTo>
                <a:lnTo>
                  <a:pt x="49057" y="33269"/>
                </a:lnTo>
                <a:lnTo>
                  <a:pt x="53569" y="35524"/>
                </a:lnTo>
                <a:lnTo>
                  <a:pt x="53569" y="31577"/>
                </a:lnTo>
                <a:lnTo>
                  <a:pt x="55824" y="31013"/>
                </a:lnTo>
                <a:lnTo>
                  <a:pt x="58080" y="32141"/>
                </a:lnTo>
                <a:lnTo>
                  <a:pt x="60335" y="31013"/>
                </a:lnTo>
                <a:lnTo>
                  <a:pt x="55260" y="25375"/>
                </a:lnTo>
                <a:lnTo>
                  <a:pt x="56952" y="25375"/>
                </a:lnTo>
                <a:lnTo>
                  <a:pt x="71049" y="28194"/>
                </a:lnTo>
                <a:lnTo>
                  <a:pt x="70485" y="25938"/>
                </a:lnTo>
                <a:lnTo>
                  <a:pt x="69921" y="24811"/>
                </a:lnTo>
                <a:lnTo>
                  <a:pt x="68229" y="22555"/>
                </a:lnTo>
                <a:lnTo>
                  <a:pt x="76688" y="20300"/>
                </a:lnTo>
                <a:lnTo>
                  <a:pt x="79507" y="18608"/>
                </a:lnTo>
                <a:lnTo>
                  <a:pt x="80635" y="16916"/>
                </a:lnTo>
                <a:lnTo>
                  <a:pt x="84018" y="16352"/>
                </a:lnTo>
                <a:lnTo>
                  <a:pt x="88529" y="14661"/>
                </a:lnTo>
                <a:lnTo>
                  <a:pt x="87965" y="14097"/>
                </a:lnTo>
                <a:lnTo>
                  <a:pt x="88529" y="12405"/>
                </a:lnTo>
                <a:lnTo>
                  <a:pt x="86274" y="11278"/>
                </a:lnTo>
                <a:lnTo>
                  <a:pt x="83454" y="10714"/>
                </a:lnTo>
                <a:lnTo>
                  <a:pt x="84018" y="9022"/>
                </a:lnTo>
                <a:lnTo>
                  <a:pt x="86837" y="8458"/>
                </a:lnTo>
                <a:lnTo>
                  <a:pt x="82326" y="4511"/>
                </a:lnTo>
                <a:lnTo>
                  <a:pt x="80635" y="3947"/>
                </a:lnTo>
                <a:lnTo>
                  <a:pt x="74996" y="4511"/>
                </a:lnTo>
                <a:lnTo>
                  <a:pt x="73304" y="5075"/>
                </a:lnTo>
                <a:lnTo>
                  <a:pt x="73304" y="6203"/>
                </a:lnTo>
                <a:lnTo>
                  <a:pt x="73868" y="7894"/>
                </a:lnTo>
                <a:lnTo>
                  <a:pt x="75560" y="9586"/>
                </a:lnTo>
                <a:lnTo>
                  <a:pt x="76124" y="10714"/>
                </a:lnTo>
                <a:lnTo>
                  <a:pt x="74996" y="10150"/>
                </a:lnTo>
                <a:lnTo>
                  <a:pt x="68793" y="7894"/>
                </a:lnTo>
                <a:lnTo>
                  <a:pt x="67666" y="7330"/>
                </a:lnTo>
                <a:lnTo>
                  <a:pt x="66538" y="5075"/>
                </a:lnTo>
                <a:lnTo>
                  <a:pt x="67666" y="4511"/>
                </a:lnTo>
                <a:lnTo>
                  <a:pt x="69357" y="5075"/>
                </a:lnTo>
                <a:lnTo>
                  <a:pt x="69921" y="3383"/>
                </a:lnTo>
                <a:lnTo>
                  <a:pt x="67666" y="1692"/>
                </a:lnTo>
                <a:lnTo>
                  <a:pt x="65410" y="1127"/>
                </a:lnTo>
                <a:lnTo>
                  <a:pt x="60335" y="1692"/>
                </a:lnTo>
                <a:lnTo>
                  <a:pt x="55824" y="0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9" name="Freeform: Shape 422">
            <a:extLst>
              <a:ext uri="{FF2B5EF4-FFF2-40B4-BE49-F238E27FC236}">
                <a16:creationId xmlns:a16="http://schemas.microsoft.com/office/drawing/2014/main" id="{8FC243F7-BE5C-4FC4-BBCA-C11503317170}"/>
              </a:ext>
            </a:extLst>
          </p:cNvPr>
          <p:cNvSpPr/>
          <p:nvPr/>
        </p:nvSpPr>
        <p:spPr>
          <a:xfrm>
            <a:off x="5705380" y="2476976"/>
            <a:ext cx="16855" cy="21069"/>
          </a:xfrm>
          <a:custGeom>
            <a:avLst/>
            <a:gdLst>
              <a:gd name="connsiteX0" fmla="*/ 16353 w 22555"/>
              <a:gd name="connsiteY0" fmla="*/ 29886 h 28194"/>
              <a:gd name="connsiteX1" fmla="*/ 16353 w 22555"/>
              <a:gd name="connsiteY1" fmla="*/ 28194 h 28194"/>
              <a:gd name="connsiteX2" fmla="*/ 15789 w 22555"/>
              <a:gd name="connsiteY2" fmla="*/ 26502 h 28194"/>
              <a:gd name="connsiteX3" fmla="*/ 15789 w 22555"/>
              <a:gd name="connsiteY3" fmla="*/ 25375 h 28194"/>
              <a:gd name="connsiteX4" fmla="*/ 15225 w 22555"/>
              <a:gd name="connsiteY4" fmla="*/ 25375 h 28194"/>
              <a:gd name="connsiteX5" fmla="*/ 12405 w 22555"/>
              <a:gd name="connsiteY5" fmla="*/ 24811 h 28194"/>
              <a:gd name="connsiteX6" fmla="*/ 11842 w 22555"/>
              <a:gd name="connsiteY6" fmla="*/ 23683 h 28194"/>
              <a:gd name="connsiteX7" fmla="*/ 11278 w 22555"/>
              <a:gd name="connsiteY7" fmla="*/ 23683 h 28194"/>
              <a:gd name="connsiteX8" fmla="*/ 11278 w 22555"/>
              <a:gd name="connsiteY8" fmla="*/ 24811 h 28194"/>
              <a:gd name="connsiteX9" fmla="*/ 11842 w 22555"/>
              <a:gd name="connsiteY9" fmla="*/ 27066 h 28194"/>
              <a:gd name="connsiteX10" fmla="*/ 14661 w 22555"/>
              <a:gd name="connsiteY10" fmla="*/ 29322 h 28194"/>
              <a:gd name="connsiteX11" fmla="*/ 16353 w 22555"/>
              <a:gd name="connsiteY11" fmla="*/ 30449 h 28194"/>
              <a:gd name="connsiteX12" fmla="*/ 16916 w 22555"/>
              <a:gd name="connsiteY12" fmla="*/ 30449 h 28194"/>
              <a:gd name="connsiteX13" fmla="*/ 16353 w 22555"/>
              <a:gd name="connsiteY13" fmla="*/ 29886 h 28194"/>
              <a:gd name="connsiteX14" fmla="*/ 19172 w 22555"/>
              <a:gd name="connsiteY14" fmla="*/ 18044 h 28194"/>
              <a:gd name="connsiteX15" fmla="*/ 19172 w 22555"/>
              <a:gd name="connsiteY15" fmla="*/ 17480 h 28194"/>
              <a:gd name="connsiteX16" fmla="*/ 18044 w 22555"/>
              <a:gd name="connsiteY16" fmla="*/ 16352 h 28194"/>
              <a:gd name="connsiteX17" fmla="*/ 15225 w 22555"/>
              <a:gd name="connsiteY17" fmla="*/ 15225 h 28194"/>
              <a:gd name="connsiteX18" fmla="*/ 14097 w 22555"/>
              <a:gd name="connsiteY18" fmla="*/ 14661 h 28194"/>
              <a:gd name="connsiteX19" fmla="*/ 12970 w 22555"/>
              <a:gd name="connsiteY19" fmla="*/ 15225 h 28194"/>
              <a:gd name="connsiteX20" fmla="*/ 12970 w 22555"/>
              <a:gd name="connsiteY20" fmla="*/ 16352 h 28194"/>
              <a:gd name="connsiteX21" fmla="*/ 13533 w 22555"/>
              <a:gd name="connsiteY21" fmla="*/ 16916 h 28194"/>
              <a:gd name="connsiteX22" fmla="*/ 15789 w 22555"/>
              <a:gd name="connsiteY22" fmla="*/ 17480 h 28194"/>
              <a:gd name="connsiteX23" fmla="*/ 18044 w 22555"/>
              <a:gd name="connsiteY23" fmla="*/ 19172 h 28194"/>
              <a:gd name="connsiteX24" fmla="*/ 18608 w 22555"/>
              <a:gd name="connsiteY24" fmla="*/ 19172 h 28194"/>
              <a:gd name="connsiteX25" fmla="*/ 19172 w 22555"/>
              <a:gd name="connsiteY25" fmla="*/ 18044 h 28194"/>
              <a:gd name="connsiteX26" fmla="*/ 5639 w 22555"/>
              <a:gd name="connsiteY26" fmla="*/ 7330 h 28194"/>
              <a:gd name="connsiteX27" fmla="*/ 4511 w 22555"/>
              <a:gd name="connsiteY27" fmla="*/ 6767 h 28194"/>
              <a:gd name="connsiteX28" fmla="*/ 1692 w 22555"/>
              <a:gd name="connsiteY28" fmla="*/ 7330 h 28194"/>
              <a:gd name="connsiteX29" fmla="*/ 0 w 22555"/>
              <a:gd name="connsiteY29" fmla="*/ 7330 h 28194"/>
              <a:gd name="connsiteX30" fmla="*/ 564 w 22555"/>
              <a:gd name="connsiteY30" fmla="*/ 9022 h 28194"/>
              <a:gd name="connsiteX31" fmla="*/ 3947 w 22555"/>
              <a:gd name="connsiteY31" fmla="*/ 10150 h 28194"/>
              <a:gd name="connsiteX32" fmla="*/ 5639 w 22555"/>
              <a:gd name="connsiteY32" fmla="*/ 10150 h 28194"/>
              <a:gd name="connsiteX33" fmla="*/ 7331 w 22555"/>
              <a:gd name="connsiteY33" fmla="*/ 10150 h 28194"/>
              <a:gd name="connsiteX34" fmla="*/ 8458 w 22555"/>
              <a:gd name="connsiteY34" fmla="*/ 9586 h 28194"/>
              <a:gd name="connsiteX35" fmla="*/ 7894 w 22555"/>
              <a:gd name="connsiteY35" fmla="*/ 8458 h 28194"/>
              <a:gd name="connsiteX36" fmla="*/ 5639 w 22555"/>
              <a:gd name="connsiteY36" fmla="*/ 7330 h 28194"/>
              <a:gd name="connsiteX37" fmla="*/ 19736 w 22555"/>
              <a:gd name="connsiteY37" fmla="*/ 4511 h 28194"/>
              <a:gd name="connsiteX38" fmla="*/ 15225 w 22555"/>
              <a:gd name="connsiteY38" fmla="*/ 3383 h 28194"/>
              <a:gd name="connsiteX39" fmla="*/ 11842 w 22555"/>
              <a:gd name="connsiteY39" fmla="*/ 1692 h 28194"/>
              <a:gd name="connsiteX40" fmla="*/ 6203 w 22555"/>
              <a:gd name="connsiteY40" fmla="*/ 2255 h 28194"/>
              <a:gd name="connsiteX41" fmla="*/ 10150 w 22555"/>
              <a:gd name="connsiteY41" fmla="*/ 8458 h 28194"/>
              <a:gd name="connsiteX42" fmla="*/ 14661 w 22555"/>
              <a:gd name="connsiteY42" fmla="*/ 12405 h 28194"/>
              <a:gd name="connsiteX43" fmla="*/ 16916 w 22555"/>
              <a:gd name="connsiteY43" fmla="*/ 13533 h 28194"/>
              <a:gd name="connsiteX44" fmla="*/ 16916 w 22555"/>
              <a:gd name="connsiteY44" fmla="*/ 12969 h 28194"/>
              <a:gd name="connsiteX45" fmla="*/ 16916 w 22555"/>
              <a:gd name="connsiteY45" fmla="*/ 11841 h 28194"/>
              <a:gd name="connsiteX46" fmla="*/ 14661 w 22555"/>
              <a:gd name="connsiteY46" fmla="*/ 9022 h 28194"/>
              <a:gd name="connsiteX47" fmla="*/ 14097 w 22555"/>
              <a:gd name="connsiteY47" fmla="*/ 8458 h 28194"/>
              <a:gd name="connsiteX48" fmla="*/ 14097 w 22555"/>
              <a:gd name="connsiteY48" fmla="*/ 7894 h 28194"/>
              <a:gd name="connsiteX49" fmla="*/ 14661 w 22555"/>
              <a:gd name="connsiteY49" fmla="*/ 7330 h 28194"/>
              <a:gd name="connsiteX50" fmla="*/ 15789 w 22555"/>
              <a:gd name="connsiteY50" fmla="*/ 7330 h 28194"/>
              <a:gd name="connsiteX51" fmla="*/ 17480 w 22555"/>
              <a:gd name="connsiteY51" fmla="*/ 8458 h 28194"/>
              <a:gd name="connsiteX52" fmla="*/ 18608 w 22555"/>
              <a:gd name="connsiteY52" fmla="*/ 8458 h 28194"/>
              <a:gd name="connsiteX53" fmla="*/ 19736 w 22555"/>
              <a:gd name="connsiteY53" fmla="*/ 4511 h 28194"/>
              <a:gd name="connsiteX54" fmla="*/ 25375 w 22555"/>
              <a:gd name="connsiteY54" fmla="*/ 3383 h 28194"/>
              <a:gd name="connsiteX55" fmla="*/ 23683 w 22555"/>
              <a:gd name="connsiteY55" fmla="*/ 2255 h 28194"/>
              <a:gd name="connsiteX56" fmla="*/ 21428 w 22555"/>
              <a:gd name="connsiteY56" fmla="*/ 0 h 28194"/>
              <a:gd name="connsiteX57" fmla="*/ 21428 w 22555"/>
              <a:gd name="connsiteY57" fmla="*/ 2819 h 28194"/>
              <a:gd name="connsiteX58" fmla="*/ 21428 w 22555"/>
              <a:gd name="connsiteY58" fmla="*/ 4511 h 28194"/>
              <a:gd name="connsiteX59" fmla="*/ 21428 w 22555"/>
              <a:gd name="connsiteY59" fmla="*/ 5075 h 28194"/>
              <a:gd name="connsiteX60" fmla="*/ 21991 w 22555"/>
              <a:gd name="connsiteY60" fmla="*/ 5075 h 28194"/>
              <a:gd name="connsiteX61" fmla="*/ 23683 w 22555"/>
              <a:gd name="connsiteY61" fmla="*/ 5639 h 28194"/>
              <a:gd name="connsiteX62" fmla="*/ 25375 w 22555"/>
              <a:gd name="connsiteY62" fmla="*/ 3383 h 281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</a:cxnLst>
            <a:rect l="l" t="t" r="r" b="b"/>
            <a:pathLst>
              <a:path w="22555" h="28194">
                <a:moveTo>
                  <a:pt x="16353" y="29886"/>
                </a:moveTo>
                <a:lnTo>
                  <a:pt x="16353" y="28194"/>
                </a:lnTo>
                <a:lnTo>
                  <a:pt x="15789" y="26502"/>
                </a:lnTo>
                <a:lnTo>
                  <a:pt x="15789" y="25375"/>
                </a:lnTo>
                <a:lnTo>
                  <a:pt x="15225" y="25375"/>
                </a:lnTo>
                <a:lnTo>
                  <a:pt x="12405" y="24811"/>
                </a:lnTo>
                <a:lnTo>
                  <a:pt x="11842" y="23683"/>
                </a:lnTo>
                <a:lnTo>
                  <a:pt x="11278" y="23683"/>
                </a:lnTo>
                <a:lnTo>
                  <a:pt x="11278" y="24811"/>
                </a:lnTo>
                <a:lnTo>
                  <a:pt x="11842" y="27066"/>
                </a:lnTo>
                <a:lnTo>
                  <a:pt x="14661" y="29322"/>
                </a:lnTo>
                <a:lnTo>
                  <a:pt x="16353" y="30449"/>
                </a:lnTo>
                <a:lnTo>
                  <a:pt x="16916" y="30449"/>
                </a:lnTo>
                <a:lnTo>
                  <a:pt x="16353" y="29886"/>
                </a:lnTo>
                <a:close/>
                <a:moveTo>
                  <a:pt x="19172" y="18044"/>
                </a:moveTo>
                <a:lnTo>
                  <a:pt x="19172" y="17480"/>
                </a:lnTo>
                <a:lnTo>
                  <a:pt x="18044" y="16352"/>
                </a:lnTo>
                <a:lnTo>
                  <a:pt x="15225" y="15225"/>
                </a:lnTo>
                <a:lnTo>
                  <a:pt x="14097" y="14661"/>
                </a:lnTo>
                <a:lnTo>
                  <a:pt x="12970" y="15225"/>
                </a:lnTo>
                <a:lnTo>
                  <a:pt x="12970" y="16352"/>
                </a:lnTo>
                <a:lnTo>
                  <a:pt x="13533" y="16916"/>
                </a:lnTo>
                <a:lnTo>
                  <a:pt x="15789" y="17480"/>
                </a:lnTo>
                <a:lnTo>
                  <a:pt x="18044" y="19172"/>
                </a:lnTo>
                <a:lnTo>
                  <a:pt x="18608" y="19172"/>
                </a:lnTo>
                <a:lnTo>
                  <a:pt x="19172" y="18044"/>
                </a:lnTo>
                <a:close/>
                <a:moveTo>
                  <a:pt x="5639" y="7330"/>
                </a:moveTo>
                <a:lnTo>
                  <a:pt x="4511" y="6767"/>
                </a:lnTo>
                <a:lnTo>
                  <a:pt x="1692" y="7330"/>
                </a:lnTo>
                <a:lnTo>
                  <a:pt x="0" y="7330"/>
                </a:lnTo>
                <a:lnTo>
                  <a:pt x="564" y="9022"/>
                </a:lnTo>
                <a:lnTo>
                  <a:pt x="3947" y="10150"/>
                </a:lnTo>
                <a:lnTo>
                  <a:pt x="5639" y="10150"/>
                </a:lnTo>
                <a:lnTo>
                  <a:pt x="7331" y="10150"/>
                </a:lnTo>
                <a:lnTo>
                  <a:pt x="8458" y="9586"/>
                </a:lnTo>
                <a:lnTo>
                  <a:pt x="7894" y="8458"/>
                </a:lnTo>
                <a:lnTo>
                  <a:pt x="5639" y="7330"/>
                </a:lnTo>
                <a:close/>
                <a:moveTo>
                  <a:pt x="19736" y="4511"/>
                </a:moveTo>
                <a:lnTo>
                  <a:pt x="15225" y="3383"/>
                </a:lnTo>
                <a:lnTo>
                  <a:pt x="11842" y="1692"/>
                </a:lnTo>
                <a:lnTo>
                  <a:pt x="6203" y="2255"/>
                </a:lnTo>
                <a:lnTo>
                  <a:pt x="10150" y="8458"/>
                </a:lnTo>
                <a:lnTo>
                  <a:pt x="14661" y="12405"/>
                </a:lnTo>
                <a:lnTo>
                  <a:pt x="16916" y="13533"/>
                </a:lnTo>
                <a:lnTo>
                  <a:pt x="16916" y="12969"/>
                </a:lnTo>
                <a:lnTo>
                  <a:pt x="16916" y="11841"/>
                </a:lnTo>
                <a:lnTo>
                  <a:pt x="14661" y="9022"/>
                </a:lnTo>
                <a:lnTo>
                  <a:pt x="14097" y="8458"/>
                </a:lnTo>
                <a:lnTo>
                  <a:pt x="14097" y="7894"/>
                </a:lnTo>
                <a:lnTo>
                  <a:pt x="14661" y="7330"/>
                </a:lnTo>
                <a:lnTo>
                  <a:pt x="15789" y="7330"/>
                </a:lnTo>
                <a:lnTo>
                  <a:pt x="17480" y="8458"/>
                </a:lnTo>
                <a:lnTo>
                  <a:pt x="18608" y="8458"/>
                </a:lnTo>
                <a:lnTo>
                  <a:pt x="19736" y="4511"/>
                </a:lnTo>
                <a:close/>
                <a:moveTo>
                  <a:pt x="25375" y="3383"/>
                </a:moveTo>
                <a:lnTo>
                  <a:pt x="23683" y="2255"/>
                </a:lnTo>
                <a:lnTo>
                  <a:pt x="21428" y="0"/>
                </a:lnTo>
                <a:lnTo>
                  <a:pt x="21428" y="2819"/>
                </a:lnTo>
                <a:lnTo>
                  <a:pt x="21428" y="4511"/>
                </a:lnTo>
                <a:lnTo>
                  <a:pt x="21428" y="5075"/>
                </a:lnTo>
                <a:lnTo>
                  <a:pt x="21991" y="5075"/>
                </a:lnTo>
                <a:lnTo>
                  <a:pt x="23683" y="5639"/>
                </a:lnTo>
                <a:lnTo>
                  <a:pt x="25375" y="3383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0" name="Freeform: Shape 423">
            <a:extLst>
              <a:ext uri="{FF2B5EF4-FFF2-40B4-BE49-F238E27FC236}">
                <a16:creationId xmlns:a16="http://schemas.microsoft.com/office/drawing/2014/main" id="{D5DCD204-D812-4475-B9DE-54C6C65C15C1}"/>
              </a:ext>
            </a:extLst>
          </p:cNvPr>
          <p:cNvSpPr/>
          <p:nvPr/>
        </p:nvSpPr>
        <p:spPr>
          <a:xfrm>
            <a:off x="4388992" y="3794628"/>
            <a:ext cx="4214" cy="4214"/>
          </a:xfrm>
          <a:custGeom>
            <a:avLst/>
            <a:gdLst>
              <a:gd name="connsiteX0" fmla="*/ 2255 w 5638"/>
              <a:gd name="connsiteY0" fmla="*/ 7894 h 5638"/>
              <a:gd name="connsiteX1" fmla="*/ 5075 w 5638"/>
              <a:gd name="connsiteY1" fmla="*/ 6767 h 5638"/>
              <a:gd name="connsiteX2" fmla="*/ 6203 w 5638"/>
              <a:gd name="connsiteY2" fmla="*/ 564 h 5638"/>
              <a:gd name="connsiteX3" fmla="*/ 4511 w 5638"/>
              <a:gd name="connsiteY3" fmla="*/ 0 h 5638"/>
              <a:gd name="connsiteX4" fmla="*/ 2819 w 5638"/>
              <a:gd name="connsiteY4" fmla="*/ 1692 h 5638"/>
              <a:gd name="connsiteX5" fmla="*/ 1128 w 5638"/>
              <a:gd name="connsiteY5" fmla="*/ 4511 h 5638"/>
              <a:gd name="connsiteX6" fmla="*/ 1128 w 5638"/>
              <a:gd name="connsiteY6" fmla="*/ 6767 h 5638"/>
              <a:gd name="connsiteX7" fmla="*/ 0 w 5638"/>
              <a:gd name="connsiteY7" fmla="*/ 8458 h 5638"/>
              <a:gd name="connsiteX8" fmla="*/ 2255 w 5638"/>
              <a:gd name="connsiteY8" fmla="*/ 7894 h 5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638" h="5638">
                <a:moveTo>
                  <a:pt x="2255" y="7894"/>
                </a:moveTo>
                <a:lnTo>
                  <a:pt x="5075" y="6767"/>
                </a:lnTo>
                <a:lnTo>
                  <a:pt x="6203" y="564"/>
                </a:lnTo>
                <a:lnTo>
                  <a:pt x="4511" y="0"/>
                </a:lnTo>
                <a:lnTo>
                  <a:pt x="2819" y="1692"/>
                </a:lnTo>
                <a:lnTo>
                  <a:pt x="1128" y="4511"/>
                </a:lnTo>
                <a:lnTo>
                  <a:pt x="1128" y="6767"/>
                </a:lnTo>
                <a:lnTo>
                  <a:pt x="0" y="8458"/>
                </a:lnTo>
                <a:lnTo>
                  <a:pt x="2255" y="7894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1" name="Freeform: Shape 424">
            <a:extLst>
              <a:ext uri="{FF2B5EF4-FFF2-40B4-BE49-F238E27FC236}">
                <a16:creationId xmlns:a16="http://schemas.microsoft.com/office/drawing/2014/main" id="{A430FBF2-6ADB-490D-9ABC-EEB3DD5E1607}"/>
              </a:ext>
            </a:extLst>
          </p:cNvPr>
          <p:cNvSpPr/>
          <p:nvPr/>
        </p:nvSpPr>
        <p:spPr>
          <a:xfrm>
            <a:off x="8480580" y="3517782"/>
            <a:ext cx="8428" cy="8428"/>
          </a:xfrm>
          <a:custGeom>
            <a:avLst/>
            <a:gdLst>
              <a:gd name="connsiteX0" fmla="*/ 12406 w 11277"/>
              <a:gd name="connsiteY0" fmla="*/ 12969 h 11277"/>
              <a:gd name="connsiteX1" fmla="*/ 12406 w 11277"/>
              <a:gd name="connsiteY1" fmla="*/ 11842 h 11277"/>
              <a:gd name="connsiteX2" fmla="*/ 12406 w 11277"/>
              <a:gd name="connsiteY2" fmla="*/ 10714 h 11277"/>
              <a:gd name="connsiteX3" fmla="*/ 10150 w 11277"/>
              <a:gd name="connsiteY3" fmla="*/ 9586 h 11277"/>
              <a:gd name="connsiteX4" fmla="*/ 8458 w 11277"/>
              <a:gd name="connsiteY4" fmla="*/ 9586 h 11277"/>
              <a:gd name="connsiteX5" fmla="*/ 9023 w 11277"/>
              <a:gd name="connsiteY5" fmla="*/ 10714 h 11277"/>
              <a:gd name="connsiteX6" fmla="*/ 11278 w 11277"/>
              <a:gd name="connsiteY6" fmla="*/ 13533 h 11277"/>
              <a:gd name="connsiteX7" fmla="*/ 12406 w 11277"/>
              <a:gd name="connsiteY7" fmla="*/ 12969 h 11277"/>
              <a:gd name="connsiteX8" fmla="*/ 5075 w 11277"/>
              <a:gd name="connsiteY8" fmla="*/ 12969 h 11277"/>
              <a:gd name="connsiteX9" fmla="*/ 4511 w 11277"/>
              <a:gd name="connsiteY9" fmla="*/ 10150 h 11277"/>
              <a:gd name="connsiteX10" fmla="*/ 5639 w 11277"/>
              <a:gd name="connsiteY10" fmla="*/ 8458 h 11277"/>
              <a:gd name="connsiteX11" fmla="*/ 564 w 11277"/>
              <a:gd name="connsiteY11" fmla="*/ 10150 h 11277"/>
              <a:gd name="connsiteX12" fmla="*/ 0 w 11277"/>
              <a:gd name="connsiteY12" fmla="*/ 11842 h 11277"/>
              <a:gd name="connsiteX13" fmla="*/ 0 w 11277"/>
              <a:gd name="connsiteY13" fmla="*/ 12405 h 11277"/>
              <a:gd name="connsiteX14" fmla="*/ 1128 w 11277"/>
              <a:gd name="connsiteY14" fmla="*/ 12969 h 11277"/>
              <a:gd name="connsiteX15" fmla="*/ 5075 w 11277"/>
              <a:gd name="connsiteY15" fmla="*/ 12969 h 11277"/>
              <a:gd name="connsiteX16" fmla="*/ 14097 w 11277"/>
              <a:gd name="connsiteY16" fmla="*/ 6203 h 11277"/>
              <a:gd name="connsiteX17" fmla="*/ 13533 w 11277"/>
              <a:gd name="connsiteY17" fmla="*/ 4511 h 11277"/>
              <a:gd name="connsiteX18" fmla="*/ 12406 w 11277"/>
              <a:gd name="connsiteY18" fmla="*/ 3947 h 11277"/>
              <a:gd name="connsiteX19" fmla="*/ 11842 w 11277"/>
              <a:gd name="connsiteY19" fmla="*/ 2255 h 11277"/>
              <a:gd name="connsiteX20" fmla="*/ 11278 w 11277"/>
              <a:gd name="connsiteY20" fmla="*/ 1128 h 11277"/>
              <a:gd name="connsiteX21" fmla="*/ 11278 w 11277"/>
              <a:gd name="connsiteY21" fmla="*/ 1128 h 11277"/>
              <a:gd name="connsiteX22" fmla="*/ 9586 w 11277"/>
              <a:gd name="connsiteY22" fmla="*/ 564 h 11277"/>
              <a:gd name="connsiteX23" fmla="*/ 8458 w 11277"/>
              <a:gd name="connsiteY23" fmla="*/ 0 h 11277"/>
              <a:gd name="connsiteX24" fmla="*/ 6203 w 11277"/>
              <a:gd name="connsiteY24" fmla="*/ 0 h 11277"/>
              <a:gd name="connsiteX25" fmla="*/ 5639 w 11277"/>
              <a:gd name="connsiteY25" fmla="*/ 564 h 11277"/>
              <a:gd name="connsiteX26" fmla="*/ 4511 w 11277"/>
              <a:gd name="connsiteY26" fmla="*/ 564 h 11277"/>
              <a:gd name="connsiteX27" fmla="*/ 3384 w 11277"/>
              <a:gd name="connsiteY27" fmla="*/ 1692 h 11277"/>
              <a:gd name="connsiteX28" fmla="*/ 3384 w 11277"/>
              <a:gd name="connsiteY28" fmla="*/ 1692 h 11277"/>
              <a:gd name="connsiteX29" fmla="*/ 3384 w 11277"/>
              <a:gd name="connsiteY29" fmla="*/ 2819 h 11277"/>
              <a:gd name="connsiteX30" fmla="*/ 564 w 11277"/>
              <a:gd name="connsiteY30" fmla="*/ 5075 h 11277"/>
              <a:gd name="connsiteX31" fmla="*/ 564 w 11277"/>
              <a:gd name="connsiteY31" fmla="*/ 6203 h 11277"/>
              <a:gd name="connsiteX32" fmla="*/ 2256 w 11277"/>
              <a:gd name="connsiteY32" fmla="*/ 7330 h 11277"/>
              <a:gd name="connsiteX33" fmla="*/ 5075 w 11277"/>
              <a:gd name="connsiteY33" fmla="*/ 6766 h 11277"/>
              <a:gd name="connsiteX34" fmla="*/ 8458 w 11277"/>
              <a:gd name="connsiteY34" fmla="*/ 7894 h 11277"/>
              <a:gd name="connsiteX35" fmla="*/ 12970 w 11277"/>
              <a:gd name="connsiteY35" fmla="*/ 9586 h 11277"/>
              <a:gd name="connsiteX36" fmla="*/ 12970 w 11277"/>
              <a:gd name="connsiteY36" fmla="*/ 8458 h 11277"/>
              <a:gd name="connsiteX37" fmla="*/ 12970 w 11277"/>
              <a:gd name="connsiteY37" fmla="*/ 6766 h 11277"/>
              <a:gd name="connsiteX38" fmla="*/ 14097 w 11277"/>
              <a:gd name="connsiteY38" fmla="*/ 6203 h 112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</a:cxnLst>
            <a:rect l="l" t="t" r="r" b="b"/>
            <a:pathLst>
              <a:path w="11277" h="11277">
                <a:moveTo>
                  <a:pt x="12406" y="12969"/>
                </a:moveTo>
                <a:lnTo>
                  <a:pt x="12406" y="11842"/>
                </a:lnTo>
                <a:lnTo>
                  <a:pt x="12406" y="10714"/>
                </a:lnTo>
                <a:lnTo>
                  <a:pt x="10150" y="9586"/>
                </a:lnTo>
                <a:lnTo>
                  <a:pt x="8458" y="9586"/>
                </a:lnTo>
                <a:lnTo>
                  <a:pt x="9023" y="10714"/>
                </a:lnTo>
                <a:lnTo>
                  <a:pt x="11278" y="13533"/>
                </a:lnTo>
                <a:lnTo>
                  <a:pt x="12406" y="12969"/>
                </a:lnTo>
                <a:close/>
                <a:moveTo>
                  <a:pt x="5075" y="12969"/>
                </a:moveTo>
                <a:lnTo>
                  <a:pt x="4511" y="10150"/>
                </a:lnTo>
                <a:lnTo>
                  <a:pt x="5639" y="8458"/>
                </a:lnTo>
                <a:lnTo>
                  <a:pt x="564" y="10150"/>
                </a:lnTo>
                <a:lnTo>
                  <a:pt x="0" y="11842"/>
                </a:lnTo>
                <a:lnTo>
                  <a:pt x="0" y="12405"/>
                </a:lnTo>
                <a:lnTo>
                  <a:pt x="1128" y="12969"/>
                </a:lnTo>
                <a:lnTo>
                  <a:pt x="5075" y="12969"/>
                </a:lnTo>
                <a:close/>
                <a:moveTo>
                  <a:pt x="14097" y="6203"/>
                </a:moveTo>
                <a:lnTo>
                  <a:pt x="13533" y="4511"/>
                </a:lnTo>
                <a:lnTo>
                  <a:pt x="12406" y="3947"/>
                </a:lnTo>
                <a:lnTo>
                  <a:pt x="11842" y="2255"/>
                </a:lnTo>
                <a:lnTo>
                  <a:pt x="11278" y="1128"/>
                </a:lnTo>
                <a:lnTo>
                  <a:pt x="11278" y="1128"/>
                </a:lnTo>
                <a:lnTo>
                  <a:pt x="9586" y="564"/>
                </a:lnTo>
                <a:lnTo>
                  <a:pt x="8458" y="0"/>
                </a:lnTo>
                <a:lnTo>
                  <a:pt x="6203" y="0"/>
                </a:lnTo>
                <a:lnTo>
                  <a:pt x="5639" y="564"/>
                </a:lnTo>
                <a:lnTo>
                  <a:pt x="4511" y="564"/>
                </a:lnTo>
                <a:lnTo>
                  <a:pt x="3384" y="1692"/>
                </a:lnTo>
                <a:lnTo>
                  <a:pt x="3384" y="1692"/>
                </a:lnTo>
                <a:lnTo>
                  <a:pt x="3384" y="2819"/>
                </a:lnTo>
                <a:lnTo>
                  <a:pt x="564" y="5075"/>
                </a:lnTo>
                <a:lnTo>
                  <a:pt x="564" y="6203"/>
                </a:lnTo>
                <a:lnTo>
                  <a:pt x="2256" y="7330"/>
                </a:lnTo>
                <a:lnTo>
                  <a:pt x="5075" y="6766"/>
                </a:lnTo>
                <a:lnTo>
                  <a:pt x="8458" y="7894"/>
                </a:lnTo>
                <a:lnTo>
                  <a:pt x="12970" y="9586"/>
                </a:lnTo>
                <a:lnTo>
                  <a:pt x="12970" y="8458"/>
                </a:lnTo>
                <a:lnTo>
                  <a:pt x="12970" y="6766"/>
                </a:lnTo>
                <a:lnTo>
                  <a:pt x="14097" y="6203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2" name="Freeform: Shape 425">
            <a:extLst>
              <a:ext uri="{FF2B5EF4-FFF2-40B4-BE49-F238E27FC236}">
                <a16:creationId xmlns:a16="http://schemas.microsoft.com/office/drawing/2014/main" id="{624C67C9-5A33-46F4-B262-DA670D5DCFB7}"/>
              </a:ext>
            </a:extLst>
          </p:cNvPr>
          <p:cNvSpPr/>
          <p:nvPr/>
        </p:nvSpPr>
        <p:spPr>
          <a:xfrm>
            <a:off x="4374666" y="3655993"/>
            <a:ext cx="4214" cy="8428"/>
          </a:xfrm>
          <a:custGeom>
            <a:avLst/>
            <a:gdLst>
              <a:gd name="connsiteX0" fmla="*/ 9022 w 5638"/>
              <a:gd name="connsiteY0" fmla="*/ 10150 h 11277"/>
              <a:gd name="connsiteX1" fmla="*/ 9022 w 5638"/>
              <a:gd name="connsiteY1" fmla="*/ 8458 h 11277"/>
              <a:gd name="connsiteX2" fmla="*/ 7894 w 5638"/>
              <a:gd name="connsiteY2" fmla="*/ 7331 h 11277"/>
              <a:gd name="connsiteX3" fmla="*/ 6203 w 5638"/>
              <a:gd name="connsiteY3" fmla="*/ 7331 h 11277"/>
              <a:gd name="connsiteX4" fmla="*/ 6203 w 5638"/>
              <a:gd name="connsiteY4" fmla="*/ 10150 h 11277"/>
              <a:gd name="connsiteX5" fmla="*/ 7330 w 5638"/>
              <a:gd name="connsiteY5" fmla="*/ 11278 h 11277"/>
              <a:gd name="connsiteX6" fmla="*/ 9022 w 5638"/>
              <a:gd name="connsiteY6" fmla="*/ 10150 h 11277"/>
              <a:gd name="connsiteX7" fmla="*/ 6203 w 5638"/>
              <a:gd name="connsiteY7" fmla="*/ 6203 h 11277"/>
              <a:gd name="connsiteX8" fmla="*/ 5639 w 5638"/>
              <a:gd name="connsiteY8" fmla="*/ 5075 h 11277"/>
              <a:gd name="connsiteX9" fmla="*/ 5075 w 5638"/>
              <a:gd name="connsiteY9" fmla="*/ 4511 h 11277"/>
              <a:gd name="connsiteX10" fmla="*/ 3947 w 5638"/>
              <a:gd name="connsiteY10" fmla="*/ 2255 h 11277"/>
              <a:gd name="connsiteX11" fmla="*/ 1692 w 5638"/>
              <a:gd name="connsiteY11" fmla="*/ 0 h 11277"/>
              <a:gd name="connsiteX12" fmla="*/ 564 w 5638"/>
              <a:gd name="connsiteY12" fmla="*/ 564 h 11277"/>
              <a:gd name="connsiteX13" fmla="*/ 0 w 5638"/>
              <a:gd name="connsiteY13" fmla="*/ 1692 h 11277"/>
              <a:gd name="connsiteX14" fmla="*/ 0 w 5638"/>
              <a:gd name="connsiteY14" fmla="*/ 2255 h 11277"/>
              <a:gd name="connsiteX15" fmla="*/ 0 w 5638"/>
              <a:gd name="connsiteY15" fmla="*/ 2255 h 11277"/>
              <a:gd name="connsiteX16" fmla="*/ 1692 w 5638"/>
              <a:gd name="connsiteY16" fmla="*/ 3947 h 11277"/>
              <a:gd name="connsiteX17" fmla="*/ 3947 w 5638"/>
              <a:gd name="connsiteY17" fmla="*/ 4511 h 11277"/>
              <a:gd name="connsiteX18" fmla="*/ 5075 w 5638"/>
              <a:gd name="connsiteY18" fmla="*/ 6767 h 11277"/>
              <a:gd name="connsiteX19" fmla="*/ 6203 w 5638"/>
              <a:gd name="connsiteY19" fmla="*/ 6203 h 112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5638" h="11277">
                <a:moveTo>
                  <a:pt x="9022" y="10150"/>
                </a:moveTo>
                <a:lnTo>
                  <a:pt x="9022" y="8458"/>
                </a:lnTo>
                <a:lnTo>
                  <a:pt x="7894" y="7331"/>
                </a:lnTo>
                <a:lnTo>
                  <a:pt x="6203" y="7331"/>
                </a:lnTo>
                <a:lnTo>
                  <a:pt x="6203" y="10150"/>
                </a:lnTo>
                <a:lnTo>
                  <a:pt x="7330" y="11278"/>
                </a:lnTo>
                <a:lnTo>
                  <a:pt x="9022" y="10150"/>
                </a:lnTo>
                <a:close/>
                <a:moveTo>
                  <a:pt x="6203" y="6203"/>
                </a:moveTo>
                <a:lnTo>
                  <a:pt x="5639" y="5075"/>
                </a:lnTo>
                <a:lnTo>
                  <a:pt x="5075" y="4511"/>
                </a:lnTo>
                <a:lnTo>
                  <a:pt x="3947" y="2255"/>
                </a:lnTo>
                <a:lnTo>
                  <a:pt x="1692" y="0"/>
                </a:lnTo>
                <a:lnTo>
                  <a:pt x="564" y="564"/>
                </a:lnTo>
                <a:lnTo>
                  <a:pt x="0" y="1692"/>
                </a:lnTo>
                <a:lnTo>
                  <a:pt x="0" y="2255"/>
                </a:lnTo>
                <a:lnTo>
                  <a:pt x="0" y="2255"/>
                </a:lnTo>
                <a:lnTo>
                  <a:pt x="1692" y="3947"/>
                </a:lnTo>
                <a:lnTo>
                  <a:pt x="3947" y="4511"/>
                </a:lnTo>
                <a:lnTo>
                  <a:pt x="5075" y="6767"/>
                </a:lnTo>
                <a:lnTo>
                  <a:pt x="6203" y="6203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3" name="Freeform: Shape 426">
            <a:extLst>
              <a:ext uri="{FF2B5EF4-FFF2-40B4-BE49-F238E27FC236}">
                <a16:creationId xmlns:a16="http://schemas.microsoft.com/office/drawing/2014/main" id="{993D3015-06D4-4F00-A7E5-D68BA2BC45C1}"/>
              </a:ext>
            </a:extLst>
          </p:cNvPr>
          <p:cNvSpPr/>
          <p:nvPr/>
        </p:nvSpPr>
        <p:spPr>
          <a:xfrm>
            <a:off x="4408797" y="3744906"/>
            <a:ext cx="4214" cy="8428"/>
          </a:xfrm>
          <a:custGeom>
            <a:avLst/>
            <a:gdLst>
              <a:gd name="connsiteX0" fmla="*/ 5639 w 5638"/>
              <a:gd name="connsiteY0" fmla="*/ 9586 h 11277"/>
              <a:gd name="connsiteX1" fmla="*/ 6203 w 5638"/>
              <a:gd name="connsiteY1" fmla="*/ 2819 h 11277"/>
              <a:gd name="connsiteX2" fmla="*/ 5639 w 5638"/>
              <a:gd name="connsiteY2" fmla="*/ 0 h 11277"/>
              <a:gd name="connsiteX3" fmla="*/ 4511 w 5638"/>
              <a:gd name="connsiteY3" fmla="*/ 564 h 11277"/>
              <a:gd name="connsiteX4" fmla="*/ 2819 w 5638"/>
              <a:gd name="connsiteY4" fmla="*/ 2819 h 11277"/>
              <a:gd name="connsiteX5" fmla="*/ 564 w 5638"/>
              <a:gd name="connsiteY5" fmla="*/ 6203 h 11277"/>
              <a:gd name="connsiteX6" fmla="*/ 0 w 5638"/>
              <a:gd name="connsiteY6" fmla="*/ 7894 h 11277"/>
              <a:gd name="connsiteX7" fmla="*/ 0 w 5638"/>
              <a:gd name="connsiteY7" fmla="*/ 11278 h 11277"/>
              <a:gd name="connsiteX8" fmla="*/ 3383 w 5638"/>
              <a:gd name="connsiteY8" fmla="*/ 13533 h 11277"/>
              <a:gd name="connsiteX9" fmla="*/ 5639 w 5638"/>
              <a:gd name="connsiteY9" fmla="*/ 9586 h 112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638" h="11277">
                <a:moveTo>
                  <a:pt x="5639" y="9586"/>
                </a:moveTo>
                <a:lnTo>
                  <a:pt x="6203" y="2819"/>
                </a:lnTo>
                <a:lnTo>
                  <a:pt x="5639" y="0"/>
                </a:lnTo>
                <a:lnTo>
                  <a:pt x="4511" y="564"/>
                </a:lnTo>
                <a:lnTo>
                  <a:pt x="2819" y="2819"/>
                </a:lnTo>
                <a:lnTo>
                  <a:pt x="564" y="6203"/>
                </a:lnTo>
                <a:lnTo>
                  <a:pt x="0" y="7894"/>
                </a:lnTo>
                <a:lnTo>
                  <a:pt x="0" y="11278"/>
                </a:lnTo>
                <a:lnTo>
                  <a:pt x="3383" y="13533"/>
                </a:lnTo>
                <a:lnTo>
                  <a:pt x="5639" y="9586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4" name="Freeform: Shape 427">
            <a:extLst>
              <a:ext uri="{FF2B5EF4-FFF2-40B4-BE49-F238E27FC236}">
                <a16:creationId xmlns:a16="http://schemas.microsoft.com/office/drawing/2014/main" id="{1C17962F-DAE3-4A1B-B335-94ACED641C1B}"/>
              </a:ext>
            </a:extLst>
          </p:cNvPr>
          <p:cNvSpPr/>
          <p:nvPr/>
        </p:nvSpPr>
        <p:spPr>
          <a:xfrm>
            <a:off x="6041219" y="2858745"/>
            <a:ext cx="4214" cy="4214"/>
          </a:xfrm>
          <a:custGeom>
            <a:avLst/>
            <a:gdLst>
              <a:gd name="connsiteX0" fmla="*/ 3383 w 0"/>
              <a:gd name="connsiteY0" fmla="*/ 7894 h 5638"/>
              <a:gd name="connsiteX1" fmla="*/ 3383 w 0"/>
              <a:gd name="connsiteY1" fmla="*/ 6766 h 5638"/>
              <a:gd name="connsiteX2" fmla="*/ 3947 w 0"/>
              <a:gd name="connsiteY2" fmla="*/ 5639 h 5638"/>
              <a:gd name="connsiteX3" fmla="*/ 3383 w 0"/>
              <a:gd name="connsiteY3" fmla="*/ 5075 h 5638"/>
              <a:gd name="connsiteX4" fmla="*/ 2820 w 0"/>
              <a:gd name="connsiteY4" fmla="*/ 3947 h 5638"/>
              <a:gd name="connsiteX5" fmla="*/ 2255 w 0"/>
              <a:gd name="connsiteY5" fmla="*/ 3383 h 5638"/>
              <a:gd name="connsiteX6" fmla="*/ 2255 w 0"/>
              <a:gd name="connsiteY6" fmla="*/ 2255 h 5638"/>
              <a:gd name="connsiteX7" fmla="*/ 1692 w 0"/>
              <a:gd name="connsiteY7" fmla="*/ 1692 h 5638"/>
              <a:gd name="connsiteX8" fmla="*/ 1692 w 0"/>
              <a:gd name="connsiteY8" fmla="*/ 564 h 5638"/>
              <a:gd name="connsiteX9" fmla="*/ 1128 w 0"/>
              <a:gd name="connsiteY9" fmla="*/ 0 h 5638"/>
              <a:gd name="connsiteX10" fmla="*/ 0 w 0"/>
              <a:gd name="connsiteY10" fmla="*/ 3383 h 5638"/>
              <a:gd name="connsiteX11" fmla="*/ 0 w 0"/>
              <a:gd name="connsiteY11" fmla="*/ 6203 h 5638"/>
              <a:gd name="connsiteX12" fmla="*/ 564 w 0"/>
              <a:gd name="connsiteY12" fmla="*/ 7330 h 5638"/>
              <a:gd name="connsiteX13" fmla="*/ 1128 w 0"/>
              <a:gd name="connsiteY13" fmla="*/ 7330 h 5638"/>
              <a:gd name="connsiteX14" fmla="*/ 3383 w 0"/>
              <a:gd name="connsiteY14" fmla="*/ 7894 h 5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h="5638">
                <a:moveTo>
                  <a:pt x="3383" y="7894"/>
                </a:moveTo>
                <a:lnTo>
                  <a:pt x="3383" y="6766"/>
                </a:lnTo>
                <a:lnTo>
                  <a:pt x="3947" y="5639"/>
                </a:lnTo>
                <a:lnTo>
                  <a:pt x="3383" y="5075"/>
                </a:lnTo>
                <a:lnTo>
                  <a:pt x="2820" y="3947"/>
                </a:lnTo>
                <a:lnTo>
                  <a:pt x="2255" y="3383"/>
                </a:lnTo>
                <a:lnTo>
                  <a:pt x="2255" y="2255"/>
                </a:lnTo>
                <a:lnTo>
                  <a:pt x="1692" y="1692"/>
                </a:lnTo>
                <a:lnTo>
                  <a:pt x="1692" y="564"/>
                </a:lnTo>
                <a:lnTo>
                  <a:pt x="1128" y="0"/>
                </a:lnTo>
                <a:lnTo>
                  <a:pt x="0" y="3383"/>
                </a:lnTo>
                <a:lnTo>
                  <a:pt x="0" y="6203"/>
                </a:lnTo>
                <a:lnTo>
                  <a:pt x="564" y="7330"/>
                </a:lnTo>
                <a:lnTo>
                  <a:pt x="1128" y="7330"/>
                </a:lnTo>
                <a:lnTo>
                  <a:pt x="3383" y="7894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5" name="Freeform: Shape 428">
            <a:extLst>
              <a:ext uri="{FF2B5EF4-FFF2-40B4-BE49-F238E27FC236}">
                <a16:creationId xmlns:a16="http://schemas.microsoft.com/office/drawing/2014/main" id="{F1C21429-559D-4C10-A7D0-6876BB47F271}"/>
              </a:ext>
            </a:extLst>
          </p:cNvPr>
          <p:cNvSpPr/>
          <p:nvPr/>
        </p:nvSpPr>
        <p:spPr>
          <a:xfrm>
            <a:off x="7579672" y="4008688"/>
            <a:ext cx="4214" cy="25283"/>
          </a:xfrm>
          <a:custGeom>
            <a:avLst/>
            <a:gdLst>
              <a:gd name="connsiteX0" fmla="*/ 1127 w 0"/>
              <a:gd name="connsiteY0" fmla="*/ 36652 h 33832"/>
              <a:gd name="connsiteX1" fmla="*/ 1691 w 0"/>
              <a:gd name="connsiteY1" fmla="*/ 36088 h 33832"/>
              <a:gd name="connsiteX2" fmla="*/ 1691 w 0"/>
              <a:gd name="connsiteY2" fmla="*/ 34961 h 33832"/>
              <a:gd name="connsiteX3" fmla="*/ 1127 w 0"/>
              <a:gd name="connsiteY3" fmla="*/ 34397 h 33832"/>
              <a:gd name="connsiteX4" fmla="*/ 564 w 0"/>
              <a:gd name="connsiteY4" fmla="*/ 34397 h 33832"/>
              <a:gd name="connsiteX5" fmla="*/ 0 w 0"/>
              <a:gd name="connsiteY5" fmla="*/ 35525 h 33832"/>
              <a:gd name="connsiteX6" fmla="*/ 0 w 0"/>
              <a:gd name="connsiteY6" fmla="*/ 36088 h 33832"/>
              <a:gd name="connsiteX7" fmla="*/ 0 w 0"/>
              <a:gd name="connsiteY7" fmla="*/ 36652 h 33832"/>
              <a:gd name="connsiteX8" fmla="*/ 1127 w 0"/>
              <a:gd name="connsiteY8" fmla="*/ 36652 h 33832"/>
              <a:gd name="connsiteX9" fmla="*/ 2819 w 0"/>
              <a:gd name="connsiteY9" fmla="*/ 3383 h 33832"/>
              <a:gd name="connsiteX10" fmla="*/ 3383 w 0"/>
              <a:gd name="connsiteY10" fmla="*/ 2256 h 33832"/>
              <a:gd name="connsiteX11" fmla="*/ 3383 w 0"/>
              <a:gd name="connsiteY11" fmla="*/ 1692 h 33832"/>
              <a:gd name="connsiteX12" fmla="*/ 3383 w 0"/>
              <a:gd name="connsiteY12" fmla="*/ 1128 h 33832"/>
              <a:gd name="connsiteX13" fmla="*/ 3383 w 0"/>
              <a:gd name="connsiteY13" fmla="*/ 564 h 33832"/>
              <a:gd name="connsiteX14" fmla="*/ 3383 w 0"/>
              <a:gd name="connsiteY14" fmla="*/ 0 h 33832"/>
              <a:gd name="connsiteX15" fmla="*/ 2819 w 0"/>
              <a:gd name="connsiteY15" fmla="*/ 564 h 33832"/>
              <a:gd name="connsiteX16" fmla="*/ 2256 w 0"/>
              <a:gd name="connsiteY16" fmla="*/ 1692 h 33832"/>
              <a:gd name="connsiteX17" fmla="*/ 2256 w 0"/>
              <a:gd name="connsiteY17" fmla="*/ 2256 h 33832"/>
              <a:gd name="connsiteX18" fmla="*/ 1691 w 0"/>
              <a:gd name="connsiteY18" fmla="*/ 2819 h 33832"/>
              <a:gd name="connsiteX19" fmla="*/ 1691 w 0"/>
              <a:gd name="connsiteY19" fmla="*/ 3383 h 33832"/>
              <a:gd name="connsiteX20" fmla="*/ 2256 w 0"/>
              <a:gd name="connsiteY20" fmla="*/ 3383 h 33832"/>
              <a:gd name="connsiteX21" fmla="*/ 2819 w 0"/>
              <a:gd name="connsiteY21" fmla="*/ 3383 h 33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h="33832">
                <a:moveTo>
                  <a:pt x="1127" y="36652"/>
                </a:moveTo>
                <a:lnTo>
                  <a:pt x="1691" y="36088"/>
                </a:lnTo>
                <a:lnTo>
                  <a:pt x="1691" y="34961"/>
                </a:lnTo>
                <a:lnTo>
                  <a:pt x="1127" y="34397"/>
                </a:lnTo>
                <a:lnTo>
                  <a:pt x="564" y="34397"/>
                </a:lnTo>
                <a:lnTo>
                  <a:pt x="0" y="35525"/>
                </a:lnTo>
                <a:lnTo>
                  <a:pt x="0" y="36088"/>
                </a:lnTo>
                <a:lnTo>
                  <a:pt x="0" y="36652"/>
                </a:lnTo>
                <a:lnTo>
                  <a:pt x="1127" y="36652"/>
                </a:lnTo>
                <a:close/>
                <a:moveTo>
                  <a:pt x="2819" y="3383"/>
                </a:moveTo>
                <a:lnTo>
                  <a:pt x="3383" y="2256"/>
                </a:lnTo>
                <a:lnTo>
                  <a:pt x="3383" y="1692"/>
                </a:lnTo>
                <a:lnTo>
                  <a:pt x="3383" y="1128"/>
                </a:lnTo>
                <a:lnTo>
                  <a:pt x="3383" y="564"/>
                </a:lnTo>
                <a:lnTo>
                  <a:pt x="3383" y="0"/>
                </a:lnTo>
                <a:lnTo>
                  <a:pt x="2819" y="564"/>
                </a:lnTo>
                <a:lnTo>
                  <a:pt x="2256" y="1692"/>
                </a:lnTo>
                <a:lnTo>
                  <a:pt x="2256" y="2256"/>
                </a:lnTo>
                <a:lnTo>
                  <a:pt x="1691" y="2819"/>
                </a:lnTo>
                <a:lnTo>
                  <a:pt x="1691" y="3383"/>
                </a:lnTo>
                <a:lnTo>
                  <a:pt x="2256" y="3383"/>
                </a:lnTo>
                <a:lnTo>
                  <a:pt x="2819" y="3383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6" name="Freeform: Shape 429">
            <a:extLst>
              <a:ext uri="{FF2B5EF4-FFF2-40B4-BE49-F238E27FC236}">
                <a16:creationId xmlns:a16="http://schemas.microsoft.com/office/drawing/2014/main" id="{00E509E5-6161-4F90-9DA6-2245947AB11D}"/>
              </a:ext>
            </a:extLst>
          </p:cNvPr>
          <p:cNvSpPr/>
          <p:nvPr/>
        </p:nvSpPr>
        <p:spPr>
          <a:xfrm>
            <a:off x="6157940" y="3154974"/>
            <a:ext cx="8428" cy="4214"/>
          </a:xfrm>
          <a:custGeom>
            <a:avLst/>
            <a:gdLst>
              <a:gd name="connsiteX0" fmla="*/ 11841 w 11277"/>
              <a:gd name="connsiteY0" fmla="*/ 8458 h 5638"/>
              <a:gd name="connsiteX1" fmla="*/ 10714 w 11277"/>
              <a:gd name="connsiteY1" fmla="*/ 7330 h 5638"/>
              <a:gd name="connsiteX2" fmla="*/ 7894 w 11277"/>
              <a:gd name="connsiteY2" fmla="*/ 4511 h 5638"/>
              <a:gd name="connsiteX3" fmla="*/ 5075 w 11277"/>
              <a:gd name="connsiteY3" fmla="*/ 3947 h 5638"/>
              <a:gd name="connsiteX4" fmla="*/ 5639 w 11277"/>
              <a:gd name="connsiteY4" fmla="*/ 7330 h 5638"/>
              <a:gd name="connsiteX5" fmla="*/ 7894 w 11277"/>
              <a:gd name="connsiteY5" fmla="*/ 9586 h 5638"/>
              <a:gd name="connsiteX6" fmla="*/ 10714 w 11277"/>
              <a:gd name="connsiteY6" fmla="*/ 9586 h 5638"/>
              <a:gd name="connsiteX7" fmla="*/ 11841 w 11277"/>
              <a:gd name="connsiteY7" fmla="*/ 8458 h 5638"/>
              <a:gd name="connsiteX8" fmla="*/ 3947 w 11277"/>
              <a:gd name="connsiteY8" fmla="*/ 1692 h 5638"/>
              <a:gd name="connsiteX9" fmla="*/ 3947 w 11277"/>
              <a:gd name="connsiteY9" fmla="*/ 1692 h 5638"/>
              <a:gd name="connsiteX10" fmla="*/ 3947 w 11277"/>
              <a:gd name="connsiteY10" fmla="*/ 564 h 5638"/>
              <a:gd name="connsiteX11" fmla="*/ 2256 w 11277"/>
              <a:gd name="connsiteY11" fmla="*/ 0 h 5638"/>
              <a:gd name="connsiteX12" fmla="*/ 0 w 11277"/>
              <a:gd name="connsiteY12" fmla="*/ 564 h 5638"/>
              <a:gd name="connsiteX13" fmla="*/ 564 w 11277"/>
              <a:gd name="connsiteY13" fmla="*/ 1128 h 5638"/>
              <a:gd name="connsiteX14" fmla="*/ 2256 w 11277"/>
              <a:gd name="connsiteY14" fmla="*/ 2255 h 5638"/>
              <a:gd name="connsiteX15" fmla="*/ 3947 w 11277"/>
              <a:gd name="connsiteY15" fmla="*/ 1692 h 5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1277" h="5638">
                <a:moveTo>
                  <a:pt x="11841" y="8458"/>
                </a:moveTo>
                <a:lnTo>
                  <a:pt x="10714" y="7330"/>
                </a:lnTo>
                <a:lnTo>
                  <a:pt x="7894" y="4511"/>
                </a:lnTo>
                <a:lnTo>
                  <a:pt x="5075" y="3947"/>
                </a:lnTo>
                <a:lnTo>
                  <a:pt x="5639" y="7330"/>
                </a:lnTo>
                <a:lnTo>
                  <a:pt x="7894" y="9586"/>
                </a:lnTo>
                <a:lnTo>
                  <a:pt x="10714" y="9586"/>
                </a:lnTo>
                <a:lnTo>
                  <a:pt x="11841" y="8458"/>
                </a:lnTo>
                <a:close/>
                <a:moveTo>
                  <a:pt x="3947" y="1692"/>
                </a:moveTo>
                <a:lnTo>
                  <a:pt x="3947" y="1692"/>
                </a:lnTo>
                <a:lnTo>
                  <a:pt x="3947" y="564"/>
                </a:lnTo>
                <a:lnTo>
                  <a:pt x="2256" y="0"/>
                </a:lnTo>
                <a:lnTo>
                  <a:pt x="0" y="564"/>
                </a:lnTo>
                <a:lnTo>
                  <a:pt x="564" y="1128"/>
                </a:lnTo>
                <a:lnTo>
                  <a:pt x="2256" y="2255"/>
                </a:lnTo>
                <a:lnTo>
                  <a:pt x="3947" y="1692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7" name="Freeform: Shape 430">
            <a:extLst>
              <a:ext uri="{FF2B5EF4-FFF2-40B4-BE49-F238E27FC236}">
                <a16:creationId xmlns:a16="http://schemas.microsoft.com/office/drawing/2014/main" id="{307B4C2C-1883-47D5-B9BD-CEBC22A4D028}"/>
              </a:ext>
            </a:extLst>
          </p:cNvPr>
          <p:cNvSpPr/>
          <p:nvPr/>
        </p:nvSpPr>
        <p:spPr>
          <a:xfrm>
            <a:off x="4387728" y="3672007"/>
            <a:ext cx="4214" cy="4214"/>
          </a:xfrm>
          <a:custGeom>
            <a:avLst/>
            <a:gdLst>
              <a:gd name="connsiteX0" fmla="*/ 2255 w 0"/>
              <a:gd name="connsiteY0" fmla="*/ 2819 h 0"/>
              <a:gd name="connsiteX1" fmla="*/ 1692 w 0"/>
              <a:gd name="connsiteY1" fmla="*/ 0 h 0"/>
              <a:gd name="connsiteX2" fmla="*/ 1127 w 0"/>
              <a:gd name="connsiteY2" fmla="*/ 0 h 0"/>
              <a:gd name="connsiteX3" fmla="*/ 0 w 0"/>
              <a:gd name="connsiteY3" fmla="*/ 2255 h 0"/>
              <a:gd name="connsiteX4" fmla="*/ 0 w 0"/>
              <a:gd name="connsiteY4" fmla="*/ 3947 h 0"/>
              <a:gd name="connsiteX5" fmla="*/ 1692 w 0"/>
              <a:gd name="connsiteY5" fmla="*/ 4511 h 0"/>
              <a:gd name="connsiteX6" fmla="*/ 2255 w 0"/>
              <a:gd name="connsiteY6" fmla="*/ 2819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>
                <a:moveTo>
                  <a:pt x="2255" y="2819"/>
                </a:moveTo>
                <a:lnTo>
                  <a:pt x="1692" y="0"/>
                </a:lnTo>
                <a:lnTo>
                  <a:pt x="1127" y="0"/>
                </a:lnTo>
                <a:lnTo>
                  <a:pt x="0" y="2255"/>
                </a:lnTo>
                <a:lnTo>
                  <a:pt x="0" y="3947"/>
                </a:lnTo>
                <a:lnTo>
                  <a:pt x="1692" y="4511"/>
                </a:lnTo>
                <a:lnTo>
                  <a:pt x="2255" y="2819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8" name="Freeform: Shape 431">
            <a:extLst>
              <a:ext uri="{FF2B5EF4-FFF2-40B4-BE49-F238E27FC236}">
                <a16:creationId xmlns:a16="http://schemas.microsoft.com/office/drawing/2014/main" id="{581234AA-F11B-4138-9C75-4D8ECCF6BDCE}"/>
              </a:ext>
            </a:extLst>
          </p:cNvPr>
          <p:cNvSpPr/>
          <p:nvPr/>
        </p:nvSpPr>
        <p:spPr>
          <a:xfrm>
            <a:off x="7175149" y="4658454"/>
            <a:ext cx="8428" cy="12641"/>
          </a:xfrm>
          <a:custGeom>
            <a:avLst/>
            <a:gdLst>
              <a:gd name="connsiteX0" fmla="*/ 10149 w 11277"/>
              <a:gd name="connsiteY0" fmla="*/ 18044 h 16916"/>
              <a:gd name="connsiteX1" fmla="*/ 11841 w 11277"/>
              <a:gd name="connsiteY1" fmla="*/ 16353 h 16916"/>
              <a:gd name="connsiteX2" fmla="*/ 12969 w 11277"/>
              <a:gd name="connsiteY2" fmla="*/ 14097 h 16916"/>
              <a:gd name="connsiteX3" fmla="*/ 14661 w 11277"/>
              <a:gd name="connsiteY3" fmla="*/ 12405 h 16916"/>
              <a:gd name="connsiteX4" fmla="*/ 15224 w 11277"/>
              <a:gd name="connsiteY4" fmla="*/ 8458 h 16916"/>
              <a:gd name="connsiteX5" fmla="*/ 14097 w 11277"/>
              <a:gd name="connsiteY5" fmla="*/ 3947 h 16916"/>
              <a:gd name="connsiteX6" fmla="*/ 11841 w 11277"/>
              <a:gd name="connsiteY6" fmla="*/ 0 h 16916"/>
              <a:gd name="connsiteX7" fmla="*/ 9022 w 11277"/>
              <a:gd name="connsiteY7" fmla="*/ 564 h 16916"/>
              <a:gd name="connsiteX8" fmla="*/ 7330 w 11277"/>
              <a:gd name="connsiteY8" fmla="*/ 2819 h 16916"/>
              <a:gd name="connsiteX9" fmla="*/ 6203 w 11277"/>
              <a:gd name="connsiteY9" fmla="*/ 5639 h 16916"/>
              <a:gd name="connsiteX10" fmla="*/ 3383 w 11277"/>
              <a:gd name="connsiteY10" fmla="*/ 7330 h 16916"/>
              <a:gd name="connsiteX11" fmla="*/ 2819 w 11277"/>
              <a:gd name="connsiteY11" fmla="*/ 9022 h 16916"/>
              <a:gd name="connsiteX12" fmla="*/ 1691 w 11277"/>
              <a:gd name="connsiteY12" fmla="*/ 12969 h 16916"/>
              <a:gd name="connsiteX13" fmla="*/ 1127 w 11277"/>
              <a:gd name="connsiteY13" fmla="*/ 15225 h 16916"/>
              <a:gd name="connsiteX14" fmla="*/ 0 w 11277"/>
              <a:gd name="connsiteY14" fmla="*/ 15789 h 16916"/>
              <a:gd name="connsiteX15" fmla="*/ 0 w 11277"/>
              <a:gd name="connsiteY15" fmla="*/ 16916 h 16916"/>
              <a:gd name="connsiteX16" fmla="*/ 1691 w 11277"/>
              <a:gd name="connsiteY16" fmla="*/ 18608 h 16916"/>
              <a:gd name="connsiteX17" fmla="*/ 6203 w 11277"/>
              <a:gd name="connsiteY17" fmla="*/ 19172 h 16916"/>
              <a:gd name="connsiteX18" fmla="*/ 10149 w 11277"/>
              <a:gd name="connsiteY18" fmla="*/ 18044 h 169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1277" h="16916">
                <a:moveTo>
                  <a:pt x="10149" y="18044"/>
                </a:moveTo>
                <a:lnTo>
                  <a:pt x="11841" y="16353"/>
                </a:lnTo>
                <a:lnTo>
                  <a:pt x="12969" y="14097"/>
                </a:lnTo>
                <a:lnTo>
                  <a:pt x="14661" y="12405"/>
                </a:lnTo>
                <a:lnTo>
                  <a:pt x="15224" y="8458"/>
                </a:lnTo>
                <a:lnTo>
                  <a:pt x="14097" y="3947"/>
                </a:lnTo>
                <a:lnTo>
                  <a:pt x="11841" y="0"/>
                </a:lnTo>
                <a:lnTo>
                  <a:pt x="9022" y="564"/>
                </a:lnTo>
                <a:lnTo>
                  <a:pt x="7330" y="2819"/>
                </a:lnTo>
                <a:lnTo>
                  <a:pt x="6203" y="5639"/>
                </a:lnTo>
                <a:lnTo>
                  <a:pt x="3383" y="7330"/>
                </a:lnTo>
                <a:lnTo>
                  <a:pt x="2819" y="9022"/>
                </a:lnTo>
                <a:lnTo>
                  <a:pt x="1691" y="12969"/>
                </a:lnTo>
                <a:lnTo>
                  <a:pt x="1127" y="15225"/>
                </a:lnTo>
                <a:lnTo>
                  <a:pt x="0" y="15789"/>
                </a:lnTo>
                <a:lnTo>
                  <a:pt x="0" y="16916"/>
                </a:lnTo>
                <a:lnTo>
                  <a:pt x="1691" y="18608"/>
                </a:lnTo>
                <a:lnTo>
                  <a:pt x="6203" y="19172"/>
                </a:lnTo>
                <a:lnTo>
                  <a:pt x="10149" y="18044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9" name="Freeform: Shape 432">
            <a:extLst>
              <a:ext uri="{FF2B5EF4-FFF2-40B4-BE49-F238E27FC236}">
                <a16:creationId xmlns:a16="http://schemas.microsoft.com/office/drawing/2014/main" id="{F5376C3E-E46B-4FC1-A3D0-9623013A5F66}"/>
              </a:ext>
            </a:extLst>
          </p:cNvPr>
          <p:cNvSpPr/>
          <p:nvPr/>
        </p:nvSpPr>
        <p:spPr>
          <a:xfrm>
            <a:off x="9567316" y="4635279"/>
            <a:ext cx="172766" cy="92704"/>
          </a:xfrm>
          <a:custGeom>
            <a:avLst/>
            <a:gdLst>
              <a:gd name="connsiteX0" fmla="*/ 206944 w 231190"/>
              <a:gd name="connsiteY0" fmla="*/ 125745 h 124053"/>
              <a:gd name="connsiteX1" fmla="*/ 206944 w 231190"/>
              <a:gd name="connsiteY1" fmla="*/ 124054 h 124053"/>
              <a:gd name="connsiteX2" fmla="*/ 204689 w 231190"/>
              <a:gd name="connsiteY2" fmla="*/ 122926 h 124053"/>
              <a:gd name="connsiteX3" fmla="*/ 203561 w 231190"/>
              <a:gd name="connsiteY3" fmla="*/ 125745 h 124053"/>
              <a:gd name="connsiteX4" fmla="*/ 203561 w 231190"/>
              <a:gd name="connsiteY4" fmla="*/ 126309 h 124053"/>
              <a:gd name="connsiteX5" fmla="*/ 204689 w 231190"/>
              <a:gd name="connsiteY5" fmla="*/ 126873 h 124053"/>
              <a:gd name="connsiteX6" fmla="*/ 205816 w 231190"/>
              <a:gd name="connsiteY6" fmla="*/ 126873 h 124053"/>
              <a:gd name="connsiteX7" fmla="*/ 206944 w 231190"/>
              <a:gd name="connsiteY7" fmla="*/ 125745 h 124053"/>
              <a:gd name="connsiteX8" fmla="*/ 232883 w 231190"/>
              <a:gd name="connsiteY8" fmla="*/ 82890 h 124053"/>
              <a:gd name="connsiteX9" fmla="*/ 232319 w 231190"/>
              <a:gd name="connsiteY9" fmla="*/ 82327 h 124053"/>
              <a:gd name="connsiteX10" fmla="*/ 232319 w 231190"/>
              <a:gd name="connsiteY10" fmla="*/ 80635 h 124053"/>
              <a:gd name="connsiteX11" fmla="*/ 232883 w 231190"/>
              <a:gd name="connsiteY11" fmla="*/ 79507 h 124053"/>
              <a:gd name="connsiteX12" fmla="*/ 230627 w 231190"/>
              <a:gd name="connsiteY12" fmla="*/ 80635 h 124053"/>
              <a:gd name="connsiteX13" fmla="*/ 227244 w 231190"/>
              <a:gd name="connsiteY13" fmla="*/ 81763 h 124053"/>
              <a:gd name="connsiteX14" fmla="*/ 227808 w 231190"/>
              <a:gd name="connsiteY14" fmla="*/ 86274 h 124053"/>
              <a:gd name="connsiteX15" fmla="*/ 227244 w 231190"/>
              <a:gd name="connsiteY15" fmla="*/ 88529 h 124053"/>
              <a:gd name="connsiteX16" fmla="*/ 228935 w 231190"/>
              <a:gd name="connsiteY16" fmla="*/ 89093 h 124053"/>
              <a:gd name="connsiteX17" fmla="*/ 229500 w 231190"/>
              <a:gd name="connsiteY17" fmla="*/ 90785 h 124053"/>
              <a:gd name="connsiteX18" fmla="*/ 230627 w 231190"/>
              <a:gd name="connsiteY18" fmla="*/ 90785 h 124053"/>
              <a:gd name="connsiteX19" fmla="*/ 234574 w 231190"/>
              <a:gd name="connsiteY19" fmla="*/ 89657 h 124053"/>
              <a:gd name="connsiteX20" fmla="*/ 236266 w 231190"/>
              <a:gd name="connsiteY20" fmla="*/ 83454 h 124053"/>
              <a:gd name="connsiteX21" fmla="*/ 234010 w 231190"/>
              <a:gd name="connsiteY21" fmla="*/ 83454 h 124053"/>
              <a:gd name="connsiteX22" fmla="*/ 232883 w 231190"/>
              <a:gd name="connsiteY22" fmla="*/ 82890 h 124053"/>
              <a:gd name="connsiteX23" fmla="*/ 215966 w 231190"/>
              <a:gd name="connsiteY23" fmla="*/ 73304 h 124053"/>
              <a:gd name="connsiteX24" fmla="*/ 217658 w 231190"/>
              <a:gd name="connsiteY24" fmla="*/ 70485 h 124053"/>
              <a:gd name="connsiteX25" fmla="*/ 218222 w 231190"/>
              <a:gd name="connsiteY25" fmla="*/ 69357 h 124053"/>
              <a:gd name="connsiteX26" fmla="*/ 217094 w 231190"/>
              <a:gd name="connsiteY26" fmla="*/ 65410 h 124053"/>
              <a:gd name="connsiteX27" fmla="*/ 215403 w 231190"/>
              <a:gd name="connsiteY27" fmla="*/ 63718 h 124053"/>
              <a:gd name="connsiteX28" fmla="*/ 217094 w 231190"/>
              <a:gd name="connsiteY28" fmla="*/ 58080 h 124053"/>
              <a:gd name="connsiteX29" fmla="*/ 216530 w 231190"/>
              <a:gd name="connsiteY29" fmla="*/ 56952 h 124053"/>
              <a:gd name="connsiteX30" fmla="*/ 214274 w 231190"/>
              <a:gd name="connsiteY30" fmla="*/ 55824 h 124053"/>
              <a:gd name="connsiteX31" fmla="*/ 209199 w 231190"/>
              <a:gd name="connsiteY31" fmla="*/ 57516 h 124053"/>
              <a:gd name="connsiteX32" fmla="*/ 208636 w 231190"/>
              <a:gd name="connsiteY32" fmla="*/ 58644 h 124053"/>
              <a:gd name="connsiteX33" fmla="*/ 211455 w 231190"/>
              <a:gd name="connsiteY33" fmla="*/ 59207 h 124053"/>
              <a:gd name="connsiteX34" fmla="*/ 212583 w 231190"/>
              <a:gd name="connsiteY34" fmla="*/ 60335 h 124053"/>
              <a:gd name="connsiteX35" fmla="*/ 209764 w 231190"/>
              <a:gd name="connsiteY35" fmla="*/ 64282 h 124053"/>
              <a:gd name="connsiteX36" fmla="*/ 206944 w 231190"/>
              <a:gd name="connsiteY36" fmla="*/ 64846 h 124053"/>
              <a:gd name="connsiteX37" fmla="*/ 207508 w 231190"/>
              <a:gd name="connsiteY37" fmla="*/ 67666 h 124053"/>
              <a:gd name="connsiteX38" fmla="*/ 208636 w 231190"/>
              <a:gd name="connsiteY38" fmla="*/ 69921 h 124053"/>
              <a:gd name="connsiteX39" fmla="*/ 212583 w 231190"/>
              <a:gd name="connsiteY39" fmla="*/ 71049 h 124053"/>
              <a:gd name="connsiteX40" fmla="*/ 214274 w 231190"/>
              <a:gd name="connsiteY40" fmla="*/ 73304 h 124053"/>
              <a:gd name="connsiteX41" fmla="*/ 215966 w 231190"/>
              <a:gd name="connsiteY41" fmla="*/ 73304 h 124053"/>
              <a:gd name="connsiteX42" fmla="*/ 193975 w 231190"/>
              <a:gd name="connsiteY42" fmla="*/ 56952 h 124053"/>
              <a:gd name="connsiteX43" fmla="*/ 195667 w 231190"/>
              <a:gd name="connsiteY43" fmla="*/ 55260 h 124053"/>
              <a:gd name="connsiteX44" fmla="*/ 197358 w 231190"/>
              <a:gd name="connsiteY44" fmla="*/ 53005 h 124053"/>
              <a:gd name="connsiteX45" fmla="*/ 196794 w 231190"/>
              <a:gd name="connsiteY45" fmla="*/ 52441 h 124053"/>
              <a:gd name="connsiteX46" fmla="*/ 196794 w 231190"/>
              <a:gd name="connsiteY46" fmla="*/ 50749 h 124053"/>
              <a:gd name="connsiteX47" fmla="*/ 197922 w 231190"/>
              <a:gd name="connsiteY47" fmla="*/ 48494 h 124053"/>
              <a:gd name="connsiteX48" fmla="*/ 199614 w 231190"/>
              <a:gd name="connsiteY48" fmla="*/ 47930 h 124053"/>
              <a:gd name="connsiteX49" fmla="*/ 198486 w 231190"/>
              <a:gd name="connsiteY49" fmla="*/ 46802 h 124053"/>
              <a:gd name="connsiteX50" fmla="*/ 197358 w 231190"/>
              <a:gd name="connsiteY50" fmla="*/ 46238 h 124053"/>
              <a:gd name="connsiteX51" fmla="*/ 197358 w 231190"/>
              <a:gd name="connsiteY51" fmla="*/ 47930 h 124053"/>
              <a:gd name="connsiteX52" fmla="*/ 195667 w 231190"/>
              <a:gd name="connsiteY52" fmla="*/ 51877 h 124053"/>
              <a:gd name="connsiteX53" fmla="*/ 195102 w 231190"/>
              <a:gd name="connsiteY53" fmla="*/ 53569 h 124053"/>
              <a:gd name="connsiteX54" fmla="*/ 192283 w 231190"/>
              <a:gd name="connsiteY54" fmla="*/ 56952 h 124053"/>
              <a:gd name="connsiteX55" fmla="*/ 193975 w 231190"/>
              <a:gd name="connsiteY55" fmla="*/ 56952 h 124053"/>
              <a:gd name="connsiteX56" fmla="*/ 124617 w 231190"/>
              <a:gd name="connsiteY56" fmla="*/ 40599 h 124053"/>
              <a:gd name="connsiteX57" fmla="*/ 121234 w 231190"/>
              <a:gd name="connsiteY57" fmla="*/ 36652 h 124053"/>
              <a:gd name="connsiteX58" fmla="*/ 120670 w 231190"/>
              <a:gd name="connsiteY58" fmla="*/ 37780 h 124053"/>
              <a:gd name="connsiteX59" fmla="*/ 120107 w 231190"/>
              <a:gd name="connsiteY59" fmla="*/ 40036 h 124053"/>
              <a:gd name="connsiteX60" fmla="*/ 120107 w 231190"/>
              <a:gd name="connsiteY60" fmla="*/ 41727 h 124053"/>
              <a:gd name="connsiteX61" fmla="*/ 121798 w 231190"/>
              <a:gd name="connsiteY61" fmla="*/ 42855 h 124053"/>
              <a:gd name="connsiteX62" fmla="*/ 122362 w 231190"/>
              <a:gd name="connsiteY62" fmla="*/ 43983 h 124053"/>
              <a:gd name="connsiteX63" fmla="*/ 121798 w 231190"/>
              <a:gd name="connsiteY63" fmla="*/ 46802 h 124053"/>
              <a:gd name="connsiteX64" fmla="*/ 121798 w 231190"/>
              <a:gd name="connsiteY64" fmla="*/ 49058 h 124053"/>
              <a:gd name="connsiteX65" fmla="*/ 125182 w 231190"/>
              <a:gd name="connsiteY65" fmla="*/ 54133 h 124053"/>
              <a:gd name="connsiteX66" fmla="*/ 125746 w 231190"/>
              <a:gd name="connsiteY66" fmla="*/ 58080 h 124053"/>
              <a:gd name="connsiteX67" fmla="*/ 127437 w 231190"/>
              <a:gd name="connsiteY67" fmla="*/ 61463 h 124053"/>
              <a:gd name="connsiteX68" fmla="*/ 130256 w 231190"/>
              <a:gd name="connsiteY68" fmla="*/ 64282 h 124053"/>
              <a:gd name="connsiteX69" fmla="*/ 132512 w 231190"/>
              <a:gd name="connsiteY69" fmla="*/ 67102 h 124053"/>
              <a:gd name="connsiteX70" fmla="*/ 137023 w 231190"/>
              <a:gd name="connsiteY70" fmla="*/ 74996 h 124053"/>
              <a:gd name="connsiteX71" fmla="*/ 138151 w 231190"/>
              <a:gd name="connsiteY71" fmla="*/ 77815 h 124053"/>
              <a:gd name="connsiteX72" fmla="*/ 140406 w 231190"/>
              <a:gd name="connsiteY72" fmla="*/ 79507 h 124053"/>
              <a:gd name="connsiteX73" fmla="*/ 146045 w 231190"/>
              <a:gd name="connsiteY73" fmla="*/ 86274 h 124053"/>
              <a:gd name="connsiteX74" fmla="*/ 148301 w 231190"/>
              <a:gd name="connsiteY74" fmla="*/ 88529 h 124053"/>
              <a:gd name="connsiteX75" fmla="*/ 150556 w 231190"/>
              <a:gd name="connsiteY75" fmla="*/ 89657 h 124053"/>
              <a:gd name="connsiteX76" fmla="*/ 155631 w 231190"/>
              <a:gd name="connsiteY76" fmla="*/ 93604 h 124053"/>
              <a:gd name="connsiteX77" fmla="*/ 159015 w 231190"/>
              <a:gd name="connsiteY77" fmla="*/ 95296 h 124053"/>
              <a:gd name="connsiteX78" fmla="*/ 160706 w 231190"/>
              <a:gd name="connsiteY78" fmla="*/ 98115 h 124053"/>
              <a:gd name="connsiteX79" fmla="*/ 164089 w 231190"/>
              <a:gd name="connsiteY79" fmla="*/ 99807 h 124053"/>
              <a:gd name="connsiteX80" fmla="*/ 168600 w 231190"/>
              <a:gd name="connsiteY80" fmla="*/ 102062 h 124053"/>
              <a:gd name="connsiteX81" fmla="*/ 169164 w 231190"/>
              <a:gd name="connsiteY81" fmla="*/ 103190 h 124053"/>
              <a:gd name="connsiteX82" fmla="*/ 169164 w 231190"/>
              <a:gd name="connsiteY82" fmla="*/ 104882 h 124053"/>
              <a:gd name="connsiteX83" fmla="*/ 169728 w 231190"/>
              <a:gd name="connsiteY83" fmla="*/ 106573 h 124053"/>
              <a:gd name="connsiteX84" fmla="*/ 172547 w 231190"/>
              <a:gd name="connsiteY84" fmla="*/ 108829 h 124053"/>
              <a:gd name="connsiteX85" fmla="*/ 175931 w 231190"/>
              <a:gd name="connsiteY85" fmla="*/ 110521 h 124053"/>
              <a:gd name="connsiteX86" fmla="*/ 176495 w 231190"/>
              <a:gd name="connsiteY86" fmla="*/ 111648 h 124053"/>
              <a:gd name="connsiteX87" fmla="*/ 177058 w 231190"/>
              <a:gd name="connsiteY87" fmla="*/ 112776 h 124053"/>
              <a:gd name="connsiteX88" fmla="*/ 178750 w 231190"/>
              <a:gd name="connsiteY88" fmla="*/ 112212 h 124053"/>
              <a:gd name="connsiteX89" fmla="*/ 180442 w 231190"/>
              <a:gd name="connsiteY89" fmla="*/ 112776 h 124053"/>
              <a:gd name="connsiteX90" fmla="*/ 185517 w 231190"/>
              <a:gd name="connsiteY90" fmla="*/ 116723 h 124053"/>
              <a:gd name="connsiteX91" fmla="*/ 187772 w 231190"/>
              <a:gd name="connsiteY91" fmla="*/ 116159 h 124053"/>
              <a:gd name="connsiteX92" fmla="*/ 189464 w 231190"/>
              <a:gd name="connsiteY92" fmla="*/ 116159 h 124053"/>
              <a:gd name="connsiteX93" fmla="*/ 192283 w 231190"/>
              <a:gd name="connsiteY93" fmla="*/ 115032 h 124053"/>
              <a:gd name="connsiteX94" fmla="*/ 193975 w 231190"/>
              <a:gd name="connsiteY94" fmla="*/ 112776 h 124053"/>
              <a:gd name="connsiteX95" fmla="*/ 193411 w 231190"/>
              <a:gd name="connsiteY95" fmla="*/ 106573 h 124053"/>
              <a:gd name="connsiteX96" fmla="*/ 190592 w 231190"/>
              <a:gd name="connsiteY96" fmla="*/ 103754 h 124053"/>
              <a:gd name="connsiteX97" fmla="*/ 186644 w 231190"/>
              <a:gd name="connsiteY97" fmla="*/ 101498 h 124053"/>
              <a:gd name="connsiteX98" fmla="*/ 184389 w 231190"/>
              <a:gd name="connsiteY98" fmla="*/ 98679 h 124053"/>
              <a:gd name="connsiteX99" fmla="*/ 182134 w 231190"/>
              <a:gd name="connsiteY99" fmla="*/ 95860 h 124053"/>
              <a:gd name="connsiteX100" fmla="*/ 177622 w 231190"/>
              <a:gd name="connsiteY100" fmla="*/ 90221 h 124053"/>
              <a:gd name="connsiteX101" fmla="*/ 171420 w 231190"/>
              <a:gd name="connsiteY101" fmla="*/ 84582 h 124053"/>
              <a:gd name="connsiteX102" fmla="*/ 168600 w 231190"/>
              <a:gd name="connsiteY102" fmla="*/ 83454 h 124053"/>
              <a:gd name="connsiteX103" fmla="*/ 166908 w 231190"/>
              <a:gd name="connsiteY103" fmla="*/ 81199 h 124053"/>
              <a:gd name="connsiteX104" fmla="*/ 165217 w 231190"/>
              <a:gd name="connsiteY104" fmla="*/ 80635 h 124053"/>
              <a:gd name="connsiteX105" fmla="*/ 164089 w 231190"/>
              <a:gd name="connsiteY105" fmla="*/ 78943 h 124053"/>
              <a:gd name="connsiteX106" fmla="*/ 161270 w 231190"/>
              <a:gd name="connsiteY106" fmla="*/ 77252 h 124053"/>
              <a:gd name="connsiteX107" fmla="*/ 159578 w 231190"/>
              <a:gd name="connsiteY107" fmla="*/ 73868 h 124053"/>
              <a:gd name="connsiteX108" fmla="*/ 156195 w 231190"/>
              <a:gd name="connsiteY108" fmla="*/ 70485 h 124053"/>
              <a:gd name="connsiteX109" fmla="*/ 155631 w 231190"/>
              <a:gd name="connsiteY109" fmla="*/ 68793 h 124053"/>
              <a:gd name="connsiteX110" fmla="*/ 156195 w 231190"/>
              <a:gd name="connsiteY110" fmla="*/ 67102 h 124053"/>
              <a:gd name="connsiteX111" fmla="*/ 155631 w 231190"/>
              <a:gd name="connsiteY111" fmla="*/ 65410 h 124053"/>
              <a:gd name="connsiteX112" fmla="*/ 153376 w 231190"/>
              <a:gd name="connsiteY112" fmla="*/ 63718 h 124053"/>
              <a:gd name="connsiteX113" fmla="*/ 152248 w 231190"/>
              <a:gd name="connsiteY113" fmla="*/ 60899 h 124053"/>
              <a:gd name="connsiteX114" fmla="*/ 151120 w 231190"/>
              <a:gd name="connsiteY114" fmla="*/ 59207 h 124053"/>
              <a:gd name="connsiteX115" fmla="*/ 148864 w 231190"/>
              <a:gd name="connsiteY115" fmla="*/ 58080 h 124053"/>
              <a:gd name="connsiteX116" fmla="*/ 144918 w 231190"/>
              <a:gd name="connsiteY116" fmla="*/ 55824 h 124053"/>
              <a:gd name="connsiteX117" fmla="*/ 135895 w 231190"/>
              <a:gd name="connsiteY117" fmla="*/ 45110 h 124053"/>
              <a:gd name="connsiteX118" fmla="*/ 131948 w 231190"/>
              <a:gd name="connsiteY118" fmla="*/ 41727 h 124053"/>
              <a:gd name="connsiteX119" fmla="*/ 128001 w 231190"/>
              <a:gd name="connsiteY119" fmla="*/ 42855 h 124053"/>
              <a:gd name="connsiteX120" fmla="*/ 124617 w 231190"/>
              <a:gd name="connsiteY120" fmla="*/ 40599 h 124053"/>
              <a:gd name="connsiteX121" fmla="*/ 564 w 231190"/>
              <a:gd name="connsiteY121" fmla="*/ 6767 h 124053"/>
              <a:gd name="connsiteX122" fmla="*/ 1692 w 231190"/>
              <a:gd name="connsiteY122" fmla="*/ 4511 h 124053"/>
              <a:gd name="connsiteX123" fmla="*/ 2256 w 231190"/>
              <a:gd name="connsiteY123" fmla="*/ 0 h 124053"/>
              <a:gd name="connsiteX124" fmla="*/ 1128 w 231190"/>
              <a:gd name="connsiteY124" fmla="*/ 2256 h 124053"/>
              <a:gd name="connsiteX125" fmla="*/ 0 w 231190"/>
              <a:gd name="connsiteY125" fmla="*/ 7894 h 124053"/>
              <a:gd name="connsiteX126" fmla="*/ 564 w 231190"/>
              <a:gd name="connsiteY126" fmla="*/ 6767 h 124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</a:cxnLst>
            <a:rect l="l" t="t" r="r" b="b"/>
            <a:pathLst>
              <a:path w="231190" h="124053">
                <a:moveTo>
                  <a:pt x="206944" y="125745"/>
                </a:moveTo>
                <a:lnTo>
                  <a:pt x="206944" y="124054"/>
                </a:lnTo>
                <a:lnTo>
                  <a:pt x="204689" y="122926"/>
                </a:lnTo>
                <a:lnTo>
                  <a:pt x="203561" y="125745"/>
                </a:lnTo>
                <a:lnTo>
                  <a:pt x="203561" y="126309"/>
                </a:lnTo>
                <a:lnTo>
                  <a:pt x="204689" y="126873"/>
                </a:lnTo>
                <a:lnTo>
                  <a:pt x="205816" y="126873"/>
                </a:lnTo>
                <a:lnTo>
                  <a:pt x="206944" y="125745"/>
                </a:lnTo>
                <a:close/>
                <a:moveTo>
                  <a:pt x="232883" y="82890"/>
                </a:moveTo>
                <a:lnTo>
                  <a:pt x="232319" y="82327"/>
                </a:lnTo>
                <a:lnTo>
                  <a:pt x="232319" y="80635"/>
                </a:lnTo>
                <a:lnTo>
                  <a:pt x="232883" y="79507"/>
                </a:lnTo>
                <a:lnTo>
                  <a:pt x="230627" y="80635"/>
                </a:lnTo>
                <a:lnTo>
                  <a:pt x="227244" y="81763"/>
                </a:lnTo>
                <a:lnTo>
                  <a:pt x="227808" y="86274"/>
                </a:lnTo>
                <a:lnTo>
                  <a:pt x="227244" y="88529"/>
                </a:lnTo>
                <a:lnTo>
                  <a:pt x="228935" y="89093"/>
                </a:lnTo>
                <a:lnTo>
                  <a:pt x="229500" y="90785"/>
                </a:lnTo>
                <a:lnTo>
                  <a:pt x="230627" y="90785"/>
                </a:lnTo>
                <a:lnTo>
                  <a:pt x="234574" y="89657"/>
                </a:lnTo>
                <a:lnTo>
                  <a:pt x="236266" y="83454"/>
                </a:lnTo>
                <a:lnTo>
                  <a:pt x="234010" y="83454"/>
                </a:lnTo>
                <a:lnTo>
                  <a:pt x="232883" y="82890"/>
                </a:lnTo>
                <a:close/>
                <a:moveTo>
                  <a:pt x="215966" y="73304"/>
                </a:moveTo>
                <a:lnTo>
                  <a:pt x="217658" y="70485"/>
                </a:lnTo>
                <a:lnTo>
                  <a:pt x="218222" y="69357"/>
                </a:lnTo>
                <a:lnTo>
                  <a:pt x="217094" y="65410"/>
                </a:lnTo>
                <a:lnTo>
                  <a:pt x="215403" y="63718"/>
                </a:lnTo>
                <a:lnTo>
                  <a:pt x="217094" y="58080"/>
                </a:lnTo>
                <a:lnTo>
                  <a:pt x="216530" y="56952"/>
                </a:lnTo>
                <a:lnTo>
                  <a:pt x="214274" y="55824"/>
                </a:lnTo>
                <a:lnTo>
                  <a:pt x="209199" y="57516"/>
                </a:lnTo>
                <a:lnTo>
                  <a:pt x="208636" y="58644"/>
                </a:lnTo>
                <a:lnTo>
                  <a:pt x="211455" y="59207"/>
                </a:lnTo>
                <a:lnTo>
                  <a:pt x="212583" y="60335"/>
                </a:lnTo>
                <a:lnTo>
                  <a:pt x="209764" y="64282"/>
                </a:lnTo>
                <a:lnTo>
                  <a:pt x="206944" y="64846"/>
                </a:lnTo>
                <a:lnTo>
                  <a:pt x="207508" y="67666"/>
                </a:lnTo>
                <a:lnTo>
                  <a:pt x="208636" y="69921"/>
                </a:lnTo>
                <a:lnTo>
                  <a:pt x="212583" y="71049"/>
                </a:lnTo>
                <a:lnTo>
                  <a:pt x="214274" y="73304"/>
                </a:lnTo>
                <a:lnTo>
                  <a:pt x="215966" y="73304"/>
                </a:lnTo>
                <a:close/>
                <a:moveTo>
                  <a:pt x="193975" y="56952"/>
                </a:moveTo>
                <a:lnTo>
                  <a:pt x="195667" y="55260"/>
                </a:lnTo>
                <a:lnTo>
                  <a:pt x="197358" y="53005"/>
                </a:lnTo>
                <a:lnTo>
                  <a:pt x="196794" y="52441"/>
                </a:lnTo>
                <a:lnTo>
                  <a:pt x="196794" y="50749"/>
                </a:lnTo>
                <a:lnTo>
                  <a:pt x="197922" y="48494"/>
                </a:lnTo>
                <a:lnTo>
                  <a:pt x="199614" y="47930"/>
                </a:lnTo>
                <a:lnTo>
                  <a:pt x="198486" y="46802"/>
                </a:lnTo>
                <a:lnTo>
                  <a:pt x="197358" y="46238"/>
                </a:lnTo>
                <a:lnTo>
                  <a:pt x="197358" y="47930"/>
                </a:lnTo>
                <a:lnTo>
                  <a:pt x="195667" y="51877"/>
                </a:lnTo>
                <a:lnTo>
                  <a:pt x="195102" y="53569"/>
                </a:lnTo>
                <a:lnTo>
                  <a:pt x="192283" y="56952"/>
                </a:lnTo>
                <a:lnTo>
                  <a:pt x="193975" y="56952"/>
                </a:lnTo>
                <a:close/>
                <a:moveTo>
                  <a:pt x="124617" y="40599"/>
                </a:moveTo>
                <a:lnTo>
                  <a:pt x="121234" y="36652"/>
                </a:lnTo>
                <a:lnTo>
                  <a:pt x="120670" y="37780"/>
                </a:lnTo>
                <a:lnTo>
                  <a:pt x="120107" y="40036"/>
                </a:lnTo>
                <a:lnTo>
                  <a:pt x="120107" y="41727"/>
                </a:lnTo>
                <a:lnTo>
                  <a:pt x="121798" y="42855"/>
                </a:lnTo>
                <a:lnTo>
                  <a:pt x="122362" y="43983"/>
                </a:lnTo>
                <a:lnTo>
                  <a:pt x="121798" y="46802"/>
                </a:lnTo>
                <a:lnTo>
                  <a:pt x="121798" y="49058"/>
                </a:lnTo>
                <a:lnTo>
                  <a:pt x="125182" y="54133"/>
                </a:lnTo>
                <a:lnTo>
                  <a:pt x="125746" y="58080"/>
                </a:lnTo>
                <a:lnTo>
                  <a:pt x="127437" y="61463"/>
                </a:lnTo>
                <a:lnTo>
                  <a:pt x="130256" y="64282"/>
                </a:lnTo>
                <a:lnTo>
                  <a:pt x="132512" y="67102"/>
                </a:lnTo>
                <a:lnTo>
                  <a:pt x="137023" y="74996"/>
                </a:lnTo>
                <a:lnTo>
                  <a:pt x="138151" y="77815"/>
                </a:lnTo>
                <a:lnTo>
                  <a:pt x="140406" y="79507"/>
                </a:lnTo>
                <a:lnTo>
                  <a:pt x="146045" y="86274"/>
                </a:lnTo>
                <a:lnTo>
                  <a:pt x="148301" y="88529"/>
                </a:lnTo>
                <a:lnTo>
                  <a:pt x="150556" y="89657"/>
                </a:lnTo>
                <a:lnTo>
                  <a:pt x="155631" y="93604"/>
                </a:lnTo>
                <a:lnTo>
                  <a:pt x="159015" y="95296"/>
                </a:lnTo>
                <a:lnTo>
                  <a:pt x="160706" y="98115"/>
                </a:lnTo>
                <a:lnTo>
                  <a:pt x="164089" y="99807"/>
                </a:lnTo>
                <a:lnTo>
                  <a:pt x="168600" y="102062"/>
                </a:lnTo>
                <a:lnTo>
                  <a:pt x="169164" y="103190"/>
                </a:lnTo>
                <a:lnTo>
                  <a:pt x="169164" y="104882"/>
                </a:lnTo>
                <a:lnTo>
                  <a:pt x="169728" y="106573"/>
                </a:lnTo>
                <a:lnTo>
                  <a:pt x="172547" y="108829"/>
                </a:lnTo>
                <a:lnTo>
                  <a:pt x="175931" y="110521"/>
                </a:lnTo>
                <a:lnTo>
                  <a:pt x="176495" y="111648"/>
                </a:lnTo>
                <a:lnTo>
                  <a:pt x="177058" y="112776"/>
                </a:lnTo>
                <a:lnTo>
                  <a:pt x="178750" y="112212"/>
                </a:lnTo>
                <a:lnTo>
                  <a:pt x="180442" y="112776"/>
                </a:lnTo>
                <a:lnTo>
                  <a:pt x="185517" y="116723"/>
                </a:lnTo>
                <a:lnTo>
                  <a:pt x="187772" y="116159"/>
                </a:lnTo>
                <a:lnTo>
                  <a:pt x="189464" y="116159"/>
                </a:lnTo>
                <a:lnTo>
                  <a:pt x="192283" y="115032"/>
                </a:lnTo>
                <a:lnTo>
                  <a:pt x="193975" y="112776"/>
                </a:lnTo>
                <a:lnTo>
                  <a:pt x="193411" y="106573"/>
                </a:lnTo>
                <a:lnTo>
                  <a:pt x="190592" y="103754"/>
                </a:lnTo>
                <a:lnTo>
                  <a:pt x="186644" y="101498"/>
                </a:lnTo>
                <a:lnTo>
                  <a:pt x="184389" y="98679"/>
                </a:lnTo>
                <a:lnTo>
                  <a:pt x="182134" y="95860"/>
                </a:lnTo>
                <a:lnTo>
                  <a:pt x="177622" y="90221"/>
                </a:lnTo>
                <a:lnTo>
                  <a:pt x="171420" y="84582"/>
                </a:lnTo>
                <a:lnTo>
                  <a:pt x="168600" y="83454"/>
                </a:lnTo>
                <a:lnTo>
                  <a:pt x="166908" y="81199"/>
                </a:lnTo>
                <a:lnTo>
                  <a:pt x="165217" y="80635"/>
                </a:lnTo>
                <a:lnTo>
                  <a:pt x="164089" y="78943"/>
                </a:lnTo>
                <a:lnTo>
                  <a:pt x="161270" y="77252"/>
                </a:lnTo>
                <a:lnTo>
                  <a:pt x="159578" y="73868"/>
                </a:lnTo>
                <a:lnTo>
                  <a:pt x="156195" y="70485"/>
                </a:lnTo>
                <a:lnTo>
                  <a:pt x="155631" y="68793"/>
                </a:lnTo>
                <a:lnTo>
                  <a:pt x="156195" y="67102"/>
                </a:lnTo>
                <a:lnTo>
                  <a:pt x="155631" y="65410"/>
                </a:lnTo>
                <a:lnTo>
                  <a:pt x="153376" y="63718"/>
                </a:lnTo>
                <a:lnTo>
                  <a:pt x="152248" y="60899"/>
                </a:lnTo>
                <a:lnTo>
                  <a:pt x="151120" y="59207"/>
                </a:lnTo>
                <a:lnTo>
                  <a:pt x="148864" y="58080"/>
                </a:lnTo>
                <a:lnTo>
                  <a:pt x="144918" y="55824"/>
                </a:lnTo>
                <a:lnTo>
                  <a:pt x="135895" y="45110"/>
                </a:lnTo>
                <a:lnTo>
                  <a:pt x="131948" y="41727"/>
                </a:lnTo>
                <a:lnTo>
                  <a:pt x="128001" y="42855"/>
                </a:lnTo>
                <a:lnTo>
                  <a:pt x="124617" y="40599"/>
                </a:lnTo>
                <a:close/>
                <a:moveTo>
                  <a:pt x="564" y="6767"/>
                </a:moveTo>
                <a:lnTo>
                  <a:pt x="1692" y="4511"/>
                </a:lnTo>
                <a:lnTo>
                  <a:pt x="2256" y="0"/>
                </a:lnTo>
                <a:lnTo>
                  <a:pt x="1128" y="2256"/>
                </a:lnTo>
                <a:lnTo>
                  <a:pt x="0" y="7894"/>
                </a:lnTo>
                <a:lnTo>
                  <a:pt x="564" y="6767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0" name="Freeform: Shape 433">
            <a:extLst>
              <a:ext uri="{FF2B5EF4-FFF2-40B4-BE49-F238E27FC236}">
                <a16:creationId xmlns:a16="http://schemas.microsoft.com/office/drawing/2014/main" id="{5D25F1EF-E072-4D1A-BC2C-CEBF60A98A67}"/>
              </a:ext>
            </a:extLst>
          </p:cNvPr>
          <p:cNvSpPr/>
          <p:nvPr/>
        </p:nvSpPr>
        <p:spPr>
          <a:xfrm>
            <a:off x="9795283" y="4135944"/>
            <a:ext cx="4214" cy="4214"/>
          </a:xfrm>
          <a:custGeom>
            <a:avLst/>
            <a:gdLst>
              <a:gd name="connsiteX0" fmla="*/ 1692 w 0"/>
              <a:gd name="connsiteY0" fmla="*/ 1128 h 0"/>
              <a:gd name="connsiteX1" fmla="*/ 1692 w 0"/>
              <a:gd name="connsiteY1" fmla="*/ 0 h 0"/>
              <a:gd name="connsiteX2" fmla="*/ 1128 w 0"/>
              <a:gd name="connsiteY2" fmla="*/ 0 h 0"/>
              <a:gd name="connsiteX3" fmla="*/ 564 w 0"/>
              <a:gd name="connsiteY3" fmla="*/ 0 h 0"/>
              <a:gd name="connsiteX4" fmla="*/ 0 w 0"/>
              <a:gd name="connsiteY4" fmla="*/ 1128 h 0"/>
              <a:gd name="connsiteX5" fmla="*/ 564 w 0"/>
              <a:gd name="connsiteY5" fmla="*/ 1692 h 0"/>
              <a:gd name="connsiteX6" fmla="*/ 1128 w 0"/>
              <a:gd name="connsiteY6" fmla="*/ 2256 h 0"/>
              <a:gd name="connsiteX7" fmla="*/ 1692 w 0"/>
              <a:gd name="connsiteY7" fmla="*/ 1128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>
                <a:moveTo>
                  <a:pt x="1692" y="1128"/>
                </a:moveTo>
                <a:lnTo>
                  <a:pt x="1692" y="0"/>
                </a:lnTo>
                <a:lnTo>
                  <a:pt x="1128" y="0"/>
                </a:lnTo>
                <a:lnTo>
                  <a:pt x="564" y="0"/>
                </a:lnTo>
                <a:lnTo>
                  <a:pt x="0" y="1128"/>
                </a:lnTo>
                <a:lnTo>
                  <a:pt x="564" y="1692"/>
                </a:lnTo>
                <a:lnTo>
                  <a:pt x="1128" y="2256"/>
                </a:lnTo>
                <a:lnTo>
                  <a:pt x="1692" y="1128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1" name="Freeform: Shape 434">
            <a:extLst>
              <a:ext uri="{FF2B5EF4-FFF2-40B4-BE49-F238E27FC236}">
                <a16:creationId xmlns:a16="http://schemas.microsoft.com/office/drawing/2014/main" id="{F87C7B6F-63B4-48AA-B81C-8D47EA603638}"/>
              </a:ext>
            </a:extLst>
          </p:cNvPr>
          <p:cNvSpPr/>
          <p:nvPr/>
        </p:nvSpPr>
        <p:spPr>
          <a:xfrm>
            <a:off x="4257522" y="3626077"/>
            <a:ext cx="58993" cy="12641"/>
          </a:xfrm>
          <a:custGeom>
            <a:avLst/>
            <a:gdLst>
              <a:gd name="connsiteX0" fmla="*/ 1692 w 78943"/>
              <a:gd name="connsiteY0" fmla="*/ 16916 h 16916"/>
              <a:gd name="connsiteX1" fmla="*/ 1692 w 78943"/>
              <a:gd name="connsiteY1" fmla="*/ 16353 h 16916"/>
              <a:gd name="connsiteX2" fmla="*/ 1692 w 78943"/>
              <a:gd name="connsiteY2" fmla="*/ 16353 h 16916"/>
              <a:gd name="connsiteX3" fmla="*/ 2256 w 78943"/>
              <a:gd name="connsiteY3" fmla="*/ 16353 h 16916"/>
              <a:gd name="connsiteX4" fmla="*/ 2256 w 78943"/>
              <a:gd name="connsiteY4" fmla="*/ 15789 h 16916"/>
              <a:gd name="connsiteX5" fmla="*/ 2819 w 78943"/>
              <a:gd name="connsiteY5" fmla="*/ 15225 h 16916"/>
              <a:gd name="connsiteX6" fmla="*/ 2819 w 78943"/>
              <a:gd name="connsiteY6" fmla="*/ 15225 h 16916"/>
              <a:gd name="connsiteX7" fmla="*/ 2819 w 78943"/>
              <a:gd name="connsiteY7" fmla="*/ 14661 h 16916"/>
              <a:gd name="connsiteX8" fmla="*/ 2256 w 78943"/>
              <a:gd name="connsiteY8" fmla="*/ 14661 h 16916"/>
              <a:gd name="connsiteX9" fmla="*/ 2256 w 78943"/>
              <a:gd name="connsiteY9" fmla="*/ 14661 h 16916"/>
              <a:gd name="connsiteX10" fmla="*/ 564 w 78943"/>
              <a:gd name="connsiteY10" fmla="*/ 14661 h 16916"/>
              <a:gd name="connsiteX11" fmla="*/ 0 w 78943"/>
              <a:gd name="connsiteY11" fmla="*/ 14661 h 16916"/>
              <a:gd name="connsiteX12" fmla="*/ 0 w 78943"/>
              <a:gd name="connsiteY12" fmla="*/ 15225 h 16916"/>
              <a:gd name="connsiteX13" fmla="*/ 0 w 78943"/>
              <a:gd name="connsiteY13" fmla="*/ 15789 h 16916"/>
              <a:gd name="connsiteX14" fmla="*/ 1128 w 78943"/>
              <a:gd name="connsiteY14" fmla="*/ 16353 h 16916"/>
              <a:gd name="connsiteX15" fmla="*/ 1128 w 78943"/>
              <a:gd name="connsiteY15" fmla="*/ 16353 h 16916"/>
              <a:gd name="connsiteX16" fmla="*/ 1128 w 78943"/>
              <a:gd name="connsiteY16" fmla="*/ 16916 h 16916"/>
              <a:gd name="connsiteX17" fmla="*/ 1692 w 78943"/>
              <a:gd name="connsiteY17" fmla="*/ 16916 h 16916"/>
              <a:gd name="connsiteX18" fmla="*/ 1692 w 78943"/>
              <a:gd name="connsiteY18" fmla="*/ 16916 h 16916"/>
              <a:gd name="connsiteX19" fmla="*/ 78379 w 78943"/>
              <a:gd name="connsiteY19" fmla="*/ 15225 h 16916"/>
              <a:gd name="connsiteX20" fmla="*/ 82326 w 78943"/>
              <a:gd name="connsiteY20" fmla="*/ 14097 h 16916"/>
              <a:gd name="connsiteX21" fmla="*/ 82326 w 78943"/>
              <a:gd name="connsiteY21" fmla="*/ 13533 h 16916"/>
              <a:gd name="connsiteX22" fmla="*/ 80071 w 78943"/>
              <a:gd name="connsiteY22" fmla="*/ 12969 h 16916"/>
              <a:gd name="connsiteX23" fmla="*/ 76688 w 78943"/>
              <a:gd name="connsiteY23" fmla="*/ 12969 h 16916"/>
              <a:gd name="connsiteX24" fmla="*/ 73868 w 78943"/>
              <a:gd name="connsiteY24" fmla="*/ 14097 h 16916"/>
              <a:gd name="connsiteX25" fmla="*/ 74432 w 78943"/>
              <a:gd name="connsiteY25" fmla="*/ 15225 h 16916"/>
              <a:gd name="connsiteX26" fmla="*/ 75560 w 78943"/>
              <a:gd name="connsiteY26" fmla="*/ 15225 h 16916"/>
              <a:gd name="connsiteX27" fmla="*/ 78379 w 78943"/>
              <a:gd name="connsiteY27" fmla="*/ 15225 h 16916"/>
              <a:gd name="connsiteX28" fmla="*/ 57516 w 78943"/>
              <a:gd name="connsiteY28" fmla="*/ 2819 h 16916"/>
              <a:gd name="connsiteX29" fmla="*/ 56952 w 78943"/>
              <a:gd name="connsiteY29" fmla="*/ 1692 h 16916"/>
              <a:gd name="connsiteX30" fmla="*/ 55824 w 78943"/>
              <a:gd name="connsiteY30" fmla="*/ 1692 h 16916"/>
              <a:gd name="connsiteX31" fmla="*/ 36088 w 78943"/>
              <a:gd name="connsiteY31" fmla="*/ 1128 h 16916"/>
              <a:gd name="connsiteX32" fmla="*/ 28758 w 78943"/>
              <a:gd name="connsiteY32" fmla="*/ 0 h 16916"/>
              <a:gd name="connsiteX33" fmla="*/ 27066 w 78943"/>
              <a:gd name="connsiteY33" fmla="*/ 564 h 16916"/>
              <a:gd name="connsiteX34" fmla="*/ 25375 w 78943"/>
              <a:gd name="connsiteY34" fmla="*/ 1128 h 16916"/>
              <a:gd name="connsiteX35" fmla="*/ 24811 w 78943"/>
              <a:gd name="connsiteY35" fmla="*/ 3383 h 16916"/>
              <a:gd name="connsiteX36" fmla="*/ 23683 w 78943"/>
              <a:gd name="connsiteY36" fmla="*/ 4511 h 16916"/>
              <a:gd name="connsiteX37" fmla="*/ 21991 w 78943"/>
              <a:gd name="connsiteY37" fmla="*/ 5639 h 16916"/>
              <a:gd name="connsiteX38" fmla="*/ 22555 w 78943"/>
              <a:gd name="connsiteY38" fmla="*/ 7331 h 16916"/>
              <a:gd name="connsiteX39" fmla="*/ 23119 w 78943"/>
              <a:gd name="connsiteY39" fmla="*/ 8458 h 16916"/>
              <a:gd name="connsiteX40" fmla="*/ 24247 w 78943"/>
              <a:gd name="connsiteY40" fmla="*/ 10714 h 16916"/>
              <a:gd name="connsiteX41" fmla="*/ 23683 w 78943"/>
              <a:gd name="connsiteY41" fmla="*/ 13533 h 16916"/>
              <a:gd name="connsiteX42" fmla="*/ 22555 w 78943"/>
              <a:gd name="connsiteY42" fmla="*/ 19172 h 16916"/>
              <a:gd name="connsiteX43" fmla="*/ 24247 w 78943"/>
              <a:gd name="connsiteY43" fmla="*/ 20300 h 16916"/>
              <a:gd name="connsiteX44" fmla="*/ 28194 w 78943"/>
              <a:gd name="connsiteY44" fmla="*/ 19736 h 16916"/>
              <a:gd name="connsiteX45" fmla="*/ 29886 w 78943"/>
              <a:gd name="connsiteY45" fmla="*/ 20300 h 16916"/>
              <a:gd name="connsiteX46" fmla="*/ 31577 w 78943"/>
              <a:gd name="connsiteY46" fmla="*/ 20864 h 16916"/>
              <a:gd name="connsiteX47" fmla="*/ 33833 w 78943"/>
              <a:gd name="connsiteY47" fmla="*/ 20300 h 16916"/>
              <a:gd name="connsiteX48" fmla="*/ 36088 w 78943"/>
              <a:gd name="connsiteY48" fmla="*/ 19172 h 16916"/>
              <a:gd name="connsiteX49" fmla="*/ 41163 w 78943"/>
              <a:gd name="connsiteY49" fmla="*/ 19736 h 16916"/>
              <a:gd name="connsiteX50" fmla="*/ 43983 w 78943"/>
              <a:gd name="connsiteY50" fmla="*/ 19172 h 16916"/>
              <a:gd name="connsiteX51" fmla="*/ 47366 w 78943"/>
              <a:gd name="connsiteY51" fmla="*/ 20864 h 16916"/>
              <a:gd name="connsiteX52" fmla="*/ 49621 w 78943"/>
              <a:gd name="connsiteY52" fmla="*/ 20300 h 16916"/>
              <a:gd name="connsiteX53" fmla="*/ 50749 w 78943"/>
              <a:gd name="connsiteY53" fmla="*/ 20864 h 16916"/>
              <a:gd name="connsiteX54" fmla="*/ 52441 w 78943"/>
              <a:gd name="connsiteY54" fmla="*/ 20864 h 16916"/>
              <a:gd name="connsiteX55" fmla="*/ 55824 w 78943"/>
              <a:gd name="connsiteY55" fmla="*/ 20864 h 16916"/>
              <a:gd name="connsiteX56" fmla="*/ 60899 w 78943"/>
              <a:gd name="connsiteY56" fmla="*/ 19736 h 16916"/>
              <a:gd name="connsiteX57" fmla="*/ 65410 w 78943"/>
              <a:gd name="connsiteY57" fmla="*/ 16916 h 16916"/>
              <a:gd name="connsiteX58" fmla="*/ 67102 w 78943"/>
              <a:gd name="connsiteY58" fmla="*/ 14097 h 16916"/>
              <a:gd name="connsiteX59" fmla="*/ 69357 w 78943"/>
              <a:gd name="connsiteY59" fmla="*/ 12405 h 16916"/>
              <a:gd name="connsiteX60" fmla="*/ 72741 w 78943"/>
              <a:gd name="connsiteY60" fmla="*/ 10150 h 16916"/>
              <a:gd name="connsiteX61" fmla="*/ 72741 w 78943"/>
              <a:gd name="connsiteY61" fmla="*/ 5075 h 16916"/>
              <a:gd name="connsiteX62" fmla="*/ 68793 w 78943"/>
              <a:gd name="connsiteY62" fmla="*/ 4511 h 16916"/>
              <a:gd name="connsiteX63" fmla="*/ 65410 w 78943"/>
              <a:gd name="connsiteY63" fmla="*/ 2819 h 16916"/>
              <a:gd name="connsiteX64" fmla="*/ 59207 w 78943"/>
              <a:gd name="connsiteY64" fmla="*/ 2256 h 16916"/>
              <a:gd name="connsiteX65" fmla="*/ 58644 w 78943"/>
              <a:gd name="connsiteY65" fmla="*/ 2256 h 16916"/>
              <a:gd name="connsiteX66" fmla="*/ 59207 w 78943"/>
              <a:gd name="connsiteY66" fmla="*/ 3383 h 16916"/>
              <a:gd name="connsiteX67" fmla="*/ 58644 w 78943"/>
              <a:gd name="connsiteY67" fmla="*/ 3383 h 16916"/>
              <a:gd name="connsiteX68" fmla="*/ 57516 w 78943"/>
              <a:gd name="connsiteY68" fmla="*/ 2819 h 169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</a:cxnLst>
            <a:rect l="l" t="t" r="r" b="b"/>
            <a:pathLst>
              <a:path w="78943" h="16916">
                <a:moveTo>
                  <a:pt x="1692" y="16916"/>
                </a:moveTo>
                <a:lnTo>
                  <a:pt x="1692" y="16353"/>
                </a:lnTo>
                <a:lnTo>
                  <a:pt x="1692" y="16353"/>
                </a:lnTo>
                <a:lnTo>
                  <a:pt x="2256" y="16353"/>
                </a:lnTo>
                <a:lnTo>
                  <a:pt x="2256" y="15789"/>
                </a:lnTo>
                <a:lnTo>
                  <a:pt x="2819" y="15225"/>
                </a:lnTo>
                <a:lnTo>
                  <a:pt x="2819" y="15225"/>
                </a:lnTo>
                <a:lnTo>
                  <a:pt x="2819" y="14661"/>
                </a:lnTo>
                <a:lnTo>
                  <a:pt x="2256" y="14661"/>
                </a:lnTo>
                <a:lnTo>
                  <a:pt x="2256" y="14661"/>
                </a:lnTo>
                <a:lnTo>
                  <a:pt x="564" y="14661"/>
                </a:lnTo>
                <a:lnTo>
                  <a:pt x="0" y="14661"/>
                </a:lnTo>
                <a:lnTo>
                  <a:pt x="0" y="15225"/>
                </a:lnTo>
                <a:lnTo>
                  <a:pt x="0" y="15789"/>
                </a:lnTo>
                <a:lnTo>
                  <a:pt x="1128" y="16353"/>
                </a:lnTo>
                <a:lnTo>
                  <a:pt x="1128" y="16353"/>
                </a:lnTo>
                <a:lnTo>
                  <a:pt x="1128" y="16916"/>
                </a:lnTo>
                <a:lnTo>
                  <a:pt x="1692" y="16916"/>
                </a:lnTo>
                <a:lnTo>
                  <a:pt x="1692" y="16916"/>
                </a:lnTo>
                <a:close/>
                <a:moveTo>
                  <a:pt x="78379" y="15225"/>
                </a:moveTo>
                <a:lnTo>
                  <a:pt x="82326" y="14097"/>
                </a:lnTo>
                <a:lnTo>
                  <a:pt x="82326" y="13533"/>
                </a:lnTo>
                <a:lnTo>
                  <a:pt x="80071" y="12969"/>
                </a:lnTo>
                <a:lnTo>
                  <a:pt x="76688" y="12969"/>
                </a:lnTo>
                <a:lnTo>
                  <a:pt x="73868" y="14097"/>
                </a:lnTo>
                <a:lnTo>
                  <a:pt x="74432" y="15225"/>
                </a:lnTo>
                <a:lnTo>
                  <a:pt x="75560" y="15225"/>
                </a:lnTo>
                <a:lnTo>
                  <a:pt x="78379" y="15225"/>
                </a:lnTo>
                <a:close/>
                <a:moveTo>
                  <a:pt x="57516" y="2819"/>
                </a:moveTo>
                <a:lnTo>
                  <a:pt x="56952" y="1692"/>
                </a:lnTo>
                <a:lnTo>
                  <a:pt x="55824" y="1692"/>
                </a:lnTo>
                <a:lnTo>
                  <a:pt x="36088" y="1128"/>
                </a:lnTo>
                <a:lnTo>
                  <a:pt x="28758" y="0"/>
                </a:lnTo>
                <a:lnTo>
                  <a:pt x="27066" y="564"/>
                </a:lnTo>
                <a:lnTo>
                  <a:pt x="25375" y="1128"/>
                </a:lnTo>
                <a:lnTo>
                  <a:pt x="24811" y="3383"/>
                </a:lnTo>
                <a:lnTo>
                  <a:pt x="23683" y="4511"/>
                </a:lnTo>
                <a:lnTo>
                  <a:pt x="21991" y="5639"/>
                </a:lnTo>
                <a:lnTo>
                  <a:pt x="22555" y="7331"/>
                </a:lnTo>
                <a:lnTo>
                  <a:pt x="23119" y="8458"/>
                </a:lnTo>
                <a:lnTo>
                  <a:pt x="24247" y="10714"/>
                </a:lnTo>
                <a:lnTo>
                  <a:pt x="23683" y="13533"/>
                </a:lnTo>
                <a:lnTo>
                  <a:pt x="22555" y="19172"/>
                </a:lnTo>
                <a:lnTo>
                  <a:pt x="24247" y="20300"/>
                </a:lnTo>
                <a:lnTo>
                  <a:pt x="28194" y="19736"/>
                </a:lnTo>
                <a:lnTo>
                  <a:pt x="29886" y="20300"/>
                </a:lnTo>
                <a:lnTo>
                  <a:pt x="31577" y="20864"/>
                </a:lnTo>
                <a:lnTo>
                  <a:pt x="33833" y="20300"/>
                </a:lnTo>
                <a:lnTo>
                  <a:pt x="36088" y="19172"/>
                </a:lnTo>
                <a:lnTo>
                  <a:pt x="41163" y="19736"/>
                </a:lnTo>
                <a:lnTo>
                  <a:pt x="43983" y="19172"/>
                </a:lnTo>
                <a:lnTo>
                  <a:pt x="47366" y="20864"/>
                </a:lnTo>
                <a:lnTo>
                  <a:pt x="49621" y="20300"/>
                </a:lnTo>
                <a:lnTo>
                  <a:pt x="50749" y="20864"/>
                </a:lnTo>
                <a:lnTo>
                  <a:pt x="52441" y="20864"/>
                </a:lnTo>
                <a:lnTo>
                  <a:pt x="55824" y="20864"/>
                </a:lnTo>
                <a:lnTo>
                  <a:pt x="60899" y="19736"/>
                </a:lnTo>
                <a:lnTo>
                  <a:pt x="65410" y="16916"/>
                </a:lnTo>
                <a:lnTo>
                  <a:pt x="67102" y="14097"/>
                </a:lnTo>
                <a:lnTo>
                  <a:pt x="69357" y="12405"/>
                </a:lnTo>
                <a:lnTo>
                  <a:pt x="72741" y="10150"/>
                </a:lnTo>
                <a:lnTo>
                  <a:pt x="72741" y="5075"/>
                </a:lnTo>
                <a:lnTo>
                  <a:pt x="68793" y="4511"/>
                </a:lnTo>
                <a:lnTo>
                  <a:pt x="65410" y="2819"/>
                </a:lnTo>
                <a:lnTo>
                  <a:pt x="59207" y="2256"/>
                </a:lnTo>
                <a:lnTo>
                  <a:pt x="58644" y="2256"/>
                </a:lnTo>
                <a:lnTo>
                  <a:pt x="59207" y="3383"/>
                </a:lnTo>
                <a:lnTo>
                  <a:pt x="58644" y="3383"/>
                </a:lnTo>
                <a:lnTo>
                  <a:pt x="57516" y="2819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2" name="Freeform: Shape 435">
            <a:extLst>
              <a:ext uri="{FF2B5EF4-FFF2-40B4-BE49-F238E27FC236}">
                <a16:creationId xmlns:a16="http://schemas.microsoft.com/office/drawing/2014/main" id="{D7546121-D415-4A29-A81B-F31CC69AD094}"/>
              </a:ext>
            </a:extLst>
          </p:cNvPr>
          <p:cNvSpPr/>
          <p:nvPr/>
        </p:nvSpPr>
        <p:spPr>
          <a:xfrm>
            <a:off x="8297281" y="4084117"/>
            <a:ext cx="4214" cy="4214"/>
          </a:xfrm>
          <a:custGeom>
            <a:avLst/>
            <a:gdLst>
              <a:gd name="connsiteX0" fmla="*/ 10150 w 5638"/>
              <a:gd name="connsiteY0" fmla="*/ 3947 h 5638"/>
              <a:gd name="connsiteX1" fmla="*/ 10714 w 5638"/>
              <a:gd name="connsiteY1" fmla="*/ 2819 h 5638"/>
              <a:gd name="connsiteX2" fmla="*/ 9586 w 5638"/>
              <a:gd name="connsiteY2" fmla="*/ 1692 h 5638"/>
              <a:gd name="connsiteX3" fmla="*/ 7894 w 5638"/>
              <a:gd name="connsiteY3" fmla="*/ 1128 h 5638"/>
              <a:gd name="connsiteX4" fmla="*/ 5075 w 5638"/>
              <a:gd name="connsiteY4" fmla="*/ 0 h 5638"/>
              <a:gd name="connsiteX5" fmla="*/ 1692 w 5638"/>
              <a:gd name="connsiteY5" fmla="*/ 564 h 5638"/>
              <a:gd name="connsiteX6" fmla="*/ 0 w 5638"/>
              <a:gd name="connsiteY6" fmla="*/ 3947 h 5638"/>
              <a:gd name="connsiteX7" fmla="*/ 5075 w 5638"/>
              <a:gd name="connsiteY7" fmla="*/ 6203 h 5638"/>
              <a:gd name="connsiteX8" fmla="*/ 10150 w 5638"/>
              <a:gd name="connsiteY8" fmla="*/ 3947 h 5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638" h="5638">
                <a:moveTo>
                  <a:pt x="10150" y="3947"/>
                </a:moveTo>
                <a:lnTo>
                  <a:pt x="10714" y="2819"/>
                </a:lnTo>
                <a:lnTo>
                  <a:pt x="9586" y="1692"/>
                </a:lnTo>
                <a:lnTo>
                  <a:pt x="7894" y="1128"/>
                </a:lnTo>
                <a:lnTo>
                  <a:pt x="5075" y="0"/>
                </a:lnTo>
                <a:lnTo>
                  <a:pt x="1692" y="564"/>
                </a:lnTo>
                <a:lnTo>
                  <a:pt x="0" y="3947"/>
                </a:lnTo>
                <a:lnTo>
                  <a:pt x="5075" y="6203"/>
                </a:lnTo>
                <a:lnTo>
                  <a:pt x="10150" y="3947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3" name="Freeform: Shape 436">
            <a:extLst>
              <a:ext uri="{FF2B5EF4-FFF2-40B4-BE49-F238E27FC236}">
                <a16:creationId xmlns:a16="http://schemas.microsoft.com/office/drawing/2014/main" id="{02EF7374-5AAB-412F-9D40-124756F32212}"/>
              </a:ext>
            </a:extLst>
          </p:cNvPr>
          <p:cNvSpPr/>
          <p:nvPr/>
        </p:nvSpPr>
        <p:spPr>
          <a:xfrm>
            <a:off x="9520122" y="4299861"/>
            <a:ext cx="248613" cy="139055"/>
          </a:xfrm>
          <a:custGeom>
            <a:avLst/>
            <a:gdLst>
              <a:gd name="connsiteX0" fmla="*/ 336636 w 332689"/>
              <a:gd name="connsiteY0" fmla="*/ 181569 h 186080"/>
              <a:gd name="connsiteX1" fmla="*/ 335509 w 332689"/>
              <a:gd name="connsiteY1" fmla="*/ 180442 h 186080"/>
              <a:gd name="connsiteX2" fmla="*/ 334945 w 332689"/>
              <a:gd name="connsiteY2" fmla="*/ 178186 h 186080"/>
              <a:gd name="connsiteX3" fmla="*/ 333253 w 332689"/>
              <a:gd name="connsiteY3" fmla="*/ 178186 h 186080"/>
              <a:gd name="connsiteX4" fmla="*/ 331561 w 332689"/>
              <a:gd name="connsiteY4" fmla="*/ 178750 h 186080"/>
              <a:gd name="connsiteX5" fmla="*/ 332689 w 332689"/>
              <a:gd name="connsiteY5" fmla="*/ 182133 h 186080"/>
              <a:gd name="connsiteX6" fmla="*/ 333817 w 332689"/>
              <a:gd name="connsiteY6" fmla="*/ 182133 h 186080"/>
              <a:gd name="connsiteX7" fmla="*/ 336636 w 332689"/>
              <a:gd name="connsiteY7" fmla="*/ 181569 h 186080"/>
              <a:gd name="connsiteX8" fmla="*/ 135895 w 332689"/>
              <a:gd name="connsiteY8" fmla="*/ 186080 h 186080"/>
              <a:gd name="connsiteX9" fmla="*/ 135331 w 332689"/>
              <a:gd name="connsiteY9" fmla="*/ 184953 h 186080"/>
              <a:gd name="connsiteX10" fmla="*/ 132512 w 332689"/>
              <a:gd name="connsiteY10" fmla="*/ 182697 h 186080"/>
              <a:gd name="connsiteX11" fmla="*/ 121798 w 332689"/>
              <a:gd name="connsiteY11" fmla="*/ 175367 h 186080"/>
              <a:gd name="connsiteX12" fmla="*/ 119542 w 332689"/>
              <a:gd name="connsiteY12" fmla="*/ 174803 h 186080"/>
              <a:gd name="connsiteX13" fmla="*/ 118979 w 332689"/>
              <a:gd name="connsiteY13" fmla="*/ 175367 h 186080"/>
              <a:gd name="connsiteX14" fmla="*/ 118415 w 332689"/>
              <a:gd name="connsiteY14" fmla="*/ 177058 h 186080"/>
              <a:gd name="connsiteX15" fmla="*/ 118979 w 332689"/>
              <a:gd name="connsiteY15" fmla="*/ 178186 h 186080"/>
              <a:gd name="connsiteX16" fmla="*/ 121798 w 332689"/>
              <a:gd name="connsiteY16" fmla="*/ 178750 h 186080"/>
              <a:gd name="connsiteX17" fmla="*/ 121798 w 332689"/>
              <a:gd name="connsiteY17" fmla="*/ 179314 h 186080"/>
              <a:gd name="connsiteX18" fmla="*/ 123490 w 332689"/>
              <a:gd name="connsiteY18" fmla="*/ 180442 h 186080"/>
              <a:gd name="connsiteX19" fmla="*/ 127437 w 332689"/>
              <a:gd name="connsiteY19" fmla="*/ 181569 h 186080"/>
              <a:gd name="connsiteX20" fmla="*/ 129692 w 332689"/>
              <a:gd name="connsiteY20" fmla="*/ 183261 h 186080"/>
              <a:gd name="connsiteX21" fmla="*/ 130256 w 332689"/>
              <a:gd name="connsiteY21" fmla="*/ 186080 h 186080"/>
              <a:gd name="connsiteX22" fmla="*/ 131948 w 332689"/>
              <a:gd name="connsiteY22" fmla="*/ 186644 h 186080"/>
              <a:gd name="connsiteX23" fmla="*/ 133639 w 332689"/>
              <a:gd name="connsiteY23" fmla="*/ 187208 h 186080"/>
              <a:gd name="connsiteX24" fmla="*/ 135895 w 332689"/>
              <a:gd name="connsiteY24" fmla="*/ 186080 h 186080"/>
              <a:gd name="connsiteX25" fmla="*/ 316337 w 332689"/>
              <a:gd name="connsiteY25" fmla="*/ 148864 h 186080"/>
              <a:gd name="connsiteX26" fmla="*/ 316337 w 332689"/>
              <a:gd name="connsiteY26" fmla="*/ 148300 h 186080"/>
              <a:gd name="connsiteX27" fmla="*/ 317464 w 332689"/>
              <a:gd name="connsiteY27" fmla="*/ 146609 h 186080"/>
              <a:gd name="connsiteX28" fmla="*/ 316337 w 332689"/>
              <a:gd name="connsiteY28" fmla="*/ 146045 h 186080"/>
              <a:gd name="connsiteX29" fmla="*/ 313517 w 332689"/>
              <a:gd name="connsiteY29" fmla="*/ 145481 h 186080"/>
              <a:gd name="connsiteX30" fmla="*/ 309570 w 332689"/>
              <a:gd name="connsiteY30" fmla="*/ 146045 h 186080"/>
              <a:gd name="connsiteX31" fmla="*/ 307878 w 332689"/>
              <a:gd name="connsiteY31" fmla="*/ 147173 h 186080"/>
              <a:gd name="connsiteX32" fmla="*/ 306751 w 332689"/>
              <a:gd name="connsiteY32" fmla="*/ 148864 h 186080"/>
              <a:gd name="connsiteX33" fmla="*/ 305623 w 332689"/>
              <a:gd name="connsiteY33" fmla="*/ 148864 h 186080"/>
              <a:gd name="connsiteX34" fmla="*/ 305623 w 332689"/>
              <a:gd name="connsiteY34" fmla="*/ 149992 h 186080"/>
              <a:gd name="connsiteX35" fmla="*/ 306186 w 332689"/>
              <a:gd name="connsiteY35" fmla="*/ 152248 h 186080"/>
              <a:gd name="connsiteX36" fmla="*/ 307315 w 332689"/>
              <a:gd name="connsiteY36" fmla="*/ 151684 h 186080"/>
              <a:gd name="connsiteX37" fmla="*/ 308442 w 332689"/>
              <a:gd name="connsiteY37" fmla="*/ 152248 h 186080"/>
              <a:gd name="connsiteX38" fmla="*/ 311262 w 332689"/>
              <a:gd name="connsiteY38" fmla="*/ 149428 h 186080"/>
              <a:gd name="connsiteX39" fmla="*/ 312953 w 332689"/>
              <a:gd name="connsiteY39" fmla="*/ 149428 h 186080"/>
              <a:gd name="connsiteX40" fmla="*/ 313517 w 332689"/>
              <a:gd name="connsiteY40" fmla="*/ 149428 h 186080"/>
              <a:gd name="connsiteX41" fmla="*/ 316337 w 332689"/>
              <a:gd name="connsiteY41" fmla="*/ 148864 h 186080"/>
              <a:gd name="connsiteX42" fmla="*/ 178750 w 332689"/>
              <a:gd name="connsiteY42" fmla="*/ 135895 h 186080"/>
              <a:gd name="connsiteX43" fmla="*/ 178186 w 332689"/>
              <a:gd name="connsiteY43" fmla="*/ 134767 h 186080"/>
              <a:gd name="connsiteX44" fmla="*/ 177058 w 332689"/>
              <a:gd name="connsiteY44" fmla="*/ 134203 h 186080"/>
              <a:gd name="connsiteX45" fmla="*/ 171983 w 332689"/>
              <a:gd name="connsiteY45" fmla="*/ 130256 h 186080"/>
              <a:gd name="connsiteX46" fmla="*/ 169164 w 332689"/>
              <a:gd name="connsiteY46" fmla="*/ 129128 h 186080"/>
              <a:gd name="connsiteX47" fmla="*/ 166345 w 332689"/>
              <a:gd name="connsiteY47" fmla="*/ 129128 h 186080"/>
              <a:gd name="connsiteX48" fmla="*/ 165781 w 332689"/>
              <a:gd name="connsiteY48" fmla="*/ 131948 h 186080"/>
              <a:gd name="connsiteX49" fmla="*/ 165781 w 332689"/>
              <a:gd name="connsiteY49" fmla="*/ 133640 h 186080"/>
              <a:gd name="connsiteX50" fmla="*/ 169164 w 332689"/>
              <a:gd name="connsiteY50" fmla="*/ 133640 h 186080"/>
              <a:gd name="connsiteX51" fmla="*/ 171420 w 332689"/>
              <a:gd name="connsiteY51" fmla="*/ 134767 h 186080"/>
              <a:gd name="connsiteX52" fmla="*/ 171420 w 332689"/>
              <a:gd name="connsiteY52" fmla="*/ 138151 h 186080"/>
              <a:gd name="connsiteX53" fmla="*/ 172547 w 332689"/>
              <a:gd name="connsiteY53" fmla="*/ 139278 h 186080"/>
              <a:gd name="connsiteX54" fmla="*/ 172547 w 332689"/>
              <a:gd name="connsiteY54" fmla="*/ 142098 h 186080"/>
              <a:gd name="connsiteX55" fmla="*/ 179313 w 332689"/>
              <a:gd name="connsiteY55" fmla="*/ 147173 h 186080"/>
              <a:gd name="connsiteX56" fmla="*/ 183261 w 332689"/>
              <a:gd name="connsiteY56" fmla="*/ 149428 h 186080"/>
              <a:gd name="connsiteX57" fmla="*/ 187208 w 332689"/>
              <a:gd name="connsiteY57" fmla="*/ 149992 h 186080"/>
              <a:gd name="connsiteX58" fmla="*/ 189464 w 332689"/>
              <a:gd name="connsiteY58" fmla="*/ 151120 h 186080"/>
              <a:gd name="connsiteX59" fmla="*/ 192283 w 332689"/>
              <a:gd name="connsiteY59" fmla="*/ 150556 h 186080"/>
              <a:gd name="connsiteX60" fmla="*/ 195102 w 332689"/>
              <a:gd name="connsiteY60" fmla="*/ 151684 h 186080"/>
              <a:gd name="connsiteX61" fmla="*/ 197358 w 332689"/>
              <a:gd name="connsiteY61" fmla="*/ 151120 h 186080"/>
              <a:gd name="connsiteX62" fmla="*/ 195102 w 332689"/>
              <a:gd name="connsiteY62" fmla="*/ 149428 h 186080"/>
              <a:gd name="connsiteX63" fmla="*/ 195102 w 332689"/>
              <a:gd name="connsiteY63" fmla="*/ 147173 h 186080"/>
              <a:gd name="connsiteX64" fmla="*/ 192283 w 332689"/>
              <a:gd name="connsiteY64" fmla="*/ 139842 h 186080"/>
              <a:gd name="connsiteX65" fmla="*/ 190591 w 332689"/>
              <a:gd name="connsiteY65" fmla="*/ 138151 h 186080"/>
              <a:gd name="connsiteX66" fmla="*/ 187772 w 332689"/>
              <a:gd name="connsiteY66" fmla="*/ 138714 h 186080"/>
              <a:gd name="connsiteX67" fmla="*/ 184952 w 332689"/>
              <a:gd name="connsiteY67" fmla="*/ 137587 h 186080"/>
              <a:gd name="connsiteX68" fmla="*/ 182697 w 332689"/>
              <a:gd name="connsiteY68" fmla="*/ 137587 h 186080"/>
              <a:gd name="connsiteX69" fmla="*/ 178750 w 332689"/>
              <a:gd name="connsiteY69" fmla="*/ 135895 h 186080"/>
              <a:gd name="connsiteX70" fmla="*/ 176494 w 332689"/>
              <a:gd name="connsiteY70" fmla="*/ 108265 h 186080"/>
              <a:gd name="connsiteX71" fmla="*/ 173111 w 332689"/>
              <a:gd name="connsiteY71" fmla="*/ 99243 h 186080"/>
              <a:gd name="connsiteX72" fmla="*/ 171983 w 332689"/>
              <a:gd name="connsiteY72" fmla="*/ 98679 h 186080"/>
              <a:gd name="connsiteX73" fmla="*/ 172547 w 332689"/>
              <a:gd name="connsiteY73" fmla="*/ 102062 h 186080"/>
              <a:gd name="connsiteX74" fmla="*/ 173111 w 332689"/>
              <a:gd name="connsiteY74" fmla="*/ 104318 h 186080"/>
              <a:gd name="connsiteX75" fmla="*/ 172547 w 332689"/>
              <a:gd name="connsiteY75" fmla="*/ 107137 h 186080"/>
              <a:gd name="connsiteX76" fmla="*/ 171983 w 332689"/>
              <a:gd name="connsiteY76" fmla="*/ 110520 h 186080"/>
              <a:gd name="connsiteX77" fmla="*/ 173111 w 332689"/>
              <a:gd name="connsiteY77" fmla="*/ 111648 h 186080"/>
              <a:gd name="connsiteX78" fmla="*/ 174239 w 332689"/>
              <a:gd name="connsiteY78" fmla="*/ 110520 h 186080"/>
              <a:gd name="connsiteX79" fmla="*/ 176494 w 332689"/>
              <a:gd name="connsiteY79" fmla="*/ 113340 h 186080"/>
              <a:gd name="connsiteX80" fmla="*/ 176494 w 332689"/>
              <a:gd name="connsiteY80" fmla="*/ 112212 h 186080"/>
              <a:gd name="connsiteX81" fmla="*/ 176494 w 332689"/>
              <a:gd name="connsiteY81" fmla="*/ 108265 h 186080"/>
              <a:gd name="connsiteX82" fmla="*/ 121234 w 332689"/>
              <a:gd name="connsiteY82" fmla="*/ 95860 h 186080"/>
              <a:gd name="connsiteX83" fmla="*/ 119542 w 332689"/>
              <a:gd name="connsiteY83" fmla="*/ 95296 h 186080"/>
              <a:gd name="connsiteX84" fmla="*/ 117287 w 332689"/>
              <a:gd name="connsiteY84" fmla="*/ 96987 h 186080"/>
              <a:gd name="connsiteX85" fmla="*/ 116723 w 332689"/>
              <a:gd name="connsiteY85" fmla="*/ 98679 h 186080"/>
              <a:gd name="connsiteX86" fmla="*/ 116159 w 332689"/>
              <a:gd name="connsiteY86" fmla="*/ 102626 h 186080"/>
              <a:gd name="connsiteX87" fmla="*/ 116159 w 332689"/>
              <a:gd name="connsiteY87" fmla="*/ 104882 h 186080"/>
              <a:gd name="connsiteX88" fmla="*/ 117851 w 332689"/>
              <a:gd name="connsiteY88" fmla="*/ 108829 h 186080"/>
              <a:gd name="connsiteX89" fmla="*/ 119542 w 332689"/>
              <a:gd name="connsiteY89" fmla="*/ 111648 h 186080"/>
              <a:gd name="connsiteX90" fmla="*/ 121234 w 332689"/>
              <a:gd name="connsiteY90" fmla="*/ 113340 h 186080"/>
              <a:gd name="connsiteX91" fmla="*/ 122362 w 332689"/>
              <a:gd name="connsiteY91" fmla="*/ 114468 h 186080"/>
              <a:gd name="connsiteX92" fmla="*/ 127437 w 332689"/>
              <a:gd name="connsiteY92" fmla="*/ 115031 h 186080"/>
              <a:gd name="connsiteX93" fmla="*/ 137022 w 332689"/>
              <a:gd name="connsiteY93" fmla="*/ 115595 h 186080"/>
              <a:gd name="connsiteX94" fmla="*/ 142097 w 332689"/>
              <a:gd name="connsiteY94" fmla="*/ 117851 h 186080"/>
              <a:gd name="connsiteX95" fmla="*/ 147173 w 332689"/>
              <a:gd name="connsiteY95" fmla="*/ 118979 h 186080"/>
              <a:gd name="connsiteX96" fmla="*/ 149428 w 332689"/>
              <a:gd name="connsiteY96" fmla="*/ 118415 h 186080"/>
              <a:gd name="connsiteX97" fmla="*/ 152248 w 332689"/>
              <a:gd name="connsiteY97" fmla="*/ 117287 h 186080"/>
              <a:gd name="connsiteX98" fmla="*/ 152811 w 332689"/>
              <a:gd name="connsiteY98" fmla="*/ 116723 h 186080"/>
              <a:gd name="connsiteX99" fmla="*/ 152248 w 332689"/>
              <a:gd name="connsiteY99" fmla="*/ 113340 h 186080"/>
              <a:gd name="connsiteX100" fmla="*/ 151119 w 332689"/>
              <a:gd name="connsiteY100" fmla="*/ 111648 h 186080"/>
              <a:gd name="connsiteX101" fmla="*/ 148864 w 332689"/>
              <a:gd name="connsiteY101" fmla="*/ 110520 h 186080"/>
              <a:gd name="connsiteX102" fmla="*/ 147736 w 332689"/>
              <a:gd name="connsiteY102" fmla="*/ 107137 h 186080"/>
              <a:gd name="connsiteX103" fmla="*/ 144917 w 332689"/>
              <a:gd name="connsiteY103" fmla="*/ 104882 h 186080"/>
              <a:gd name="connsiteX104" fmla="*/ 139842 w 332689"/>
              <a:gd name="connsiteY104" fmla="*/ 100934 h 186080"/>
              <a:gd name="connsiteX105" fmla="*/ 130820 w 332689"/>
              <a:gd name="connsiteY105" fmla="*/ 100934 h 186080"/>
              <a:gd name="connsiteX106" fmla="*/ 127437 w 332689"/>
              <a:gd name="connsiteY106" fmla="*/ 101498 h 186080"/>
              <a:gd name="connsiteX107" fmla="*/ 121234 w 332689"/>
              <a:gd name="connsiteY107" fmla="*/ 95860 h 186080"/>
              <a:gd name="connsiteX108" fmla="*/ 135895 w 332689"/>
              <a:gd name="connsiteY108" fmla="*/ 85710 h 186080"/>
              <a:gd name="connsiteX109" fmla="*/ 133076 w 332689"/>
              <a:gd name="connsiteY109" fmla="*/ 86837 h 186080"/>
              <a:gd name="connsiteX110" fmla="*/ 133076 w 332689"/>
              <a:gd name="connsiteY110" fmla="*/ 88529 h 186080"/>
              <a:gd name="connsiteX111" fmla="*/ 135331 w 332689"/>
              <a:gd name="connsiteY111" fmla="*/ 89093 h 186080"/>
              <a:gd name="connsiteX112" fmla="*/ 137587 w 332689"/>
              <a:gd name="connsiteY112" fmla="*/ 90221 h 186080"/>
              <a:gd name="connsiteX113" fmla="*/ 138151 w 332689"/>
              <a:gd name="connsiteY113" fmla="*/ 91912 h 186080"/>
              <a:gd name="connsiteX114" fmla="*/ 138151 w 332689"/>
              <a:gd name="connsiteY114" fmla="*/ 91912 h 186080"/>
              <a:gd name="connsiteX115" fmla="*/ 139278 w 332689"/>
              <a:gd name="connsiteY115" fmla="*/ 91349 h 186080"/>
              <a:gd name="connsiteX116" fmla="*/ 141534 w 332689"/>
              <a:gd name="connsiteY116" fmla="*/ 92476 h 186080"/>
              <a:gd name="connsiteX117" fmla="*/ 142661 w 332689"/>
              <a:gd name="connsiteY117" fmla="*/ 90785 h 186080"/>
              <a:gd name="connsiteX118" fmla="*/ 140406 w 332689"/>
              <a:gd name="connsiteY118" fmla="*/ 87965 h 186080"/>
              <a:gd name="connsiteX119" fmla="*/ 138151 w 332689"/>
              <a:gd name="connsiteY119" fmla="*/ 86274 h 186080"/>
              <a:gd name="connsiteX120" fmla="*/ 137587 w 332689"/>
              <a:gd name="connsiteY120" fmla="*/ 86274 h 186080"/>
              <a:gd name="connsiteX121" fmla="*/ 135895 w 332689"/>
              <a:gd name="connsiteY121" fmla="*/ 85710 h 186080"/>
              <a:gd name="connsiteX122" fmla="*/ 104318 w 332689"/>
              <a:gd name="connsiteY122" fmla="*/ 90221 h 186080"/>
              <a:gd name="connsiteX123" fmla="*/ 106009 w 332689"/>
              <a:gd name="connsiteY123" fmla="*/ 89093 h 186080"/>
              <a:gd name="connsiteX124" fmla="*/ 106009 w 332689"/>
              <a:gd name="connsiteY124" fmla="*/ 86837 h 186080"/>
              <a:gd name="connsiteX125" fmla="*/ 104318 w 332689"/>
              <a:gd name="connsiteY125" fmla="*/ 86837 h 186080"/>
              <a:gd name="connsiteX126" fmla="*/ 103754 w 332689"/>
              <a:gd name="connsiteY126" fmla="*/ 85710 h 186080"/>
              <a:gd name="connsiteX127" fmla="*/ 102626 w 332689"/>
              <a:gd name="connsiteY127" fmla="*/ 85710 h 186080"/>
              <a:gd name="connsiteX128" fmla="*/ 100935 w 332689"/>
              <a:gd name="connsiteY128" fmla="*/ 86837 h 186080"/>
              <a:gd name="connsiteX129" fmla="*/ 99806 w 332689"/>
              <a:gd name="connsiteY129" fmla="*/ 88529 h 186080"/>
              <a:gd name="connsiteX130" fmla="*/ 100370 w 332689"/>
              <a:gd name="connsiteY130" fmla="*/ 89657 h 186080"/>
              <a:gd name="connsiteX131" fmla="*/ 102626 w 332689"/>
              <a:gd name="connsiteY131" fmla="*/ 89657 h 186080"/>
              <a:gd name="connsiteX132" fmla="*/ 103754 w 332689"/>
              <a:gd name="connsiteY132" fmla="*/ 90221 h 186080"/>
              <a:gd name="connsiteX133" fmla="*/ 104318 w 332689"/>
              <a:gd name="connsiteY133" fmla="*/ 90221 h 186080"/>
              <a:gd name="connsiteX134" fmla="*/ 56952 w 332689"/>
              <a:gd name="connsiteY134" fmla="*/ 77252 h 186080"/>
              <a:gd name="connsiteX135" fmla="*/ 56388 w 332689"/>
              <a:gd name="connsiteY135" fmla="*/ 76124 h 186080"/>
              <a:gd name="connsiteX136" fmla="*/ 54696 w 332689"/>
              <a:gd name="connsiteY136" fmla="*/ 74996 h 186080"/>
              <a:gd name="connsiteX137" fmla="*/ 53569 w 332689"/>
              <a:gd name="connsiteY137" fmla="*/ 74996 h 186080"/>
              <a:gd name="connsiteX138" fmla="*/ 50749 w 332689"/>
              <a:gd name="connsiteY138" fmla="*/ 75560 h 186080"/>
              <a:gd name="connsiteX139" fmla="*/ 51313 w 332689"/>
              <a:gd name="connsiteY139" fmla="*/ 76124 h 186080"/>
              <a:gd name="connsiteX140" fmla="*/ 54696 w 332689"/>
              <a:gd name="connsiteY140" fmla="*/ 77815 h 186080"/>
              <a:gd name="connsiteX141" fmla="*/ 56388 w 332689"/>
              <a:gd name="connsiteY141" fmla="*/ 78379 h 186080"/>
              <a:gd name="connsiteX142" fmla="*/ 56952 w 332689"/>
              <a:gd name="connsiteY142" fmla="*/ 77252 h 186080"/>
              <a:gd name="connsiteX143" fmla="*/ 74432 w 332689"/>
              <a:gd name="connsiteY143" fmla="*/ 79507 h 186080"/>
              <a:gd name="connsiteX144" fmla="*/ 76124 w 332689"/>
              <a:gd name="connsiteY144" fmla="*/ 78379 h 186080"/>
              <a:gd name="connsiteX145" fmla="*/ 75560 w 332689"/>
              <a:gd name="connsiteY145" fmla="*/ 77252 h 186080"/>
              <a:gd name="connsiteX146" fmla="*/ 74996 w 332689"/>
              <a:gd name="connsiteY146" fmla="*/ 74432 h 186080"/>
              <a:gd name="connsiteX147" fmla="*/ 72741 w 332689"/>
              <a:gd name="connsiteY147" fmla="*/ 78379 h 186080"/>
              <a:gd name="connsiteX148" fmla="*/ 73304 w 332689"/>
              <a:gd name="connsiteY148" fmla="*/ 79507 h 186080"/>
              <a:gd name="connsiteX149" fmla="*/ 74432 w 332689"/>
              <a:gd name="connsiteY149" fmla="*/ 79507 h 186080"/>
              <a:gd name="connsiteX150" fmla="*/ 71612 w 332689"/>
              <a:gd name="connsiteY150" fmla="*/ 74432 h 186080"/>
              <a:gd name="connsiteX151" fmla="*/ 71612 w 332689"/>
              <a:gd name="connsiteY151" fmla="*/ 73304 h 186080"/>
              <a:gd name="connsiteX152" fmla="*/ 71612 w 332689"/>
              <a:gd name="connsiteY152" fmla="*/ 72177 h 186080"/>
              <a:gd name="connsiteX153" fmla="*/ 70485 w 332689"/>
              <a:gd name="connsiteY153" fmla="*/ 71613 h 186080"/>
              <a:gd name="connsiteX154" fmla="*/ 72741 w 332689"/>
              <a:gd name="connsiteY154" fmla="*/ 69921 h 186080"/>
              <a:gd name="connsiteX155" fmla="*/ 72176 w 332689"/>
              <a:gd name="connsiteY155" fmla="*/ 69357 h 186080"/>
              <a:gd name="connsiteX156" fmla="*/ 68793 w 332689"/>
              <a:gd name="connsiteY156" fmla="*/ 68229 h 186080"/>
              <a:gd name="connsiteX157" fmla="*/ 67666 w 332689"/>
              <a:gd name="connsiteY157" fmla="*/ 69357 h 186080"/>
              <a:gd name="connsiteX158" fmla="*/ 66537 w 332689"/>
              <a:gd name="connsiteY158" fmla="*/ 69921 h 186080"/>
              <a:gd name="connsiteX159" fmla="*/ 65974 w 332689"/>
              <a:gd name="connsiteY159" fmla="*/ 70485 h 186080"/>
              <a:gd name="connsiteX160" fmla="*/ 65410 w 332689"/>
              <a:gd name="connsiteY160" fmla="*/ 71049 h 186080"/>
              <a:gd name="connsiteX161" fmla="*/ 64846 w 332689"/>
              <a:gd name="connsiteY161" fmla="*/ 73868 h 186080"/>
              <a:gd name="connsiteX162" fmla="*/ 65974 w 332689"/>
              <a:gd name="connsiteY162" fmla="*/ 76124 h 186080"/>
              <a:gd name="connsiteX163" fmla="*/ 68229 w 332689"/>
              <a:gd name="connsiteY163" fmla="*/ 77252 h 186080"/>
              <a:gd name="connsiteX164" fmla="*/ 71612 w 332689"/>
              <a:gd name="connsiteY164" fmla="*/ 74432 h 186080"/>
              <a:gd name="connsiteX165" fmla="*/ 49057 w 332689"/>
              <a:gd name="connsiteY165" fmla="*/ 75560 h 186080"/>
              <a:gd name="connsiteX166" fmla="*/ 47366 w 332689"/>
              <a:gd name="connsiteY166" fmla="*/ 73304 h 186080"/>
              <a:gd name="connsiteX167" fmla="*/ 47930 w 332689"/>
              <a:gd name="connsiteY167" fmla="*/ 70485 h 186080"/>
              <a:gd name="connsiteX168" fmla="*/ 49057 w 332689"/>
              <a:gd name="connsiteY168" fmla="*/ 69921 h 186080"/>
              <a:gd name="connsiteX169" fmla="*/ 50185 w 332689"/>
              <a:gd name="connsiteY169" fmla="*/ 67102 h 186080"/>
              <a:gd name="connsiteX170" fmla="*/ 49621 w 332689"/>
              <a:gd name="connsiteY170" fmla="*/ 64846 h 186080"/>
              <a:gd name="connsiteX171" fmla="*/ 48494 w 332689"/>
              <a:gd name="connsiteY171" fmla="*/ 65410 h 186080"/>
              <a:gd name="connsiteX172" fmla="*/ 44547 w 332689"/>
              <a:gd name="connsiteY172" fmla="*/ 68793 h 186080"/>
              <a:gd name="connsiteX173" fmla="*/ 43982 w 332689"/>
              <a:gd name="connsiteY173" fmla="*/ 70485 h 186080"/>
              <a:gd name="connsiteX174" fmla="*/ 47366 w 332689"/>
              <a:gd name="connsiteY174" fmla="*/ 74996 h 186080"/>
              <a:gd name="connsiteX175" fmla="*/ 49057 w 332689"/>
              <a:gd name="connsiteY175" fmla="*/ 76124 h 186080"/>
              <a:gd name="connsiteX176" fmla="*/ 49057 w 332689"/>
              <a:gd name="connsiteY176" fmla="*/ 75560 h 186080"/>
              <a:gd name="connsiteX177" fmla="*/ 122362 w 332689"/>
              <a:gd name="connsiteY177" fmla="*/ 68229 h 186080"/>
              <a:gd name="connsiteX178" fmla="*/ 121234 w 332689"/>
              <a:gd name="connsiteY178" fmla="*/ 65974 h 186080"/>
              <a:gd name="connsiteX179" fmla="*/ 121234 w 332689"/>
              <a:gd name="connsiteY179" fmla="*/ 64846 h 186080"/>
              <a:gd name="connsiteX180" fmla="*/ 119542 w 332689"/>
              <a:gd name="connsiteY180" fmla="*/ 63718 h 186080"/>
              <a:gd name="connsiteX181" fmla="*/ 118415 w 332689"/>
              <a:gd name="connsiteY181" fmla="*/ 64282 h 186080"/>
              <a:gd name="connsiteX182" fmla="*/ 117851 w 332689"/>
              <a:gd name="connsiteY182" fmla="*/ 65974 h 186080"/>
              <a:gd name="connsiteX183" fmla="*/ 118415 w 332689"/>
              <a:gd name="connsiteY183" fmla="*/ 67102 h 186080"/>
              <a:gd name="connsiteX184" fmla="*/ 120670 w 332689"/>
              <a:gd name="connsiteY184" fmla="*/ 68793 h 186080"/>
              <a:gd name="connsiteX185" fmla="*/ 122362 w 332689"/>
              <a:gd name="connsiteY185" fmla="*/ 68229 h 186080"/>
              <a:gd name="connsiteX186" fmla="*/ 156194 w 332689"/>
              <a:gd name="connsiteY186" fmla="*/ 61463 h 186080"/>
              <a:gd name="connsiteX187" fmla="*/ 155067 w 332689"/>
              <a:gd name="connsiteY187" fmla="*/ 61463 h 186080"/>
              <a:gd name="connsiteX188" fmla="*/ 154503 w 332689"/>
              <a:gd name="connsiteY188" fmla="*/ 62027 h 186080"/>
              <a:gd name="connsiteX189" fmla="*/ 153375 w 332689"/>
              <a:gd name="connsiteY189" fmla="*/ 62027 h 186080"/>
              <a:gd name="connsiteX190" fmla="*/ 151684 w 332689"/>
              <a:gd name="connsiteY190" fmla="*/ 62027 h 186080"/>
              <a:gd name="connsiteX191" fmla="*/ 151119 w 332689"/>
              <a:gd name="connsiteY191" fmla="*/ 63155 h 186080"/>
              <a:gd name="connsiteX192" fmla="*/ 154503 w 332689"/>
              <a:gd name="connsiteY192" fmla="*/ 69357 h 186080"/>
              <a:gd name="connsiteX193" fmla="*/ 152811 w 332689"/>
              <a:gd name="connsiteY193" fmla="*/ 72177 h 186080"/>
              <a:gd name="connsiteX194" fmla="*/ 155067 w 332689"/>
              <a:gd name="connsiteY194" fmla="*/ 84582 h 186080"/>
              <a:gd name="connsiteX195" fmla="*/ 157323 w 332689"/>
              <a:gd name="connsiteY195" fmla="*/ 91349 h 186080"/>
              <a:gd name="connsiteX196" fmla="*/ 161833 w 332689"/>
              <a:gd name="connsiteY196" fmla="*/ 95860 h 186080"/>
              <a:gd name="connsiteX197" fmla="*/ 161833 w 332689"/>
              <a:gd name="connsiteY197" fmla="*/ 96987 h 186080"/>
              <a:gd name="connsiteX198" fmla="*/ 166345 w 332689"/>
              <a:gd name="connsiteY198" fmla="*/ 99807 h 186080"/>
              <a:gd name="connsiteX199" fmla="*/ 169728 w 332689"/>
              <a:gd name="connsiteY199" fmla="*/ 107137 h 186080"/>
              <a:gd name="connsiteX200" fmla="*/ 170855 w 332689"/>
              <a:gd name="connsiteY200" fmla="*/ 107701 h 186080"/>
              <a:gd name="connsiteX201" fmla="*/ 171420 w 332689"/>
              <a:gd name="connsiteY201" fmla="*/ 106573 h 186080"/>
              <a:gd name="connsiteX202" fmla="*/ 171420 w 332689"/>
              <a:gd name="connsiteY202" fmla="*/ 103190 h 186080"/>
              <a:gd name="connsiteX203" fmla="*/ 168600 w 332689"/>
              <a:gd name="connsiteY203" fmla="*/ 96987 h 186080"/>
              <a:gd name="connsiteX204" fmla="*/ 169164 w 332689"/>
              <a:gd name="connsiteY204" fmla="*/ 92476 h 186080"/>
              <a:gd name="connsiteX205" fmla="*/ 168036 w 332689"/>
              <a:gd name="connsiteY205" fmla="*/ 90785 h 186080"/>
              <a:gd name="connsiteX206" fmla="*/ 168036 w 332689"/>
              <a:gd name="connsiteY206" fmla="*/ 89093 h 186080"/>
              <a:gd name="connsiteX207" fmla="*/ 166908 w 332689"/>
              <a:gd name="connsiteY207" fmla="*/ 84582 h 186080"/>
              <a:gd name="connsiteX208" fmla="*/ 163525 w 332689"/>
              <a:gd name="connsiteY208" fmla="*/ 80635 h 186080"/>
              <a:gd name="connsiteX209" fmla="*/ 161833 w 332689"/>
              <a:gd name="connsiteY209" fmla="*/ 80071 h 186080"/>
              <a:gd name="connsiteX210" fmla="*/ 160706 w 332689"/>
              <a:gd name="connsiteY210" fmla="*/ 78379 h 186080"/>
              <a:gd name="connsiteX211" fmla="*/ 161833 w 332689"/>
              <a:gd name="connsiteY211" fmla="*/ 74996 h 186080"/>
              <a:gd name="connsiteX212" fmla="*/ 162961 w 332689"/>
              <a:gd name="connsiteY212" fmla="*/ 73868 h 186080"/>
              <a:gd name="connsiteX213" fmla="*/ 163525 w 332689"/>
              <a:gd name="connsiteY213" fmla="*/ 72177 h 186080"/>
              <a:gd name="connsiteX214" fmla="*/ 156194 w 332689"/>
              <a:gd name="connsiteY214" fmla="*/ 61463 h 186080"/>
              <a:gd name="connsiteX215" fmla="*/ 62591 w 332689"/>
              <a:gd name="connsiteY215" fmla="*/ 58643 h 186080"/>
              <a:gd name="connsiteX216" fmla="*/ 59207 w 332689"/>
              <a:gd name="connsiteY216" fmla="*/ 57516 h 186080"/>
              <a:gd name="connsiteX217" fmla="*/ 58079 w 332689"/>
              <a:gd name="connsiteY217" fmla="*/ 55824 h 186080"/>
              <a:gd name="connsiteX218" fmla="*/ 58079 w 332689"/>
              <a:gd name="connsiteY218" fmla="*/ 50185 h 186080"/>
              <a:gd name="connsiteX219" fmla="*/ 54696 w 332689"/>
              <a:gd name="connsiteY219" fmla="*/ 48494 h 186080"/>
              <a:gd name="connsiteX220" fmla="*/ 53005 w 332689"/>
              <a:gd name="connsiteY220" fmla="*/ 49621 h 186080"/>
              <a:gd name="connsiteX221" fmla="*/ 49621 w 332689"/>
              <a:gd name="connsiteY221" fmla="*/ 53569 h 186080"/>
              <a:gd name="connsiteX222" fmla="*/ 48494 w 332689"/>
              <a:gd name="connsiteY222" fmla="*/ 55824 h 186080"/>
              <a:gd name="connsiteX223" fmla="*/ 45674 w 332689"/>
              <a:gd name="connsiteY223" fmla="*/ 57516 h 186080"/>
              <a:gd name="connsiteX224" fmla="*/ 45110 w 332689"/>
              <a:gd name="connsiteY224" fmla="*/ 59207 h 186080"/>
              <a:gd name="connsiteX225" fmla="*/ 45110 w 332689"/>
              <a:gd name="connsiteY225" fmla="*/ 61463 h 186080"/>
              <a:gd name="connsiteX226" fmla="*/ 47366 w 332689"/>
              <a:gd name="connsiteY226" fmla="*/ 62027 h 186080"/>
              <a:gd name="connsiteX227" fmla="*/ 49057 w 332689"/>
              <a:gd name="connsiteY227" fmla="*/ 59771 h 186080"/>
              <a:gd name="connsiteX228" fmla="*/ 54132 w 332689"/>
              <a:gd name="connsiteY228" fmla="*/ 59207 h 186080"/>
              <a:gd name="connsiteX229" fmla="*/ 55824 w 332689"/>
              <a:gd name="connsiteY229" fmla="*/ 59771 h 186080"/>
              <a:gd name="connsiteX230" fmla="*/ 55824 w 332689"/>
              <a:gd name="connsiteY230" fmla="*/ 62027 h 186080"/>
              <a:gd name="connsiteX231" fmla="*/ 56388 w 332689"/>
              <a:gd name="connsiteY231" fmla="*/ 65974 h 186080"/>
              <a:gd name="connsiteX232" fmla="*/ 58079 w 332689"/>
              <a:gd name="connsiteY232" fmla="*/ 67666 h 186080"/>
              <a:gd name="connsiteX233" fmla="*/ 60899 w 332689"/>
              <a:gd name="connsiteY233" fmla="*/ 68793 h 186080"/>
              <a:gd name="connsiteX234" fmla="*/ 63154 w 332689"/>
              <a:gd name="connsiteY234" fmla="*/ 72177 h 186080"/>
              <a:gd name="connsiteX235" fmla="*/ 63718 w 332689"/>
              <a:gd name="connsiteY235" fmla="*/ 70485 h 186080"/>
              <a:gd name="connsiteX236" fmla="*/ 64846 w 332689"/>
              <a:gd name="connsiteY236" fmla="*/ 70485 h 186080"/>
              <a:gd name="connsiteX237" fmla="*/ 65974 w 332689"/>
              <a:gd name="connsiteY237" fmla="*/ 68229 h 186080"/>
              <a:gd name="connsiteX238" fmla="*/ 64282 w 332689"/>
              <a:gd name="connsiteY238" fmla="*/ 61463 h 186080"/>
              <a:gd name="connsiteX239" fmla="*/ 62591 w 332689"/>
              <a:gd name="connsiteY239" fmla="*/ 58643 h 186080"/>
              <a:gd name="connsiteX240" fmla="*/ 25938 w 332689"/>
              <a:gd name="connsiteY240" fmla="*/ 56388 h 186080"/>
              <a:gd name="connsiteX241" fmla="*/ 26502 w 332689"/>
              <a:gd name="connsiteY241" fmla="*/ 53569 h 186080"/>
              <a:gd name="connsiteX242" fmla="*/ 25938 w 332689"/>
              <a:gd name="connsiteY242" fmla="*/ 48494 h 186080"/>
              <a:gd name="connsiteX243" fmla="*/ 24811 w 332689"/>
              <a:gd name="connsiteY243" fmla="*/ 49058 h 186080"/>
              <a:gd name="connsiteX244" fmla="*/ 24811 w 332689"/>
              <a:gd name="connsiteY244" fmla="*/ 50185 h 186080"/>
              <a:gd name="connsiteX245" fmla="*/ 24246 w 332689"/>
              <a:gd name="connsiteY245" fmla="*/ 52441 h 186080"/>
              <a:gd name="connsiteX246" fmla="*/ 25375 w 332689"/>
              <a:gd name="connsiteY246" fmla="*/ 56952 h 186080"/>
              <a:gd name="connsiteX247" fmla="*/ 25938 w 332689"/>
              <a:gd name="connsiteY247" fmla="*/ 56388 h 186080"/>
              <a:gd name="connsiteX248" fmla="*/ 43982 w 332689"/>
              <a:gd name="connsiteY248" fmla="*/ 54132 h 186080"/>
              <a:gd name="connsiteX249" fmla="*/ 45110 w 332689"/>
              <a:gd name="connsiteY249" fmla="*/ 53005 h 186080"/>
              <a:gd name="connsiteX250" fmla="*/ 45110 w 332689"/>
              <a:gd name="connsiteY250" fmla="*/ 50749 h 186080"/>
              <a:gd name="connsiteX251" fmla="*/ 45110 w 332689"/>
              <a:gd name="connsiteY251" fmla="*/ 47930 h 186080"/>
              <a:gd name="connsiteX252" fmla="*/ 43982 w 332689"/>
              <a:gd name="connsiteY252" fmla="*/ 45674 h 186080"/>
              <a:gd name="connsiteX253" fmla="*/ 42855 w 332689"/>
              <a:gd name="connsiteY253" fmla="*/ 44546 h 186080"/>
              <a:gd name="connsiteX254" fmla="*/ 40035 w 332689"/>
              <a:gd name="connsiteY254" fmla="*/ 45110 h 186080"/>
              <a:gd name="connsiteX255" fmla="*/ 37780 w 332689"/>
              <a:gd name="connsiteY255" fmla="*/ 47930 h 186080"/>
              <a:gd name="connsiteX256" fmla="*/ 37780 w 332689"/>
              <a:gd name="connsiteY256" fmla="*/ 50749 h 186080"/>
              <a:gd name="connsiteX257" fmla="*/ 40035 w 332689"/>
              <a:gd name="connsiteY257" fmla="*/ 54132 h 186080"/>
              <a:gd name="connsiteX258" fmla="*/ 43418 w 332689"/>
              <a:gd name="connsiteY258" fmla="*/ 54132 h 186080"/>
              <a:gd name="connsiteX259" fmla="*/ 43982 w 332689"/>
              <a:gd name="connsiteY259" fmla="*/ 54132 h 186080"/>
              <a:gd name="connsiteX260" fmla="*/ 29321 w 332689"/>
              <a:gd name="connsiteY260" fmla="*/ 47366 h 186080"/>
              <a:gd name="connsiteX261" fmla="*/ 30450 w 332689"/>
              <a:gd name="connsiteY261" fmla="*/ 45674 h 186080"/>
              <a:gd name="connsiteX262" fmla="*/ 33269 w 332689"/>
              <a:gd name="connsiteY262" fmla="*/ 41727 h 186080"/>
              <a:gd name="connsiteX263" fmla="*/ 33833 w 332689"/>
              <a:gd name="connsiteY263" fmla="*/ 40035 h 186080"/>
              <a:gd name="connsiteX264" fmla="*/ 31013 w 332689"/>
              <a:gd name="connsiteY264" fmla="*/ 38908 h 186080"/>
              <a:gd name="connsiteX265" fmla="*/ 28758 w 332689"/>
              <a:gd name="connsiteY265" fmla="*/ 36088 h 186080"/>
              <a:gd name="connsiteX266" fmla="*/ 26502 w 332689"/>
              <a:gd name="connsiteY266" fmla="*/ 34961 h 186080"/>
              <a:gd name="connsiteX267" fmla="*/ 24811 w 332689"/>
              <a:gd name="connsiteY267" fmla="*/ 37216 h 186080"/>
              <a:gd name="connsiteX268" fmla="*/ 24811 w 332689"/>
              <a:gd name="connsiteY268" fmla="*/ 39472 h 186080"/>
              <a:gd name="connsiteX269" fmla="*/ 27630 w 332689"/>
              <a:gd name="connsiteY269" fmla="*/ 42855 h 186080"/>
              <a:gd name="connsiteX270" fmla="*/ 27066 w 332689"/>
              <a:gd name="connsiteY270" fmla="*/ 45110 h 186080"/>
              <a:gd name="connsiteX271" fmla="*/ 28194 w 332689"/>
              <a:gd name="connsiteY271" fmla="*/ 45674 h 186080"/>
              <a:gd name="connsiteX272" fmla="*/ 28758 w 332689"/>
              <a:gd name="connsiteY272" fmla="*/ 47930 h 186080"/>
              <a:gd name="connsiteX273" fmla="*/ 29321 w 332689"/>
              <a:gd name="connsiteY273" fmla="*/ 47366 h 186080"/>
              <a:gd name="connsiteX274" fmla="*/ 128000 w 332689"/>
              <a:gd name="connsiteY274" fmla="*/ 69357 h 186080"/>
              <a:gd name="connsiteX275" fmla="*/ 127437 w 332689"/>
              <a:gd name="connsiteY275" fmla="*/ 66538 h 186080"/>
              <a:gd name="connsiteX276" fmla="*/ 125745 w 332689"/>
              <a:gd name="connsiteY276" fmla="*/ 64282 h 186080"/>
              <a:gd name="connsiteX277" fmla="*/ 128000 w 332689"/>
              <a:gd name="connsiteY277" fmla="*/ 61463 h 186080"/>
              <a:gd name="connsiteX278" fmla="*/ 115595 w 332689"/>
              <a:gd name="connsiteY278" fmla="*/ 50749 h 186080"/>
              <a:gd name="connsiteX279" fmla="*/ 113903 w 332689"/>
              <a:gd name="connsiteY279" fmla="*/ 49621 h 186080"/>
              <a:gd name="connsiteX280" fmla="*/ 111648 w 332689"/>
              <a:gd name="connsiteY280" fmla="*/ 49058 h 186080"/>
              <a:gd name="connsiteX281" fmla="*/ 108828 w 332689"/>
              <a:gd name="connsiteY281" fmla="*/ 46802 h 186080"/>
              <a:gd name="connsiteX282" fmla="*/ 106009 w 332689"/>
              <a:gd name="connsiteY282" fmla="*/ 46238 h 186080"/>
              <a:gd name="connsiteX283" fmla="*/ 103190 w 332689"/>
              <a:gd name="connsiteY283" fmla="*/ 43983 h 186080"/>
              <a:gd name="connsiteX284" fmla="*/ 102062 w 332689"/>
              <a:gd name="connsiteY284" fmla="*/ 42291 h 186080"/>
              <a:gd name="connsiteX285" fmla="*/ 98679 w 332689"/>
              <a:gd name="connsiteY285" fmla="*/ 40035 h 186080"/>
              <a:gd name="connsiteX286" fmla="*/ 95296 w 332689"/>
              <a:gd name="connsiteY286" fmla="*/ 35524 h 186080"/>
              <a:gd name="connsiteX287" fmla="*/ 86838 w 332689"/>
              <a:gd name="connsiteY287" fmla="*/ 33833 h 186080"/>
              <a:gd name="connsiteX288" fmla="*/ 87401 w 332689"/>
              <a:gd name="connsiteY288" fmla="*/ 34961 h 186080"/>
              <a:gd name="connsiteX289" fmla="*/ 89657 w 332689"/>
              <a:gd name="connsiteY289" fmla="*/ 37216 h 186080"/>
              <a:gd name="connsiteX290" fmla="*/ 90221 w 332689"/>
              <a:gd name="connsiteY290" fmla="*/ 41163 h 186080"/>
              <a:gd name="connsiteX291" fmla="*/ 93040 w 332689"/>
              <a:gd name="connsiteY291" fmla="*/ 43419 h 186080"/>
              <a:gd name="connsiteX292" fmla="*/ 95860 w 332689"/>
              <a:gd name="connsiteY292" fmla="*/ 46802 h 186080"/>
              <a:gd name="connsiteX293" fmla="*/ 96987 w 332689"/>
              <a:gd name="connsiteY293" fmla="*/ 47366 h 186080"/>
              <a:gd name="connsiteX294" fmla="*/ 98115 w 332689"/>
              <a:gd name="connsiteY294" fmla="*/ 48494 h 186080"/>
              <a:gd name="connsiteX295" fmla="*/ 100370 w 332689"/>
              <a:gd name="connsiteY295" fmla="*/ 51313 h 186080"/>
              <a:gd name="connsiteX296" fmla="*/ 104882 w 332689"/>
              <a:gd name="connsiteY296" fmla="*/ 53569 h 186080"/>
              <a:gd name="connsiteX297" fmla="*/ 109393 w 332689"/>
              <a:gd name="connsiteY297" fmla="*/ 56952 h 186080"/>
              <a:gd name="connsiteX298" fmla="*/ 111084 w 332689"/>
              <a:gd name="connsiteY298" fmla="*/ 57516 h 186080"/>
              <a:gd name="connsiteX299" fmla="*/ 112776 w 332689"/>
              <a:gd name="connsiteY299" fmla="*/ 59207 h 186080"/>
              <a:gd name="connsiteX300" fmla="*/ 121234 w 332689"/>
              <a:gd name="connsiteY300" fmla="*/ 63155 h 186080"/>
              <a:gd name="connsiteX301" fmla="*/ 124054 w 332689"/>
              <a:gd name="connsiteY301" fmla="*/ 67102 h 186080"/>
              <a:gd name="connsiteX302" fmla="*/ 128000 w 332689"/>
              <a:gd name="connsiteY302" fmla="*/ 69921 h 186080"/>
              <a:gd name="connsiteX303" fmla="*/ 128000 w 332689"/>
              <a:gd name="connsiteY303" fmla="*/ 69357 h 186080"/>
              <a:gd name="connsiteX304" fmla="*/ 5075 w 332689"/>
              <a:gd name="connsiteY304" fmla="*/ 17480 h 186080"/>
              <a:gd name="connsiteX305" fmla="*/ 6203 w 332689"/>
              <a:gd name="connsiteY305" fmla="*/ 15789 h 186080"/>
              <a:gd name="connsiteX306" fmla="*/ 2256 w 332689"/>
              <a:gd name="connsiteY306" fmla="*/ 12969 h 186080"/>
              <a:gd name="connsiteX307" fmla="*/ 1127 w 332689"/>
              <a:gd name="connsiteY307" fmla="*/ 14661 h 186080"/>
              <a:gd name="connsiteX308" fmla="*/ 0 w 332689"/>
              <a:gd name="connsiteY308" fmla="*/ 17480 h 186080"/>
              <a:gd name="connsiteX309" fmla="*/ 2256 w 332689"/>
              <a:gd name="connsiteY309" fmla="*/ 18608 h 186080"/>
              <a:gd name="connsiteX310" fmla="*/ 5075 w 332689"/>
              <a:gd name="connsiteY310" fmla="*/ 17480 h 186080"/>
              <a:gd name="connsiteX311" fmla="*/ 56388 w 332689"/>
              <a:gd name="connsiteY311" fmla="*/ 25938 h 186080"/>
              <a:gd name="connsiteX312" fmla="*/ 55824 w 332689"/>
              <a:gd name="connsiteY312" fmla="*/ 25375 h 186080"/>
              <a:gd name="connsiteX313" fmla="*/ 54132 w 332689"/>
              <a:gd name="connsiteY313" fmla="*/ 25375 h 186080"/>
              <a:gd name="connsiteX314" fmla="*/ 51877 w 332689"/>
              <a:gd name="connsiteY314" fmla="*/ 24247 h 186080"/>
              <a:gd name="connsiteX315" fmla="*/ 47930 w 332689"/>
              <a:gd name="connsiteY315" fmla="*/ 19736 h 186080"/>
              <a:gd name="connsiteX316" fmla="*/ 46802 w 332689"/>
              <a:gd name="connsiteY316" fmla="*/ 18044 h 186080"/>
              <a:gd name="connsiteX317" fmla="*/ 45674 w 332689"/>
              <a:gd name="connsiteY317" fmla="*/ 12405 h 186080"/>
              <a:gd name="connsiteX318" fmla="*/ 43418 w 332689"/>
              <a:gd name="connsiteY318" fmla="*/ 10150 h 186080"/>
              <a:gd name="connsiteX319" fmla="*/ 35524 w 332689"/>
              <a:gd name="connsiteY319" fmla="*/ 5639 h 186080"/>
              <a:gd name="connsiteX320" fmla="*/ 31013 w 332689"/>
              <a:gd name="connsiteY320" fmla="*/ 1128 h 186080"/>
              <a:gd name="connsiteX321" fmla="*/ 27066 w 332689"/>
              <a:gd name="connsiteY321" fmla="*/ 0 h 186080"/>
              <a:gd name="connsiteX322" fmla="*/ 25938 w 332689"/>
              <a:gd name="connsiteY322" fmla="*/ 1128 h 186080"/>
              <a:gd name="connsiteX323" fmla="*/ 25938 w 332689"/>
              <a:gd name="connsiteY323" fmla="*/ 3947 h 186080"/>
              <a:gd name="connsiteX324" fmla="*/ 27066 w 332689"/>
              <a:gd name="connsiteY324" fmla="*/ 5639 h 186080"/>
              <a:gd name="connsiteX325" fmla="*/ 32705 w 332689"/>
              <a:gd name="connsiteY325" fmla="*/ 10714 h 186080"/>
              <a:gd name="connsiteX326" fmla="*/ 38908 w 332689"/>
              <a:gd name="connsiteY326" fmla="*/ 20300 h 186080"/>
              <a:gd name="connsiteX327" fmla="*/ 44547 w 332689"/>
              <a:gd name="connsiteY327" fmla="*/ 25938 h 186080"/>
              <a:gd name="connsiteX328" fmla="*/ 49057 w 332689"/>
              <a:gd name="connsiteY328" fmla="*/ 26502 h 186080"/>
              <a:gd name="connsiteX329" fmla="*/ 51313 w 332689"/>
              <a:gd name="connsiteY329" fmla="*/ 26502 h 186080"/>
              <a:gd name="connsiteX330" fmla="*/ 51313 w 332689"/>
              <a:gd name="connsiteY330" fmla="*/ 27066 h 186080"/>
              <a:gd name="connsiteX331" fmla="*/ 51877 w 332689"/>
              <a:gd name="connsiteY331" fmla="*/ 28194 h 186080"/>
              <a:gd name="connsiteX332" fmla="*/ 54696 w 332689"/>
              <a:gd name="connsiteY332" fmla="*/ 29322 h 186080"/>
              <a:gd name="connsiteX333" fmla="*/ 57515 w 332689"/>
              <a:gd name="connsiteY333" fmla="*/ 27066 h 186080"/>
              <a:gd name="connsiteX334" fmla="*/ 56388 w 332689"/>
              <a:gd name="connsiteY334" fmla="*/ 25938 h 186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</a:cxnLst>
            <a:rect l="l" t="t" r="r" b="b"/>
            <a:pathLst>
              <a:path w="332689" h="186080">
                <a:moveTo>
                  <a:pt x="336636" y="181569"/>
                </a:moveTo>
                <a:lnTo>
                  <a:pt x="335509" y="180442"/>
                </a:lnTo>
                <a:lnTo>
                  <a:pt x="334945" y="178186"/>
                </a:lnTo>
                <a:lnTo>
                  <a:pt x="333253" y="178186"/>
                </a:lnTo>
                <a:lnTo>
                  <a:pt x="331561" y="178750"/>
                </a:lnTo>
                <a:lnTo>
                  <a:pt x="332689" y="182133"/>
                </a:lnTo>
                <a:lnTo>
                  <a:pt x="333817" y="182133"/>
                </a:lnTo>
                <a:lnTo>
                  <a:pt x="336636" y="181569"/>
                </a:lnTo>
                <a:close/>
                <a:moveTo>
                  <a:pt x="135895" y="186080"/>
                </a:moveTo>
                <a:lnTo>
                  <a:pt x="135331" y="184953"/>
                </a:lnTo>
                <a:lnTo>
                  <a:pt x="132512" y="182697"/>
                </a:lnTo>
                <a:lnTo>
                  <a:pt x="121798" y="175367"/>
                </a:lnTo>
                <a:lnTo>
                  <a:pt x="119542" y="174803"/>
                </a:lnTo>
                <a:lnTo>
                  <a:pt x="118979" y="175367"/>
                </a:lnTo>
                <a:lnTo>
                  <a:pt x="118415" y="177058"/>
                </a:lnTo>
                <a:lnTo>
                  <a:pt x="118979" y="178186"/>
                </a:lnTo>
                <a:lnTo>
                  <a:pt x="121798" y="178750"/>
                </a:lnTo>
                <a:lnTo>
                  <a:pt x="121798" y="179314"/>
                </a:lnTo>
                <a:lnTo>
                  <a:pt x="123490" y="180442"/>
                </a:lnTo>
                <a:lnTo>
                  <a:pt x="127437" y="181569"/>
                </a:lnTo>
                <a:lnTo>
                  <a:pt x="129692" y="183261"/>
                </a:lnTo>
                <a:lnTo>
                  <a:pt x="130256" y="186080"/>
                </a:lnTo>
                <a:lnTo>
                  <a:pt x="131948" y="186644"/>
                </a:lnTo>
                <a:lnTo>
                  <a:pt x="133639" y="187208"/>
                </a:lnTo>
                <a:lnTo>
                  <a:pt x="135895" y="186080"/>
                </a:lnTo>
                <a:close/>
                <a:moveTo>
                  <a:pt x="316337" y="148864"/>
                </a:moveTo>
                <a:lnTo>
                  <a:pt x="316337" y="148300"/>
                </a:lnTo>
                <a:lnTo>
                  <a:pt x="317464" y="146609"/>
                </a:lnTo>
                <a:lnTo>
                  <a:pt x="316337" y="146045"/>
                </a:lnTo>
                <a:lnTo>
                  <a:pt x="313517" y="145481"/>
                </a:lnTo>
                <a:lnTo>
                  <a:pt x="309570" y="146045"/>
                </a:lnTo>
                <a:lnTo>
                  <a:pt x="307878" y="147173"/>
                </a:lnTo>
                <a:lnTo>
                  <a:pt x="306751" y="148864"/>
                </a:lnTo>
                <a:lnTo>
                  <a:pt x="305623" y="148864"/>
                </a:lnTo>
                <a:lnTo>
                  <a:pt x="305623" y="149992"/>
                </a:lnTo>
                <a:lnTo>
                  <a:pt x="306186" y="152248"/>
                </a:lnTo>
                <a:lnTo>
                  <a:pt x="307315" y="151684"/>
                </a:lnTo>
                <a:lnTo>
                  <a:pt x="308442" y="152248"/>
                </a:lnTo>
                <a:lnTo>
                  <a:pt x="311262" y="149428"/>
                </a:lnTo>
                <a:lnTo>
                  <a:pt x="312953" y="149428"/>
                </a:lnTo>
                <a:lnTo>
                  <a:pt x="313517" y="149428"/>
                </a:lnTo>
                <a:lnTo>
                  <a:pt x="316337" y="148864"/>
                </a:lnTo>
                <a:close/>
                <a:moveTo>
                  <a:pt x="178750" y="135895"/>
                </a:moveTo>
                <a:lnTo>
                  <a:pt x="178186" y="134767"/>
                </a:lnTo>
                <a:lnTo>
                  <a:pt x="177058" y="134203"/>
                </a:lnTo>
                <a:lnTo>
                  <a:pt x="171983" y="130256"/>
                </a:lnTo>
                <a:lnTo>
                  <a:pt x="169164" y="129128"/>
                </a:lnTo>
                <a:lnTo>
                  <a:pt x="166345" y="129128"/>
                </a:lnTo>
                <a:lnTo>
                  <a:pt x="165781" y="131948"/>
                </a:lnTo>
                <a:lnTo>
                  <a:pt x="165781" y="133640"/>
                </a:lnTo>
                <a:lnTo>
                  <a:pt x="169164" y="133640"/>
                </a:lnTo>
                <a:lnTo>
                  <a:pt x="171420" y="134767"/>
                </a:lnTo>
                <a:lnTo>
                  <a:pt x="171420" y="138151"/>
                </a:lnTo>
                <a:lnTo>
                  <a:pt x="172547" y="139278"/>
                </a:lnTo>
                <a:lnTo>
                  <a:pt x="172547" y="142098"/>
                </a:lnTo>
                <a:lnTo>
                  <a:pt x="179313" y="147173"/>
                </a:lnTo>
                <a:lnTo>
                  <a:pt x="183261" y="149428"/>
                </a:lnTo>
                <a:lnTo>
                  <a:pt x="187208" y="149992"/>
                </a:lnTo>
                <a:lnTo>
                  <a:pt x="189464" y="151120"/>
                </a:lnTo>
                <a:lnTo>
                  <a:pt x="192283" y="150556"/>
                </a:lnTo>
                <a:lnTo>
                  <a:pt x="195102" y="151684"/>
                </a:lnTo>
                <a:lnTo>
                  <a:pt x="197358" y="151120"/>
                </a:lnTo>
                <a:lnTo>
                  <a:pt x="195102" y="149428"/>
                </a:lnTo>
                <a:lnTo>
                  <a:pt x="195102" y="147173"/>
                </a:lnTo>
                <a:lnTo>
                  <a:pt x="192283" y="139842"/>
                </a:lnTo>
                <a:lnTo>
                  <a:pt x="190591" y="138151"/>
                </a:lnTo>
                <a:lnTo>
                  <a:pt x="187772" y="138714"/>
                </a:lnTo>
                <a:lnTo>
                  <a:pt x="184952" y="137587"/>
                </a:lnTo>
                <a:lnTo>
                  <a:pt x="182697" y="137587"/>
                </a:lnTo>
                <a:lnTo>
                  <a:pt x="178750" y="135895"/>
                </a:lnTo>
                <a:close/>
                <a:moveTo>
                  <a:pt x="176494" y="108265"/>
                </a:moveTo>
                <a:lnTo>
                  <a:pt x="173111" y="99243"/>
                </a:lnTo>
                <a:lnTo>
                  <a:pt x="171983" y="98679"/>
                </a:lnTo>
                <a:lnTo>
                  <a:pt x="172547" y="102062"/>
                </a:lnTo>
                <a:lnTo>
                  <a:pt x="173111" y="104318"/>
                </a:lnTo>
                <a:lnTo>
                  <a:pt x="172547" y="107137"/>
                </a:lnTo>
                <a:lnTo>
                  <a:pt x="171983" y="110520"/>
                </a:lnTo>
                <a:lnTo>
                  <a:pt x="173111" y="111648"/>
                </a:lnTo>
                <a:lnTo>
                  <a:pt x="174239" y="110520"/>
                </a:lnTo>
                <a:lnTo>
                  <a:pt x="176494" y="113340"/>
                </a:lnTo>
                <a:lnTo>
                  <a:pt x="176494" y="112212"/>
                </a:lnTo>
                <a:lnTo>
                  <a:pt x="176494" y="108265"/>
                </a:lnTo>
                <a:close/>
                <a:moveTo>
                  <a:pt x="121234" y="95860"/>
                </a:moveTo>
                <a:lnTo>
                  <a:pt x="119542" y="95296"/>
                </a:lnTo>
                <a:lnTo>
                  <a:pt x="117287" y="96987"/>
                </a:lnTo>
                <a:lnTo>
                  <a:pt x="116723" y="98679"/>
                </a:lnTo>
                <a:lnTo>
                  <a:pt x="116159" y="102626"/>
                </a:lnTo>
                <a:lnTo>
                  <a:pt x="116159" y="104882"/>
                </a:lnTo>
                <a:lnTo>
                  <a:pt x="117851" y="108829"/>
                </a:lnTo>
                <a:lnTo>
                  <a:pt x="119542" y="111648"/>
                </a:lnTo>
                <a:lnTo>
                  <a:pt x="121234" y="113340"/>
                </a:lnTo>
                <a:lnTo>
                  <a:pt x="122362" y="114468"/>
                </a:lnTo>
                <a:lnTo>
                  <a:pt x="127437" y="115031"/>
                </a:lnTo>
                <a:lnTo>
                  <a:pt x="137022" y="115595"/>
                </a:lnTo>
                <a:lnTo>
                  <a:pt x="142097" y="117851"/>
                </a:lnTo>
                <a:lnTo>
                  <a:pt x="147173" y="118979"/>
                </a:lnTo>
                <a:lnTo>
                  <a:pt x="149428" y="118415"/>
                </a:lnTo>
                <a:lnTo>
                  <a:pt x="152248" y="117287"/>
                </a:lnTo>
                <a:lnTo>
                  <a:pt x="152811" y="116723"/>
                </a:lnTo>
                <a:lnTo>
                  <a:pt x="152248" y="113340"/>
                </a:lnTo>
                <a:lnTo>
                  <a:pt x="151119" y="111648"/>
                </a:lnTo>
                <a:lnTo>
                  <a:pt x="148864" y="110520"/>
                </a:lnTo>
                <a:lnTo>
                  <a:pt x="147736" y="107137"/>
                </a:lnTo>
                <a:lnTo>
                  <a:pt x="144917" y="104882"/>
                </a:lnTo>
                <a:lnTo>
                  <a:pt x="139842" y="100934"/>
                </a:lnTo>
                <a:lnTo>
                  <a:pt x="130820" y="100934"/>
                </a:lnTo>
                <a:lnTo>
                  <a:pt x="127437" y="101498"/>
                </a:lnTo>
                <a:lnTo>
                  <a:pt x="121234" y="95860"/>
                </a:lnTo>
                <a:close/>
                <a:moveTo>
                  <a:pt x="135895" y="85710"/>
                </a:moveTo>
                <a:lnTo>
                  <a:pt x="133076" y="86837"/>
                </a:lnTo>
                <a:lnTo>
                  <a:pt x="133076" y="88529"/>
                </a:lnTo>
                <a:lnTo>
                  <a:pt x="135331" y="89093"/>
                </a:lnTo>
                <a:lnTo>
                  <a:pt x="137587" y="90221"/>
                </a:lnTo>
                <a:lnTo>
                  <a:pt x="138151" y="91912"/>
                </a:lnTo>
                <a:lnTo>
                  <a:pt x="138151" y="91912"/>
                </a:lnTo>
                <a:lnTo>
                  <a:pt x="139278" y="91349"/>
                </a:lnTo>
                <a:lnTo>
                  <a:pt x="141534" y="92476"/>
                </a:lnTo>
                <a:lnTo>
                  <a:pt x="142661" y="90785"/>
                </a:lnTo>
                <a:lnTo>
                  <a:pt x="140406" y="87965"/>
                </a:lnTo>
                <a:lnTo>
                  <a:pt x="138151" y="86274"/>
                </a:lnTo>
                <a:lnTo>
                  <a:pt x="137587" y="86274"/>
                </a:lnTo>
                <a:lnTo>
                  <a:pt x="135895" y="85710"/>
                </a:lnTo>
                <a:close/>
                <a:moveTo>
                  <a:pt x="104318" y="90221"/>
                </a:moveTo>
                <a:lnTo>
                  <a:pt x="106009" y="89093"/>
                </a:lnTo>
                <a:lnTo>
                  <a:pt x="106009" y="86837"/>
                </a:lnTo>
                <a:lnTo>
                  <a:pt x="104318" y="86837"/>
                </a:lnTo>
                <a:lnTo>
                  <a:pt x="103754" y="85710"/>
                </a:lnTo>
                <a:lnTo>
                  <a:pt x="102626" y="85710"/>
                </a:lnTo>
                <a:lnTo>
                  <a:pt x="100935" y="86837"/>
                </a:lnTo>
                <a:lnTo>
                  <a:pt x="99806" y="88529"/>
                </a:lnTo>
                <a:lnTo>
                  <a:pt x="100370" y="89657"/>
                </a:lnTo>
                <a:lnTo>
                  <a:pt x="102626" y="89657"/>
                </a:lnTo>
                <a:lnTo>
                  <a:pt x="103754" y="90221"/>
                </a:lnTo>
                <a:lnTo>
                  <a:pt x="104318" y="90221"/>
                </a:lnTo>
                <a:close/>
                <a:moveTo>
                  <a:pt x="56952" y="77252"/>
                </a:moveTo>
                <a:lnTo>
                  <a:pt x="56388" y="76124"/>
                </a:lnTo>
                <a:lnTo>
                  <a:pt x="54696" y="74996"/>
                </a:lnTo>
                <a:lnTo>
                  <a:pt x="53569" y="74996"/>
                </a:lnTo>
                <a:lnTo>
                  <a:pt x="50749" y="75560"/>
                </a:lnTo>
                <a:lnTo>
                  <a:pt x="51313" y="76124"/>
                </a:lnTo>
                <a:lnTo>
                  <a:pt x="54696" y="77815"/>
                </a:lnTo>
                <a:lnTo>
                  <a:pt x="56388" y="78379"/>
                </a:lnTo>
                <a:lnTo>
                  <a:pt x="56952" y="77252"/>
                </a:lnTo>
                <a:close/>
                <a:moveTo>
                  <a:pt x="74432" y="79507"/>
                </a:moveTo>
                <a:lnTo>
                  <a:pt x="76124" y="78379"/>
                </a:lnTo>
                <a:lnTo>
                  <a:pt x="75560" y="77252"/>
                </a:lnTo>
                <a:lnTo>
                  <a:pt x="74996" y="74432"/>
                </a:lnTo>
                <a:lnTo>
                  <a:pt x="72741" y="78379"/>
                </a:lnTo>
                <a:lnTo>
                  <a:pt x="73304" y="79507"/>
                </a:lnTo>
                <a:lnTo>
                  <a:pt x="74432" y="79507"/>
                </a:lnTo>
                <a:close/>
                <a:moveTo>
                  <a:pt x="71612" y="74432"/>
                </a:moveTo>
                <a:lnTo>
                  <a:pt x="71612" y="73304"/>
                </a:lnTo>
                <a:lnTo>
                  <a:pt x="71612" y="72177"/>
                </a:lnTo>
                <a:lnTo>
                  <a:pt x="70485" y="71613"/>
                </a:lnTo>
                <a:lnTo>
                  <a:pt x="72741" y="69921"/>
                </a:lnTo>
                <a:lnTo>
                  <a:pt x="72176" y="69357"/>
                </a:lnTo>
                <a:lnTo>
                  <a:pt x="68793" y="68229"/>
                </a:lnTo>
                <a:lnTo>
                  <a:pt x="67666" y="69357"/>
                </a:lnTo>
                <a:lnTo>
                  <a:pt x="66537" y="69921"/>
                </a:lnTo>
                <a:lnTo>
                  <a:pt x="65974" y="70485"/>
                </a:lnTo>
                <a:lnTo>
                  <a:pt x="65410" y="71049"/>
                </a:lnTo>
                <a:lnTo>
                  <a:pt x="64846" y="73868"/>
                </a:lnTo>
                <a:lnTo>
                  <a:pt x="65974" y="76124"/>
                </a:lnTo>
                <a:lnTo>
                  <a:pt x="68229" y="77252"/>
                </a:lnTo>
                <a:lnTo>
                  <a:pt x="71612" y="74432"/>
                </a:lnTo>
                <a:close/>
                <a:moveTo>
                  <a:pt x="49057" y="75560"/>
                </a:moveTo>
                <a:lnTo>
                  <a:pt x="47366" y="73304"/>
                </a:lnTo>
                <a:lnTo>
                  <a:pt x="47930" y="70485"/>
                </a:lnTo>
                <a:lnTo>
                  <a:pt x="49057" y="69921"/>
                </a:lnTo>
                <a:lnTo>
                  <a:pt x="50185" y="67102"/>
                </a:lnTo>
                <a:lnTo>
                  <a:pt x="49621" y="64846"/>
                </a:lnTo>
                <a:lnTo>
                  <a:pt x="48494" y="65410"/>
                </a:lnTo>
                <a:lnTo>
                  <a:pt x="44547" y="68793"/>
                </a:lnTo>
                <a:lnTo>
                  <a:pt x="43982" y="70485"/>
                </a:lnTo>
                <a:lnTo>
                  <a:pt x="47366" y="74996"/>
                </a:lnTo>
                <a:lnTo>
                  <a:pt x="49057" y="76124"/>
                </a:lnTo>
                <a:lnTo>
                  <a:pt x="49057" y="75560"/>
                </a:lnTo>
                <a:close/>
                <a:moveTo>
                  <a:pt x="122362" y="68229"/>
                </a:moveTo>
                <a:lnTo>
                  <a:pt x="121234" y="65974"/>
                </a:lnTo>
                <a:lnTo>
                  <a:pt x="121234" y="64846"/>
                </a:lnTo>
                <a:lnTo>
                  <a:pt x="119542" y="63718"/>
                </a:lnTo>
                <a:lnTo>
                  <a:pt x="118415" y="64282"/>
                </a:lnTo>
                <a:lnTo>
                  <a:pt x="117851" y="65974"/>
                </a:lnTo>
                <a:lnTo>
                  <a:pt x="118415" y="67102"/>
                </a:lnTo>
                <a:lnTo>
                  <a:pt x="120670" y="68793"/>
                </a:lnTo>
                <a:lnTo>
                  <a:pt x="122362" y="68229"/>
                </a:lnTo>
                <a:close/>
                <a:moveTo>
                  <a:pt x="156194" y="61463"/>
                </a:moveTo>
                <a:lnTo>
                  <a:pt x="155067" y="61463"/>
                </a:lnTo>
                <a:lnTo>
                  <a:pt x="154503" y="62027"/>
                </a:lnTo>
                <a:lnTo>
                  <a:pt x="153375" y="62027"/>
                </a:lnTo>
                <a:lnTo>
                  <a:pt x="151684" y="62027"/>
                </a:lnTo>
                <a:lnTo>
                  <a:pt x="151119" y="63155"/>
                </a:lnTo>
                <a:lnTo>
                  <a:pt x="154503" y="69357"/>
                </a:lnTo>
                <a:lnTo>
                  <a:pt x="152811" y="72177"/>
                </a:lnTo>
                <a:lnTo>
                  <a:pt x="155067" y="84582"/>
                </a:lnTo>
                <a:lnTo>
                  <a:pt x="157323" y="91349"/>
                </a:lnTo>
                <a:lnTo>
                  <a:pt x="161833" y="95860"/>
                </a:lnTo>
                <a:lnTo>
                  <a:pt x="161833" y="96987"/>
                </a:lnTo>
                <a:lnTo>
                  <a:pt x="166345" y="99807"/>
                </a:lnTo>
                <a:lnTo>
                  <a:pt x="169728" y="107137"/>
                </a:lnTo>
                <a:lnTo>
                  <a:pt x="170855" y="107701"/>
                </a:lnTo>
                <a:lnTo>
                  <a:pt x="171420" y="106573"/>
                </a:lnTo>
                <a:lnTo>
                  <a:pt x="171420" y="103190"/>
                </a:lnTo>
                <a:lnTo>
                  <a:pt x="168600" y="96987"/>
                </a:lnTo>
                <a:lnTo>
                  <a:pt x="169164" y="92476"/>
                </a:lnTo>
                <a:lnTo>
                  <a:pt x="168036" y="90785"/>
                </a:lnTo>
                <a:lnTo>
                  <a:pt x="168036" y="89093"/>
                </a:lnTo>
                <a:lnTo>
                  <a:pt x="166908" y="84582"/>
                </a:lnTo>
                <a:lnTo>
                  <a:pt x="163525" y="80635"/>
                </a:lnTo>
                <a:lnTo>
                  <a:pt x="161833" y="80071"/>
                </a:lnTo>
                <a:lnTo>
                  <a:pt x="160706" y="78379"/>
                </a:lnTo>
                <a:lnTo>
                  <a:pt x="161833" y="74996"/>
                </a:lnTo>
                <a:lnTo>
                  <a:pt x="162961" y="73868"/>
                </a:lnTo>
                <a:lnTo>
                  <a:pt x="163525" y="72177"/>
                </a:lnTo>
                <a:lnTo>
                  <a:pt x="156194" y="61463"/>
                </a:lnTo>
                <a:close/>
                <a:moveTo>
                  <a:pt x="62591" y="58643"/>
                </a:moveTo>
                <a:lnTo>
                  <a:pt x="59207" y="57516"/>
                </a:lnTo>
                <a:lnTo>
                  <a:pt x="58079" y="55824"/>
                </a:lnTo>
                <a:lnTo>
                  <a:pt x="58079" y="50185"/>
                </a:lnTo>
                <a:lnTo>
                  <a:pt x="54696" y="48494"/>
                </a:lnTo>
                <a:lnTo>
                  <a:pt x="53005" y="49621"/>
                </a:lnTo>
                <a:lnTo>
                  <a:pt x="49621" y="53569"/>
                </a:lnTo>
                <a:lnTo>
                  <a:pt x="48494" y="55824"/>
                </a:lnTo>
                <a:lnTo>
                  <a:pt x="45674" y="57516"/>
                </a:lnTo>
                <a:lnTo>
                  <a:pt x="45110" y="59207"/>
                </a:lnTo>
                <a:lnTo>
                  <a:pt x="45110" y="61463"/>
                </a:lnTo>
                <a:lnTo>
                  <a:pt x="47366" y="62027"/>
                </a:lnTo>
                <a:lnTo>
                  <a:pt x="49057" y="59771"/>
                </a:lnTo>
                <a:lnTo>
                  <a:pt x="54132" y="59207"/>
                </a:lnTo>
                <a:lnTo>
                  <a:pt x="55824" y="59771"/>
                </a:lnTo>
                <a:lnTo>
                  <a:pt x="55824" y="62027"/>
                </a:lnTo>
                <a:lnTo>
                  <a:pt x="56388" y="65974"/>
                </a:lnTo>
                <a:lnTo>
                  <a:pt x="58079" y="67666"/>
                </a:lnTo>
                <a:lnTo>
                  <a:pt x="60899" y="68793"/>
                </a:lnTo>
                <a:lnTo>
                  <a:pt x="63154" y="72177"/>
                </a:lnTo>
                <a:lnTo>
                  <a:pt x="63718" y="70485"/>
                </a:lnTo>
                <a:lnTo>
                  <a:pt x="64846" y="70485"/>
                </a:lnTo>
                <a:lnTo>
                  <a:pt x="65974" y="68229"/>
                </a:lnTo>
                <a:lnTo>
                  <a:pt x="64282" y="61463"/>
                </a:lnTo>
                <a:lnTo>
                  <a:pt x="62591" y="58643"/>
                </a:lnTo>
                <a:close/>
                <a:moveTo>
                  <a:pt x="25938" y="56388"/>
                </a:moveTo>
                <a:lnTo>
                  <a:pt x="26502" y="53569"/>
                </a:lnTo>
                <a:lnTo>
                  <a:pt x="25938" y="48494"/>
                </a:lnTo>
                <a:lnTo>
                  <a:pt x="24811" y="49058"/>
                </a:lnTo>
                <a:lnTo>
                  <a:pt x="24811" y="50185"/>
                </a:lnTo>
                <a:lnTo>
                  <a:pt x="24246" y="52441"/>
                </a:lnTo>
                <a:lnTo>
                  <a:pt x="25375" y="56952"/>
                </a:lnTo>
                <a:lnTo>
                  <a:pt x="25938" y="56388"/>
                </a:lnTo>
                <a:close/>
                <a:moveTo>
                  <a:pt x="43982" y="54132"/>
                </a:moveTo>
                <a:lnTo>
                  <a:pt x="45110" y="53005"/>
                </a:lnTo>
                <a:lnTo>
                  <a:pt x="45110" y="50749"/>
                </a:lnTo>
                <a:lnTo>
                  <a:pt x="45110" y="47930"/>
                </a:lnTo>
                <a:lnTo>
                  <a:pt x="43982" y="45674"/>
                </a:lnTo>
                <a:lnTo>
                  <a:pt x="42855" y="44546"/>
                </a:lnTo>
                <a:lnTo>
                  <a:pt x="40035" y="45110"/>
                </a:lnTo>
                <a:lnTo>
                  <a:pt x="37780" y="47930"/>
                </a:lnTo>
                <a:lnTo>
                  <a:pt x="37780" y="50749"/>
                </a:lnTo>
                <a:lnTo>
                  <a:pt x="40035" y="54132"/>
                </a:lnTo>
                <a:lnTo>
                  <a:pt x="43418" y="54132"/>
                </a:lnTo>
                <a:lnTo>
                  <a:pt x="43982" y="54132"/>
                </a:lnTo>
                <a:close/>
                <a:moveTo>
                  <a:pt x="29321" y="47366"/>
                </a:moveTo>
                <a:lnTo>
                  <a:pt x="30450" y="45674"/>
                </a:lnTo>
                <a:lnTo>
                  <a:pt x="33269" y="41727"/>
                </a:lnTo>
                <a:lnTo>
                  <a:pt x="33833" y="40035"/>
                </a:lnTo>
                <a:lnTo>
                  <a:pt x="31013" y="38908"/>
                </a:lnTo>
                <a:lnTo>
                  <a:pt x="28758" y="36088"/>
                </a:lnTo>
                <a:lnTo>
                  <a:pt x="26502" y="34961"/>
                </a:lnTo>
                <a:lnTo>
                  <a:pt x="24811" y="37216"/>
                </a:lnTo>
                <a:lnTo>
                  <a:pt x="24811" y="39472"/>
                </a:lnTo>
                <a:lnTo>
                  <a:pt x="27630" y="42855"/>
                </a:lnTo>
                <a:lnTo>
                  <a:pt x="27066" y="45110"/>
                </a:lnTo>
                <a:lnTo>
                  <a:pt x="28194" y="45674"/>
                </a:lnTo>
                <a:lnTo>
                  <a:pt x="28758" y="47930"/>
                </a:lnTo>
                <a:lnTo>
                  <a:pt x="29321" y="47366"/>
                </a:lnTo>
                <a:close/>
                <a:moveTo>
                  <a:pt x="128000" y="69357"/>
                </a:moveTo>
                <a:lnTo>
                  <a:pt x="127437" y="66538"/>
                </a:lnTo>
                <a:lnTo>
                  <a:pt x="125745" y="64282"/>
                </a:lnTo>
                <a:lnTo>
                  <a:pt x="128000" y="61463"/>
                </a:lnTo>
                <a:lnTo>
                  <a:pt x="115595" y="50749"/>
                </a:lnTo>
                <a:lnTo>
                  <a:pt x="113903" y="49621"/>
                </a:lnTo>
                <a:lnTo>
                  <a:pt x="111648" y="49058"/>
                </a:lnTo>
                <a:lnTo>
                  <a:pt x="108828" y="46802"/>
                </a:lnTo>
                <a:lnTo>
                  <a:pt x="106009" y="46238"/>
                </a:lnTo>
                <a:lnTo>
                  <a:pt x="103190" y="43983"/>
                </a:lnTo>
                <a:lnTo>
                  <a:pt x="102062" y="42291"/>
                </a:lnTo>
                <a:lnTo>
                  <a:pt x="98679" y="40035"/>
                </a:lnTo>
                <a:lnTo>
                  <a:pt x="95296" y="35524"/>
                </a:lnTo>
                <a:lnTo>
                  <a:pt x="86838" y="33833"/>
                </a:lnTo>
                <a:lnTo>
                  <a:pt x="87401" y="34961"/>
                </a:lnTo>
                <a:lnTo>
                  <a:pt x="89657" y="37216"/>
                </a:lnTo>
                <a:lnTo>
                  <a:pt x="90221" y="41163"/>
                </a:lnTo>
                <a:lnTo>
                  <a:pt x="93040" y="43419"/>
                </a:lnTo>
                <a:lnTo>
                  <a:pt x="95860" y="46802"/>
                </a:lnTo>
                <a:lnTo>
                  <a:pt x="96987" y="47366"/>
                </a:lnTo>
                <a:lnTo>
                  <a:pt x="98115" y="48494"/>
                </a:lnTo>
                <a:lnTo>
                  <a:pt x="100370" y="51313"/>
                </a:lnTo>
                <a:lnTo>
                  <a:pt x="104882" y="53569"/>
                </a:lnTo>
                <a:lnTo>
                  <a:pt x="109393" y="56952"/>
                </a:lnTo>
                <a:lnTo>
                  <a:pt x="111084" y="57516"/>
                </a:lnTo>
                <a:lnTo>
                  <a:pt x="112776" y="59207"/>
                </a:lnTo>
                <a:lnTo>
                  <a:pt x="121234" y="63155"/>
                </a:lnTo>
                <a:lnTo>
                  <a:pt x="124054" y="67102"/>
                </a:lnTo>
                <a:lnTo>
                  <a:pt x="128000" y="69921"/>
                </a:lnTo>
                <a:lnTo>
                  <a:pt x="128000" y="69357"/>
                </a:lnTo>
                <a:close/>
                <a:moveTo>
                  <a:pt x="5075" y="17480"/>
                </a:moveTo>
                <a:lnTo>
                  <a:pt x="6203" y="15789"/>
                </a:lnTo>
                <a:lnTo>
                  <a:pt x="2256" y="12969"/>
                </a:lnTo>
                <a:lnTo>
                  <a:pt x="1127" y="14661"/>
                </a:lnTo>
                <a:lnTo>
                  <a:pt x="0" y="17480"/>
                </a:lnTo>
                <a:lnTo>
                  <a:pt x="2256" y="18608"/>
                </a:lnTo>
                <a:lnTo>
                  <a:pt x="5075" y="17480"/>
                </a:lnTo>
                <a:close/>
                <a:moveTo>
                  <a:pt x="56388" y="25938"/>
                </a:moveTo>
                <a:lnTo>
                  <a:pt x="55824" y="25375"/>
                </a:lnTo>
                <a:lnTo>
                  <a:pt x="54132" y="25375"/>
                </a:lnTo>
                <a:lnTo>
                  <a:pt x="51877" y="24247"/>
                </a:lnTo>
                <a:lnTo>
                  <a:pt x="47930" y="19736"/>
                </a:lnTo>
                <a:lnTo>
                  <a:pt x="46802" y="18044"/>
                </a:lnTo>
                <a:lnTo>
                  <a:pt x="45674" y="12405"/>
                </a:lnTo>
                <a:lnTo>
                  <a:pt x="43418" y="10150"/>
                </a:lnTo>
                <a:lnTo>
                  <a:pt x="35524" y="5639"/>
                </a:lnTo>
                <a:lnTo>
                  <a:pt x="31013" y="1128"/>
                </a:lnTo>
                <a:lnTo>
                  <a:pt x="27066" y="0"/>
                </a:lnTo>
                <a:lnTo>
                  <a:pt x="25938" y="1128"/>
                </a:lnTo>
                <a:lnTo>
                  <a:pt x="25938" y="3947"/>
                </a:lnTo>
                <a:lnTo>
                  <a:pt x="27066" y="5639"/>
                </a:lnTo>
                <a:lnTo>
                  <a:pt x="32705" y="10714"/>
                </a:lnTo>
                <a:lnTo>
                  <a:pt x="38908" y="20300"/>
                </a:lnTo>
                <a:lnTo>
                  <a:pt x="44547" y="25938"/>
                </a:lnTo>
                <a:lnTo>
                  <a:pt x="49057" y="26502"/>
                </a:lnTo>
                <a:lnTo>
                  <a:pt x="51313" y="26502"/>
                </a:lnTo>
                <a:lnTo>
                  <a:pt x="51313" y="27066"/>
                </a:lnTo>
                <a:lnTo>
                  <a:pt x="51877" y="28194"/>
                </a:lnTo>
                <a:lnTo>
                  <a:pt x="54696" y="29322"/>
                </a:lnTo>
                <a:lnTo>
                  <a:pt x="57515" y="27066"/>
                </a:lnTo>
                <a:lnTo>
                  <a:pt x="56388" y="25938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4" name="Freeform: Shape 437">
            <a:extLst>
              <a:ext uri="{FF2B5EF4-FFF2-40B4-BE49-F238E27FC236}">
                <a16:creationId xmlns:a16="http://schemas.microsoft.com/office/drawing/2014/main" id="{1F72196F-C1CB-4CD1-95B0-1D91AEEBF1F6}"/>
              </a:ext>
            </a:extLst>
          </p:cNvPr>
          <p:cNvSpPr/>
          <p:nvPr/>
        </p:nvSpPr>
        <p:spPr>
          <a:xfrm>
            <a:off x="5996131" y="4077375"/>
            <a:ext cx="21069" cy="42138"/>
          </a:xfrm>
          <a:custGeom>
            <a:avLst/>
            <a:gdLst>
              <a:gd name="connsiteX0" fmla="*/ 5639 w 28194"/>
              <a:gd name="connsiteY0" fmla="*/ 56388 h 56388"/>
              <a:gd name="connsiteX1" fmla="*/ 8458 w 28194"/>
              <a:gd name="connsiteY1" fmla="*/ 51877 h 56388"/>
              <a:gd name="connsiteX2" fmla="*/ 8458 w 28194"/>
              <a:gd name="connsiteY2" fmla="*/ 49057 h 56388"/>
              <a:gd name="connsiteX3" fmla="*/ 6767 w 28194"/>
              <a:gd name="connsiteY3" fmla="*/ 46238 h 56388"/>
              <a:gd name="connsiteX4" fmla="*/ 4511 w 28194"/>
              <a:gd name="connsiteY4" fmla="*/ 46238 h 56388"/>
              <a:gd name="connsiteX5" fmla="*/ 1692 w 28194"/>
              <a:gd name="connsiteY5" fmla="*/ 48494 h 56388"/>
              <a:gd name="connsiteX6" fmla="*/ 0 w 28194"/>
              <a:gd name="connsiteY6" fmla="*/ 50749 h 56388"/>
              <a:gd name="connsiteX7" fmla="*/ 0 w 28194"/>
              <a:gd name="connsiteY7" fmla="*/ 52441 h 56388"/>
              <a:gd name="connsiteX8" fmla="*/ 564 w 28194"/>
              <a:gd name="connsiteY8" fmla="*/ 56388 h 56388"/>
              <a:gd name="connsiteX9" fmla="*/ 1128 w 28194"/>
              <a:gd name="connsiteY9" fmla="*/ 58080 h 56388"/>
              <a:gd name="connsiteX10" fmla="*/ 2819 w 28194"/>
              <a:gd name="connsiteY10" fmla="*/ 59207 h 56388"/>
              <a:gd name="connsiteX11" fmla="*/ 5639 w 28194"/>
              <a:gd name="connsiteY11" fmla="*/ 56388 h 56388"/>
              <a:gd name="connsiteX12" fmla="*/ 29886 w 28194"/>
              <a:gd name="connsiteY12" fmla="*/ 4511 h 56388"/>
              <a:gd name="connsiteX13" fmla="*/ 31013 w 28194"/>
              <a:gd name="connsiteY13" fmla="*/ 2255 h 56388"/>
              <a:gd name="connsiteX14" fmla="*/ 31013 w 28194"/>
              <a:gd name="connsiteY14" fmla="*/ 1127 h 56388"/>
              <a:gd name="connsiteX15" fmla="*/ 30450 w 28194"/>
              <a:gd name="connsiteY15" fmla="*/ 564 h 56388"/>
              <a:gd name="connsiteX16" fmla="*/ 29886 w 28194"/>
              <a:gd name="connsiteY16" fmla="*/ 0 h 56388"/>
              <a:gd name="connsiteX17" fmla="*/ 28758 w 28194"/>
              <a:gd name="connsiteY17" fmla="*/ 564 h 56388"/>
              <a:gd name="connsiteX18" fmla="*/ 27067 w 28194"/>
              <a:gd name="connsiteY18" fmla="*/ 3383 h 56388"/>
              <a:gd name="connsiteX19" fmla="*/ 27630 w 28194"/>
              <a:gd name="connsiteY19" fmla="*/ 4511 h 56388"/>
              <a:gd name="connsiteX20" fmla="*/ 28758 w 28194"/>
              <a:gd name="connsiteY20" fmla="*/ 5639 h 56388"/>
              <a:gd name="connsiteX21" fmla="*/ 29886 w 28194"/>
              <a:gd name="connsiteY21" fmla="*/ 4511 h 56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28194" h="56388">
                <a:moveTo>
                  <a:pt x="5639" y="56388"/>
                </a:moveTo>
                <a:lnTo>
                  <a:pt x="8458" y="51877"/>
                </a:lnTo>
                <a:lnTo>
                  <a:pt x="8458" y="49057"/>
                </a:lnTo>
                <a:lnTo>
                  <a:pt x="6767" y="46238"/>
                </a:lnTo>
                <a:lnTo>
                  <a:pt x="4511" y="46238"/>
                </a:lnTo>
                <a:lnTo>
                  <a:pt x="1692" y="48494"/>
                </a:lnTo>
                <a:lnTo>
                  <a:pt x="0" y="50749"/>
                </a:lnTo>
                <a:lnTo>
                  <a:pt x="0" y="52441"/>
                </a:lnTo>
                <a:lnTo>
                  <a:pt x="564" y="56388"/>
                </a:lnTo>
                <a:lnTo>
                  <a:pt x="1128" y="58080"/>
                </a:lnTo>
                <a:lnTo>
                  <a:pt x="2819" y="59207"/>
                </a:lnTo>
                <a:lnTo>
                  <a:pt x="5639" y="56388"/>
                </a:lnTo>
                <a:close/>
                <a:moveTo>
                  <a:pt x="29886" y="4511"/>
                </a:moveTo>
                <a:lnTo>
                  <a:pt x="31013" y="2255"/>
                </a:lnTo>
                <a:lnTo>
                  <a:pt x="31013" y="1127"/>
                </a:lnTo>
                <a:lnTo>
                  <a:pt x="30450" y="564"/>
                </a:lnTo>
                <a:lnTo>
                  <a:pt x="29886" y="0"/>
                </a:lnTo>
                <a:lnTo>
                  <a:pt x="28758" y="564"/>
                </a:lnTo>
                <a:lnTo>
                  <a:pt x="27067" y="3383"/>
                </a:lnTo>
                <a:lnTo>
                  <a:pt x="27630" y="4511"/>
                </a:lnTo>
                <a:lnTo>
                  <a:pt x="28758" y="5639"/>
                </a:lnTo>
                <a:lnTo>
                  <a:pt x="29886" y="4511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5" name="Freeform: Shape 438">
            <a:extLst>
              <a:ext uri="{FF2B5EF4-FFF2-40B4-BE49-F238E27FC236}">
                <a16:creationId xmlns:a16="http://schemas.microsoft.com/office/drawing/2014/main" id="{F83E5AFA-1F9C-4476-92B3-393309A4B989}"/>
              </a:ext>
            </a:extLst>
          </p:cNvPr>
          <p:cNvSpPr/>
          <p:nvPr/>
        </p:nvSpPr>
        <p:spPr>
          <a:xfrm>
            <a:off x="4369609" y="3638297"/>
            <a:ext cx="4214" cy="4214"/>
          </a:xfrm>
          <a:custGeom>
            <a:avLst/>
            <a:gdLst>
              <a:gd name="connsiteX0" fmla="*/ 0 w 0"/>
              <a:gd name="connsiteY0" fmla="*/ 0 h 0"/>
              <a:gd name="connsiteX1" fmla="*/ 0 w 0"/>
              <a:gd name="connsiteY1" fmla="*/ 0 h 0"/>
              <a:gd name="connsiteX2" fmla="*/ 1128 w 0"/>
              <a:gd name="connsiteY2" fmla="*/ 1128 h 0"/>
              <a:gd name="connsiteX3" fmla="*/ 2819 w 0"/>
              <a:gd name="connsiteY3" fmla="*/ 1692 h 0"/>
              <a:gd name="connsiteX4" fmla="*/ 3383 w 0"/>
              <a:gd name="connsiteY4" fmla="*/ 1128 h 0"/>
              <a:gd name="connsiteX5" fmla="*/ 3383 w 0"/>
              <a:gd name="connsiteY5" fmla="*/ 0 h 0"/>
              <a:gd name="connsiteX6" fmla="*/ 0 w 0"/>
              <a:gd name="connsiteY6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1128" y="1128"/>
                </a:lnTo>
                <a:lnTo>
                  <a:pt x="2819" y="1692"/>
                </a:lnTo>
                <a:lnTo>
                  <a:pt x="3383" y="1128"/>
                </a:lnTo>
                <a:lnTo>
                  <a:pt x="3383" y="0"/>
                </a:lnTo>
                <a:lnTo>
                  <a:pt x="0" y="0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6" name="Freeform: Shape 439">
            <a:extLst>
              <a:ext uri="{FF2B5EF4-FFF2-40B4-BE49-F238E27FC236}">
                <a16:creationId xmlns:a16="http://schemas.microsoft.com/office/drawing/2014/main" id="{DA03C6DF-CD2F-4427-83A0-45FBFA1A6FEC}"/>
              </a:ext>
            </a:extLst>
          </p:cNvPr>
          <p:cNvSpPr/>
          <p:nvPr/>
        </p:nvSpPr>
        <p:spPr>
          <a:xfrm>
            <a:off x="7152817" y="4245083"/>
            <a:ext cx="4214" cy="4214"/>
          </a:xfrm>
          <a:custGeom>
            <a:avLst/>
            <a:gdLst>
              <a:gd name="connsiteX0" fmla="*/ 5075 w 0"/>
              <a:gd name="connsiteY0" fmla="*/ 4511 h 5638"/>
              <a:gd name="connsiteX1" fmla="*/ 2256 w 0"/>
              <a:gd name="connsiteY1" fmla="*/ 0 h 5638"/>
              <a:gd name="connsiteX2" fmla="*/ 0 w 0"/>
              <a:gd name="connsiteY2" fmla="*/ 1692 h 5638"/>
              <a:gd name="connsiteX3" fmla="*/ 1128 w 0"/>
              <a:gd name="connsiteY3" fmla="*/ 3383 h 5638"/>
              <a:gd name="connsiteX4" fmla="*/ 2819 w 0"/>
              <a:gd name="connsiteY4" fmla="*/ 4511 h 5638"/>
              <a:gd name="connsiteX5" fmla="*/ 3383 w 0"/>
              <a:gd name="connsiteY5" fmla="*/ 6767 h 5638"/>
              <a:gd name="connsiteX6" fmla="*/ 5075 w 0"/>
              <a:gd name="connsiteY6" fmla="*/ 7894 h 5638"/>
              <a:gd name="connsiteX7" fmla="*/ 5075 w 0"/>
              <a:gd name="connsiteY7" fmla="*/ 4511 h 5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h="5638">
                <a:moveTo>
                  <a:pt x="5075" y="4511"/>
                </a:moveTo>
                <a:lnTo>
                  <a:pt x="2256" y="0"/>
                </a:lnTo>
                <a:lnTo>
                  <a:pt x="0" y="1692"/>
                </a:lnTo>
                <a:lnTo>
                  <a:pt x="1128" y="3383"/>
                </a:lnTo>
                <a:lnTo>
                  <a:pt x="2819" y="4511"/>
                </a:lnTo>
                <a:lnTo>
                  <a:pt x="3383" y="6767"/>
                </a:lnTo>
                <a:lnTo>
                  <a:pt x="5075" y="7894"/>
                </a:lnTo>
                <a:lnTo>
                  <a:pt x="5075" y="4511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7" name="Freeform: Shape 440">
            <a:extLst>
              <a:ext uri="{FF2B5EF4-FFF2-40B4-BE49-F238E27FC236}">
                <a16:creationId xmlns:a16="http://schemas.microsoft.com/office/drawing/2014/main" id="{AA921B6D-64BA-4635-A164-5FCA49F199D8}"/>
              </a:ext>
            </a:extLst>
          </p:cNvPr>
          <p:cNvSpPr/>
          <p:nvPr/>
        </p:nvSpPr>
        <p:spPr>
          <a:xfrm>
            <a:off x="4165240" y="3534216"/>
            <a:ext cx="12641" cy="4214"/>
          </a:xfrm>
          <a:custGeom>
            <a:avLst/>
            <a:gdLst>
              <a:gd name="connsiteX0" fmla="*/ 564 w 16916"/>
              <a:gd name="connsiteY0" fmla="*/ 3383 h 5638"/>
              <a:gd name="connsiteX1" fmla="*/ 0 w 16916"/>
              <a:gd name="connsiteY1" fmla="*/ 5639 h 5638"/>
              <a:gd name="connsiteX2" fmla="*/ 0 w 16916"/>
              <a:gd name="connsiteY2" fmla="*/ 6767 h 5638"/>
              <a:gd name="connsiteX3" fmla="*/ 1128 w 16916"/>
              <a:gd name="connsiteY3" fmla="*/ 7330 h 5638"/>
              <a:gd name="connsiteX4" fmla="*/ 4511 w 16916"/>
              <a:gd name="connsiteY4" fmla="*/ 6767 h 5638"/>
              <a:gd name="connsiteX5" fmla="*/ 5075 w 16916"/>
              <a:gd name="connsiteY5" fmla="*/ 6203 h 5638"/>
              <a:gd name="connsiteX6" fmla="*/ 6203 w 16916"/>
              <a:gd name="connsiteY6" fmla="*/ 5639 h 5638"/>
              <a:gd name="connsiteX7" fmla="*/ 6203 w 16916"/>
              <a:gd name="connsiteY7" fmla="*/ 5075 h 5638"/>
              <a:gd name="connsiteX8" fmla="*/ 3947 w 16916"/>
              <a:gd name="connsiteY8" fmla="*/ 5639 h 5638"/>
              <a:gd name="connsiteX9" fmla="*/ 564 w 16916"/>
              <a:gd name="connsiteY9" fmla="*/ 3383 h 5638"/>
              <a:gd name="connsiteX10" fmla="*/ 20864 w 16916"/>
              <a:gd name="connsiteY10" fmla="*/ 6767 h 5638"/>
              <a:gd name="connsiteX11" fmla="*/ 21991 w 16916"/>
              <a:gd name="connsiteY11" fmla="*/ 5639 h 5638"/>
              <a:gd name="connsiteX12" fmla="*/ 20864 w 16916"/>
              <a:gd name="connsiteY12" fmla="*/ 4511 h 5638"/>
              <a:gd name="connsiteX13" fmla="*/ 16916 w 16916"/>
              <a:gd name="connsiteY13" fmla="*/ 3383 h 5638"/>
              <a:gd name="connsiteX14" fmla="*/ 15789 w 16916"/>
              <a:gd name="connsiteY14" fmla="*/ 3947 h 5638"/>
              <a:gd name="connsiteX15" fmla="*/ 15789 w 16916"/>
              <a:gd name="connsiteY15" fmla="*/ 5639 h 5638"/>
              <a:gd name="connsiteX16" fmla="*/ 19172 w 16916"/>
              <a:gd name="connsiteY16" fmla="*/ 5639 h 5638"/>
              <a:gd name="connsiteX17" fmla="*/ 20864 w 16916"/>
              <a:gd name="connsiteY17" fmla="*/ 7330 h 5638"/>
              <a:gd name="connsiteX18" fmla="*/ 20864 w 16916"/>
              <a:gd name="connsiteY18" fmla="*/ 6767 h 5638"/>
              <a:gd name="connsiteX19" fmla="*/ 14661 w 16916"/>
              <a:gd name="connsiteY19" fmla="*/ 3947 h 5638"/>
              <a:gd name="connsiteX20" fmla="*/ 14097 w 16916"/>
              <a:gd name="connsiteY20" fmla="*/ 3383 h 5638"/>
              <a:gd name="connsiteX21" fmla="*/ 13533 w 16916"/>
              <a:gd name="connsiteY21" fmla="*/ 0 h 5638"/>
              <a:gd name="connsiteX22" fmla="*/ 10714 w 16916"/>
              <a:gd name="connsiteY22" fmla="*/ 0 h 5638"/>
              <a:gd name="connsiteX23" fmla="*/ 10714 w 16916"/>
              <a:gd name="connsiteY23" fmla="*/ 1128 h 5638"/>
              <a:gd name="connsiteX24" fmla="*/ 11278 w 16916"/>
              <a:gd name="connsiteY24" fmla="*/ 2255 h 5638"/>
              <a:gd name="connsiteX25" fmla="*/ 11842 w 16916"/>
              <a:gd name="connsiteY25" fmla="*/ 2255 h 5638"/>
              <a:gd name="connsiteX26" fmla="*/ 12405 w 16916"/>
              <a:gd name="connsiteY26" fmla="*/ 3383 h 5638"/>
              <a:gd name="connsiteX27" fmla="*/ 14097 w 16916"/>
              <a:gd name="connsiteY27" fmla="*/ 4511 h 5638"/>
              <a:gd name="connsiteX28" fmla="*/ 14661 w 16916"/>
              <a:gd name="connsiteY28" fmla="*/ 3947 h 5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16916" h="5638">
                <a:moveTo>
                  <a:pt x="564" y="3383"/>
                </a:moveTo>
                <a:lnTo>
                  <a:pt x="0" y="5639"/>
                </a:lnTo>
                <a:lnTo>
                  <a:pt x="0" y="6767"/>
                </a:lnTo>
                <a:lnTo>
                  <a:pt x="1128" y="7330"/>
                </a:lnTo>
                <a:lnTo>
                  <a:pt x="4511" y="6767"/>
                </a:lnTo>
                <a:lnTo>
                  <a:pt x="5075" y="6203"/>
                </a:lnTo>
                <a:lnTo>
                  <a:pt x="6203" y="5639"/>
                </a:lnTo>
                <a:lnTo>
                  <a:pt x="6203" y="5075"/>
                </a:lnTo>
                <a:lnTo>
                  <a:pt x="3947" y="5639"/>
                </a:lnTo>
                <a:lnTo>
                  <a:pt x="564" y="3383"/>
                </a:lnTo>
                <a:close/>
                <a:moveTo>
                  <a:pt x="20864" y="6767"/>
                </a:moveTo>
                <a:lnTo>
                  <a:pt x="21991" y="5639"/>
                </a:lnTo>
                <a:lnTo>
                  <a:pt x="20864" y="4511"/>
                </a:lnTo>
                <a:lnTo>
                  <a:pt x="16916" y="3383"/>
                </a:lnTo>
                <a:lnTo>
                  <a:pt x="15789" y="3947"/>
                </a:lnTo>
                <a:lnTo>
                  <a:pt x="15789" y="5639"/>
                </a:lnTo>
                <a:lnTo>
                  <a:pt x="19172" y="5639"/>
                </a:lnTo>
                <a:lnTo>
                  <a:pt x="20864" y="7330"/>
                </a:lnTo>
                <a:lnTo>
                  <a:pt x="20864" y="6767"/>
                </a:lnTo>
                <a:close/>
                <a:moveTo>
                  <a:pt x="14661" y="3947"/>
                </a:moveTo>
                <a:lnTo>
                  <a:pt x="14097" y="3383"/>
                </a:lnTo>
                <a:lnTo>
                  <a:pt x="13533" y="0"/>
                </a:lnTo>
                <a:lnTo>
                  <a:pt x="10714" y="0"/>
                </a:lnTo>
                <a:lnTo>
                  <a:pt x="10714" y="1128"/>
                </a:lnTo>
                <a:lnTo>
                  <a:pt x="11278" y="2255"/>
                </a:lnTo>
                <a:lnTo>
                  <a:pt x="11842" y="2255"/>
                </a:lnTo>
                <a:lnTo>
                  <a:pt x="12405" y="3383"/>
                </a:lnTo>
                <a:lnTo>
                  <a:pt x="14097" y="4511"/>
                </a:lnTo>
                <a:lnTo>
                  <a:pt x="14661" y="3947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8" name="Freeform: Shape 441">
            <a:extLst>
              <a:ext uri="{FF2B5EF4-FFF2-40B4-BE49-F238E27FC236}">
                <a16:creationId xmlns:a16="http://schemas.microsoft.com/office/drawing/2014/main" id="{51A63F3A-8753-46A3-8985-E6192E085D8B}"/>
              </a:ext>
            </a:extLst>
          </p:cNvPr>
          <p:cNvSpPr/>
          <p:nvPr/>
        </p:nvSpPr>
        <p:spPr>
          <a:xfrm>
            <a:off x="4383515" y="3819068"/>
            <a:ext cx="33710" cy="33710"/>
          </a:xfrm>
          <a:custGeom>
            <a:avLst/>
            <a:gdLst>
              <a:gd name="connsiteX0" fmla="*/ 28194 w 45110"/>
              <a:gd name="connsiteY0" fmla="*/ 42855 h 45110"/>
              <a:gd name="connsiteX1" fmla="*/ 28758 w 45110"/>
              <a:gd name="connsiteY1" fmla="*/ 41727 h 45110"/>
              <a:gd name="connsiteX2" fmla="*/ 28758 w 45110"/>
              <a:gd name="connsiteY2" fmla="*/ 38344 h 45110"/>
              <a:gd name="connsiteX3" fmla="*/ 29886 w 45110"/>
              <a:gd name="connsiteY3" fmla="*/ 36088 h 45110"/>
              <a:gd name="connsiteX4" fmla="*/ 28758 w 45110"/>
              <a:gd name="connsiteY4" fmla="*/ 33833 h 45110"/>
              <a:gd name="connsiteX5" fmla="*/ 28194 w 45110"/>
              <a:gd name="connsiteY5" fmla="*/ 30449 h 45110"/>
              <a:gd name="connsiteX6" fmla="*/ 28758 w 45110"/>
              <a:gd name="connsiteY6" fmla="*/ 27630 h 45110"/>
              <a:gd name="connsiteX7" fmla="*/ 28758 w 45110"/>
              <a:gd name="connsiteY7" fmla="*/ 23683 h 45110"/>
              <a:gd name="connsiteX8" fmla="*/ 29886 w 45110"/>
              <a:gd name="connsiteY8" fmla="*/ 21991 h 45110"/>
              <a:gd name="connsiteX9" fmla="*/ 32705 w 45110"/>
              <a:gd name="connsiteY9" fmla="*/ 17480 h 45110"/>
              <a:gd name="connsiteX10" fmla="*/ 27630 w 45110"/>
              <a:gd name="connsiteY10" fmla="*/ 17480 h 45110"/>
              <a:gd name="connsiteX11" fmla="*/ 24247 w 45110"/>
              <a:gd name="connsiteY11" fmla="*/ 18608 h 45110"/>
              <a:gd name="connsiteX12" fmla="*/ 18044 w 45110"/>
              <a:gd name="connsiteY12" fmla="*/ 19172 h 45110"/>
              <a:gd name="connsiteX13" fmla="*/ 15224 w 45110"/>
              <a:gd name="connsiteY13" fmla="*/ 20300 h 45110"/>
              <a:gd name="connsiteX14" fmla="*/ 11278 w 45110"/>
              <a:gd name="connsiteY14" fmla="*/ 20863 h 45110"/>
              <a:gd name="connsiteX15" fmla="*/ 9022 w 45110"/>
              <a:gd name="connsiteY15" fmla="*/ 21991 h 45110"/>
              <a:gd name="connsiteX16" fmla="*/ 9586 w 45110"/>
              <a:gd name="connsiteY16" fmla="*/ 22555 h 45110"/>
              <a:gd name="connsiteX17" fmla="*/ 12405 w 45110"/>
              <a:gd name="connsiteY17" fmla="*/ 23683 h 45110"/>
              <a:gd name="connsiteX18" fmla="*/ 13533 w 45110"/>
              <a:gd name="connsiteY18" fmla="*/ 24811 h 45110"/>
              <a:gd name="connsiteX19" fmla="*/ 14097 w 45110"/>
              <a:gd name="connsiteY19" fmla="*/ 25939 h 45110"/>
              <a:gd name="connsiteX20" fmla="*/ 14661 w 45110"/>
              <a:gd name="connsiteY20" fmla="*/ 28194 h 45110"/>
              <a:gd name="connsiteX21" fmla="*/ 12969 w 45110"/>
              <a:gd name="connsiteY21" fmla="*/ 37780 h 45110"/>
              <a:gd name="connsiteX22" fmla="*/ 12405 w 45110"/>
              <a:gd name="connsiteY22" fmla="*/ 38344 h 45110"/>
              <a:gd name="connsiteX23" fmla="*/ 9022 w 45110"/>
              <a:gd name="connsiteY23" fmla="*/ 38908 h 45110"/>
              <a:gd name="connsiteX24" fmla="*/ 7894 w 45110"/>
              <a:gd name="connsiteY24" fmla="*/ 40599 h 45110"/>
              <a:gd name="connsiteX25" fmla="*/ 0 w 45110"/>
              <a:gd name="connsiteY25" fmla="*/ 45110 h 45110"/>
              <a:gd name="connsiteX26" fmla="*/ 4511 w 45110"/>
              <a:gd name="connsiteY26" fmla="*/ 44546 h 45110"/>
              <a:gd name="connsiteX27" fmla="*/ 9586 w 45110"/>
              <a:gd name="connsiteY27" fmla="*/ 45110 h 45110"/>
              <a:gd name="connsiteX28" fmla="*/ 23119 w 45110"/>
              <a:gd name="connsiteY28" fmla="*/ 44546 h 45110"/>
              <a:gd name="connsiteX29" fmla="*/ 28194 w 45110"/>
              <a:gd name="connsiteY29" fmla="*/ 42855 h 45110"/>
              <a:gd name="connsiteX30" fmla="*/ 38344 w 45110"/>
              <a:gd name="connsiteY30" fmla="*/ 5075 h 45110"/>
              <a:gd name="connsiteX31" fmla="*/ 45110 w 45110"/>
              <a:gd name="connsiteY31" fmla="*/ 2255 h 45110"/>
              <a:gd name="connsiteX32" fmla="*/ 45674 w 45110"/>
              <a:gd name="connsiteY32" fmla="*/ 0 h 45110"/>
              <a:gd name="connsiteX33" fmla="*/ 44546 w 45110"/>
              <a:gd name="connsiteY33" fmla="*/ 0 h 45110"/>
              <a:gd name="connsiteX34" fmla="*/ 40035 w 45110"/>
              <a:gd name="connsiteY34" fmla="*/ 1692 h 45110"/>
              <a:gd name="connsiteX35" fmla="*/ 36652 w 45110"/>
              <a:gd name="connsiteY35" fmla="*/ 4511 h 45110"/>
              <a:gd name="connsiteX36" fmla="*/ 36652 w 45110"/>
              <a:gd name="connsiteY36" fmla="*/ 5639 h 45110"/>
              <a:gd name="connsiteX37" fmla="*/ 38344 w 45110"/>
              <a:gd name="connsiteY37" fmla="*/ 5075 h 451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45110" h="45110">
                <a:moveTo>
                  <a:pt x="28194" y="42855"/>
                </a:moveTo>
                <a:lnTo>
                  <a:pt x="28758" y="41727"/>
                </a:lnTo>
                <a:lnTo>
                  <a:pt x="28758" y="38344"/>
                </a:lnTo>
                <a:lnTo>
                  <a:pt x="29886" y="36088"/>
                </a:lnTo>
                <a:lnTo>
                  <a:pt x="28758" y="33833"/>
                </a:lnTo>
                <a:lnTo>
                  <a:pt x="28194" y="30449"/>
                </a:lnTo>
                <a:lnTo>
                  <a:pt x="28758" y="27630"/>
                </a:lnTo>
                <a:lnTo>
                  <a:pt x="28758" y="23683"/>
                </a:lnTo>
                <a:lnTo>
                  <a:pt x="29886" y="21991"/>
                </a:lnTo>
                <a:lnTo>
                  <a:pt x="32705" y="17480"/>
                </a:lnTo>
                <a:lnTo>
                  <a:pt x="27630" y="17480"/>
                </a:lnTo>
                <a:lnTo>
                  <a:pt x="24247" y="18608"/>
                </a:lnTo>
                <a:lnTo>
                  <a:pt x="18044" y="19172"/>
                </a:lnTo>
                <a:lnTo>
                  <a:pt x="15224" y="20300"/>
                </a:lnTo>
                <a:lnTo>
                  <a:pt x="11278" y="20863"/>
                </a:lnTo>
                <a:lnTo>
                  <a:pt x="9022" y="21991"/>
                </a:lnTo>
                <a:lnTo>
                  <a:pt x="9586" y="22555"/>
                </a:lnTo>
                <a:lnTo>
                  <a:pt x="12405" y="23683"/>
                </a:lnTo>
                <a:lnTo>
                  <a:pt x="13533" y="24811"/>
                </a:lnTo>
                <a:lnTo>
                  <a:pt x="14097" y="25939"/>
                </a:lnTo>
                <a:lnTo>
                  <a:pt x="14661" y="28194"/>
                </a:lnTo>
                <a:lnTo>
                  <a:pt x="12969" y="37780"/>
                </a:lnTo>
                <a:lnTo>
                  <a:pt x="12405" y="38344"/>
                </a:lnTo>
                <a:lnTo>
                  <a:pt x="9022" y="38908"/>
                </a:lnTo>
                <a:lnTo>
                  <a:pt x="7894" y="40599"/>
                </a:lnTo>
                <a:lnTo>
                  <a:pt x="0" y="45110"/>
                </a:lnTo>
                <a:lnTo>
                  <a:pt x="4511" y="44546"/>
                </a:lnTo>
                <a:lnTo>
                  <a:pt x="9586" y="45110"/>
                </a:lnTo>
                <a:lnTo>
                  <a:pt x="23119" y="44546"/>
                </a:lnTo>
                <a:lnTo>
                  <a:pt x="28194" y="42855"/>
                </a:lnTo>
                <a:close/>
                <a:moveTo>
                  <a:pt x="38344" y="5075"/>
                </a:moveTo>
                <a:lnTo>
                  <a:pt x="45110" y="2255"/>
                </a:lnTo>
                <a:lnTo>
                  <a:pt x="45674" y="0"/>
                </a:lnTo>
                <a:lnTo>
                  <a:pt x="44546" y="0"/>
                </a:lnTo>
                <a:lnTo>
                  <a:pt x="40035" y="1692"/>
                </a:lnTo>
                <a:lnTo>
                  <a:pt x="36652" y="4511"/>
                </a:lnTo>
                <a:lnTo>
                  <a:pt x="36652" y="5639"/>
                </a:lnTo>
                <a:lnTo>
                  <a:pt x="38344" y="5075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9" name="Freeform: Shape 442">
            <a:extLst>
              <a:ext uri="{FF2B5EF4-FFF2-40B4-BE49-F238E27FC236}">
                <a16:creationId xmlns:a16="http://schemas.microsoft.com/office/drawing/2014/main" id="{EA866141-9E7E-46B2-999E-F30873EE13B8}"/>
              </a:ext>
            </a:extLst>
          </p:cNvPr>
          <p:cNvSpPr/>
          <p:nvPr/>
        </p:nvSpPr>
        <p:spPr>
          <a:xfrm>
            <a:off x="4400371" y="3764711"/>
            <a:ext cx="4214" cy="16855"/>
          </a:xfrm>
          <a:custGeom>
            <a:avLst/>
            <a:gdLst>
              <a:gd name="connsiteX0" fmla="*/ 564 w 5638"/>
              <a:gd name="connsiteY0" fmla="*/ 23683 h 22555"/>
              <a:gd name="connsiteX1" fmla="*/ 564 w 5638"/>
              <a:gd name="connsiteY1" fmla="*/ 23683 h 22555"/>
              <a:gd name="connsiteX2" fmla="*/ 564 w 5638"/>
              <a:gd name="connsiteY2" fmla="*/ 23119 h 22555"/>
              <a:gd name="connsiteX3" fmla="*/ 1127 w 5638"/>
              <a:gd name="connsiteY3" fmla="*/ 23119 h 22555"/>
              <a:gd name="connsiteX4" fmla="*/ 1127 w 5638"/>
              <a:gd name="connsiteY4" fmla="*/ 22555 h 22555"/>
              <a:gd name="connsiteX5" fmla="*/ 1127 w 5638"/>
              <a:gd name="connsiteY5" fmla="*/ 22555 h 22555"/>
              <a:gd name="connsiteX6" fmla="*/ 1127 w 5638"/>
              <a:gd name="connsiteY6" fmla="*/ 21991 h 22555"/>
              <a:gd name="connsiteX7" fmla="*/ 564 w 5638"/>
              <a:gd name="connsiteY7" fmla="*/ 21991 h 22555"/>
              <a:gd name="connsiteX8" fmla="*/ 564 w 5638"/>
              <a:gd name="connsiteY8" fmla="*/ 22555 h 22555"/>
              <a:gd name="connsiteX9" fmla="*/ 564 w 5638"/>
              <a:gd name="connsiteY9" fmla="*/ 22555 h 22555"/>
              <a:gd name="connsiteX10" fmla="*/ 564 w 5638"/>
              <a:gd name="connsiteY10" fmla="*/ 23119 h 22555"/>
              <a:gd name="connsiteX11" fmla="*/ 0 w 5638"/>
              <a:gd name="connsiteY11" fmla="*/ 23119 h 22555"/>
              <a:gd name="connsiteX12" fmla="*/ 0 w 5638"/>
              <a:gd name="connsiteY12" fmla="*/ 23683 h 22555"/>
              <a:gd name="connsiteX13" fmla="*/ 0 w 5638"/>
              <a:gd name="connsiteY13" fmla="*/ 23683 h 22555"/>
              <a:gd name="connsiteX14" fmla="*/ 0 w 5638"/>
              <a:gd name="connsiteY14" fmla="*/ 23683 h 22555"/>
              <a:gd name="connsiteX15" fmla="*/ 564 w 5638"/>
              <a:gd name="connsiteY15" fmla="*/ 23683 h 22555"/>
              <a:gd name="connsiteX16" fmla="*/ 4511 w 5638"/>
              <a:gd name="connsiteY16" fmla="*/ 12969 h 22555"/>
              <a:gd name="connsiteX17" fmla="*/ 5075 w 5638"/>
              <a:gd name="connsiteY17" fmla="*/ 11841 h 22555"/>
              <a:gd name="connsiteX18" fmla="*/ 5639 w 5638"/>
              <a:gd name="connsiteY18" fmla="*/ 11278 h 22555"/>
              <a:gd name="connsiteX19" fmla="*/ 5639 w 5638"/>
              <a:gd name="connsiteY19" fmla="*/ 11278 h 22555"/>
              <a:gd name="connsiteX20" fmla="*/ 5639 w 5638"/>
              <a:gd name="connsiteY20" fmla="*/ 11278 h 22555"/>
              <a:gd name="connsiteX21" fmla="*/ 5075 w 5638"/>
              <a:gd name="connsiteY21" fmla="*/ 10714 h 22555"/>
              <a:gd name="connsiteX22" fmla="*/ 5075 w 5638"/>
              <a:gd name="connsiteY22" fmla="*/ 10714 h 22555"/>
              <a:gd name="connsiteX23" fmla="*/ 5075 w 5638"/>
              <a:gd name="connsiteY23" fmla="*/ 11278 h 22555"/>
              <a:gd name="connsiteX24" fmla="*/ 3947 w 5638"/>
              <a:gd name="connsiteY24" fmla="*/ 11841 h 22555"/>
              <a:gd name="connsiteX25" fmla="*/ 3947 w 5638"/>
              <a:gd name="connsiteY25" fmla="*/ 11841 h 22555"/>
              <a:gd name="connsiteX26" fmla="*/ 3947 w 5638"/>
              <a:gd name="connsiteY26" fmla="*/ 12405 h 22555"/>
              <a:gd name="connsiteX27" fmla="*/ 3947 w 5638"/>
              <a:gd name="connsiteY27" fmla="*/ 12405 h 22555"/>
              <a:gd name="connsiteX28" fmla="*/ 3947 w 5638"/>
              <a:gd name="connsiteY28" fmla="*/ 12969 h 22555"/>
              <a:gd name="connsiteX29" fmla="*/ 3383 w 5638"/>
              <a:gd name="connsiteY29" fmla="*/ 12969 h 22555"/>
              <a:gd name="connsiteX30" fmla="*/ 2819 w 5638"/>
              <a:gd name="connsiteY30" fmla="*/ 12969 h 22555"/>
              <a:gd name="connsiteX31" fmla="*/ 2819 w 5638"/>
              <a:gd name="connsiteY31" fmla="*/ 12969 h 22555"/>
              <a:gd name="connsiteX32" fmla="*/ 3383 w 5638"/>
              <a:gd name="connsiteY32" fmla="*/ 12969 h 22555"/>
              <a:gd name="connsiteX33" fmla="*/ 3383 w 5638"/>
              <a:gd name="connsiteY33" fmla="*/ 12969 h 22555"/>
              <a:gd name="connsiteX34" fmla="*/ 3947 w 5638"/>
              <a:gd name="connsiteY34" fmla="*/ 13533 h 22555"/>
              <a:gd name="connsiteX35" fmla="*/ 3947 w 5638"/>
              <a:gd name="connsiteY35" fmla="*/ 13533 h 22555"/>
              <a:gd name="connsiteX36" fmla="*/ 3947 w 5638"/>
              <a:gd name="connsiteY36" fmla="*/ 13533 h 22555"/>
              <a:gd name="connsiteX37" fmla="*/ 3947 w 5638"/>
              <a:gd name="connsiteY37" fmla="*/ 13533 h 22555"/>
              <a:gd name="connsiteX38" fmla="*/ 4511 w 5638"/>
              <a:gd name="connsiteY38" fmla="*/ 12969 h 22555"/>
              <a:gd name="connsiteX39" fmla="*/ 6203 w 5638"/>
              <a:gd name="connsiteY39" fmla="*/ 6766 h 22555"/>
              <a:gd name="connsiteX40" fmla="*/ 7894 w 5638"/>
              <a:gd name="connsiteY40" fmla="*/ 5639 h 22555"/>
              <a:gd name="connsiteX41" fmla="*/ 8458 w 5638"/>
              <a:gd name="connsiteY41" fmla="*/ 2255 h 22555"/>
              <a:gd name="connsiteX42" fmla="*/ 7894 w 5638"/>
              <a:gd name="connsiteY42" fmla="*/ 0 h 22555"/>
              <a:gd name="connsiteX43" fmla="*/ 6766 w 5638"/>
              <a:gd name="connsiteY43" fmla="*/ 0 h 22555"/>
              <a:gd name="connsiteX44" fmla="*/ 5075 w 5638"/>
              <a:gd name="connsiteY44" fmla="*/ 564 h 22555"/>
              <a:gd name="connsiteX45" fmla="*/ 3947 w 5638"/>
              <a:gd name="connsiteY45" fmla="*/ 2255 h 22555"/>
              <a:gd name="connsiteX46" fmla="*/ 3383 w 5638"/>
              <a:gd name="connsiteY46" fmla="*/ 5075 h 22555"/>
              <a:gd name="connsiteX47" fmla="*/ 5639 w 5638"/>
              <a:gd name="connsiteY47" fmla="*/ 7330 h 22555"/>
              <a:gd name="connsiteX48" fmla="*/ 6203 w 5638"/>
              <a:gd name="connsiteY48" fmla="*/ 6766 h 225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5638" h="22555">
                <a:moveTo>
                  <a:pt x="564" y="23683"/>
                </a:moveTo>
                <a:lnTo>
                  <a:pt x="564" y="23683"/>
                </a:lnTo>
                <a:lnTo>
                  <a:pt x="564" y="23119"/>
                </a:lnTo>
                <a:lnTo>
                  <a:pt x="1127" y="23119"/>
                </a:lnTo>
                <a:lnTo>
                  <a:pt x="1127" y="22555"/>
                </a:lnTo>
                <a:lnTo>
                  <a:pt x="1127" y="22555"/>
                </a:lnTo>
                <a:lnTo>
                  <a:pt x="1127" y="21991"/>
                </a:lnTo>
                <a:lnTo>
                  <a:pt x="564" y="21991"/>
                </a:lnTo>
                <a:lnTo>
                  <a:pt x="564" y="22555"/>
                </a:lnTo>
                <a:lnTo>
                  <a:pt x="564" y="22555"/>
                </a:lnTo>
                <a:lnTo>
                  <a:pt x="564" y="23119"/>
                </a:lnTo>
                <a:lnTo>
                  <a:pt x="0" y="23119"/>
                </a:lnTo>
                <a:lnTo>
                  <a:pt x="0" y="23683"/>
                </a:lnTo>
                <a:lnTo>
                  <a:pt x="0" y="23683"/>
                </a:lnTo>
                <a:lnTo>
                  <a:pt x="0" y="23683"/>
                </a:lnTo>
                <a:lnTo>
                  <a:pt x="564" y="23683"/>
                </a:lnTo>
                <a:close/>
                <a:moveTo>
                  <a:pt x="4511" y="12969"/>
                </a:moveTo>
                <a:lnTo>
                  <a:pt x="5075" y="11841"/>
                </a:lnTo>
                <a:lnTo>
                  <a:pt x="5639" y="11278"/>
                </a:lnTo>
                <a:lnTo>
                  <a:pt x="5639" y="11278"/>
                </a:lnTo>
                <a:lnTo>
                  <a:pt x="5639" y="11278"/>
                </a:lnTo>
                <a:lnTo>
                  <a:pt x="5075" y="10714"/>
                </a:lnTo>
                <a:lnTo>
                  <a:pt x="5075" y="10714"/>
                </a:lnTo>
                <a:lnTo>
                  <a:pt x="5075" y="11278"/>
                </a:lnTo>
                <a:lnTo>
                  <a:pt x="3947" y="11841"/>
                </a:lnTo>
                <a:lnTo>
                  <a:pt x="3947" y="11841"/>
                </a:lnTo>
                <a:lnTo>
                  <a:pt x="3947" y="12405"/>
                </a:lnTo>
                <a:lnTo>
                  <a:pt x="3947" y="12405"/>
                </a:lnTo>
                <a:lnTo>
                  <a:pt x="3947" y="12969"/>
                </a:lnTo>
                <a:lnTo>
                  <a:pt x="3383" y="12969"/>
                </a:lnTo>
                <a:lnTo>
                  <a:pt x="2819" y="12969"/>
                </a:lnTo>
                <a:lnTo>
                  <a:pt x="2819" y="12969"/>
                </a:lnTo>
                <a:lnTo>
                  <a:pt x="3383" y="12969"/>
                </a:lnTo>
                <a:lnTo>
                  <a:pt x="3383" y="12969"/>
                </a:lnTo>
                <a:lnTo>
                  <a:pt x="3947" y="13533"/>
                </a:lnTo>
                <a:lnTo>
                  <a:pt x="3947" y="13533"/>
                </a:lnTo>
                <a:lnTo>
                  <a:pt x="3947" y="13533"/>
                </a:lnTo>
                <a:lnTo>
                  <a:pt x="3947" y="13533"/>
                </a:lnTo>
                <a:lnTo>
                  <a:pt x="4511" y="12969"/>
                </a:lnTo>
                <a:close/>
                <a:moveTo>
                  <a:pt x="6203" y="6766"/>
                </a:moveTo>
                <a:lnTo>
                  <a:pt x="7894" y="5639"/>
                </a:lnTo>
                <a:lnTo>
                  <a:pt x="8458" y="2255"/>
                </a:lnTo>
                <a:lnTo>
                  <a:pt x="7894" y="0"/>
                </a:lnTo>
                <a:lnTo>
                  <a:pt x="6766" y="0"/>
                </a:lnTo>
                <a:lnTo>
                  <a:pt x="5075" y="564"/>
                </a:lnTo>
                <a:lnTo>
                  <a:pt x="3947" y="2255"/>
                </a:lnTo>
                <a:lnTo>
                  <a:pt x="3383" y="5075"/>
                </a:lnTo>
                <a:lnTo>
                  <a:pt x="5639" y="7330"/>
                </a:lnTo>
                <a:lnTo>
                  <a:pt x="6203" y="6766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0" name="Freeform: Shape 443">
            <a:extLst>
              <a:ext uri="{FF2B5EF4-FFF2-40B4-BE49-F238E27FC236}">
                <a16:creationId xmlns:a16="http://schemas.microsoft.com/office/drawing/2014/main" id="{24B0B846-7B0E-42DD-B555-4C644A58A0DF}"/>
              </a:ext>
            </a:extLst>
          </p:cNvPr>
          <p:cNvSpPr/>
          <p:nvPr/>
        </p:nvSpPr>
        <p:spPr>
          <a:xfrm>
            <a:off x="4333793" y="3620178"/>
            <a:ext cx="8428" cy="8428"/>
          </a:xfrm>
          <a:custGeom>
            <a:avLst/>
            <a:gdLst>
              <a:gd name="connsiteX0" fmla="*/ 3383 w 11277"/>
              <a:gd name="connsiteY0" fmla="*/ 12405 h 11277"/>
              <a:gd name="connsiteX1" fmla="*/ 5075 w 11277"/>
              <a:gd name="connsiteY1" fmla="*/ 11278 h 11277"/>
              <a:gd name="connsiteX2" fmla="*/ 3947 w 11277"/>
              <a:gd name="connsiteY2" fmla="*/ 10714 h 11277"/>
              <a:gd name="connsiteX3" fmla="*/ 1692 w 11277"/>
              <a:gd name="connsiteY3" fmla="*/ 10714 h 11277"/>
              <a:gd name="connsiteX4" fmla="*/ 0 w 11277"/>
              <a:gd name="connsiteY4" fmla="*/ 11842 h 11277"/>
              <a:gd name="connsiteX5" fmla="*/ 564 w 11277"/>
              <a:gd name="connsiteY5" fmla="*/ 12405 h 11277"/>
              <a:gd name="connsiteX6" fmla="*/ 3383 w 11277"/>
              <a:gd name="connsiteY6" fmla="*/ 12405 h 11277"/>
              <a:gd name="connsiteX7" fmla="*/ 9586 w 11277"/>
              <a:gd name="connsiteY7" fmla="*/ 10150 h 11277"/>
              <a:gd name="connsiteX8" fmla="*/ 11842 w 11277"/>
              <a:gd name="connsiteY8" fmla="*/ 7894 h 11277"/>
              <a:gd name="connsiteX9" fmla="*/ 9022 w 11277"/>
              <a:gd name="connsiteY9" fmla="*/ 8458 h 11277"/>
              <a:gd name="connsiteX10" fmla="*/ 7894 w 11277"/>
              <a:gd name="connsiteY10" fmla="*/ 9586 h 11277"/>
              <a:gd name="connsiteX11" fmla="*/ 8458 w 11277"/>
              <a:gd name="connsiteY11" fmla="*/ 10150 h 11277"/>
              <a:gd name="connsiteX12" fmla="*/ 9022 w 11277"/>
              <a:gd name="connsiteY12" fmla="*/ 10150 h 11277"/>
              <a:gd name="connsiteX13" fmla="*/ 9586 w 11277"/>
              <a:gd name="connsiteY13" fmla="*/ 10150 h 11277"/>
              <a:gd name="connsiteX14" fmla="*/ 14097 w 11277"/>
              <a:gd name="connsiteY14" fmla="*/ 0 h 11277"/>
              <a:gd name="connsiteX15" fmla="*/ 12970 w 11277"/>
              <a:gd name="connsiteY15" fmla="*/ 0 h 11277"/>
              <a:gd name="connsiteX16" fmla="*/ 10150 w 11277"/>
              <a:gd name="connsiteY16" fmla="*/ 0 h 11277"/>
              <a:gd name="connsiteX17" fmla="*/ 10150 w 11277"/>
              <a:gd name="connsiteY17" fmla="*/ 0 h 11277"/>
              <a:gd name="connsiteX18" fmla="*/ 10714 w 11277"/>
              <a:gd name="connsiteY18" fmla="*/ 564 h 11277"/>
              <a:gd name="connsiteX19" fmla="*/ 12405 w 11277"/>
              <a:gd name="connsiteY19" fmla="*/ 564 h 11277"/>
              <a:gd name="connsiteX20" fmla="*/ 14097 w 11277"/>
              <a:gd name="connsiteY20" fmla="*/ 1128 h 11277"/>
              <a:gd name="connsiteX21" fmla="*/ 14097 w 11277"/>
              <a:gd name="connsiteY21" fmla="*/ 1128 h 11277"/>
              <a:gd name="connsiteX22" fmla="*/ 14097 w 11277"/>
              <a:gd name="connsiteY22" fmla="*/ 0 h 112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1277" h="11277">
                <a:moveTo>
                  <a:pt x="3383" y="12405"/>
                </a:moveTo>
                <a:lnTo>
                  <a:pt x="5075" y="11278"/>
                </a:lnTo>
                <a:lnTo>
                  <a:pt x="3947" y="10714"/>
                </a:lnTo>
                <a:lnTo>
                  <a:pt x="1692" y="10714"/>
                </a:lnTo>
                <a:lnTo>
                  <a:pt x="0" y="11842"/>
                </a:lnTo>
                <a:lnTo>
                  <a:pt x="564" y="12405"/>
                </a:lnTo>
                <a:lnTo>
                  <a:pt x="3383" y="12405"/>
                </a:lnTo>
                <a:close/>
                <a:moveTo>
                  <a:pt x="9586" y="10150"/>
                </a:moveTo>
                <a:lnTo>
                  <a:pt x="11842" y="7894"/>
                </a:lnTo>
                <a:lnTo>
                  <a:pt x="9022" y="8458"/>
                </a:lnTo>
                <a:lnTo>
                  <a:pt x="7894" y="9586"/>
                </a:lnTo>
                <a:lnTo>
                  <a:pt x="8458" y="10150"/>
                </a:lnTo>
                <a:lnTo>
                  <a:pt x="9022" y="10150"/>
                </a:lnTo>
                <a:lnTo>
                  <a:pt x="9586" y="10150"/>
                </a:lnTo>
                <a:close/>
                <a:moveTo>
                  <a:pt x="14097" y="0"/>
                </a:moveTo>
                <a:lnTo>
                  <a:pt x="12970" y="0"/>
                </a:lnTo>
                <a:lnTo>
                  <a:pt x="10150" y="0"/>
                </a:lnTo>
                <a:lnTo>
                  <a:pt x="10150" y="0"/>
                </a:lnTo>
                <a:lnTo>
                  <a:pt x="10714" y="564"/>
                </a:lnTo>
                <a:lnTo>
                  <a:pt x="12405" y="564"/>
                </a:lnTo>
                <a:lnTo>
                  <a:pt x="14097" y="1128"/>
                </a:lnTo>
                <a:lnTo>
                  <a:pt x="14097" y="1128"/>
                </a:lnTo>
                <a:lnTo>
                  <a:pt x="14097" y="0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1" name="Freeform: Shape 444">
            <a:extLst>
              <a:ext uri="{FF2B5EF4-FFF2-40B4-BE49-F238E27FC236}">
                <a16:creationId xmlns:a16="http://schemas.microsoft.com/office/drawing/2014/main" id="{D2CBB65A-CA79-4626-9530-2E157A1B2292}"/>
              </a:ext>
            </a:extLst>
          </p:cNvPr>
          <p:cNvSpPr/>
          <p:nvPr/>
        </p:nvSpPr>
        <p:spPr>
          <a:xfrm>
            <a:off x="4326207" y="3629870"/>
            <a:ext cx="8428" cy="16855"/>
          </a:xfrm>
          <a:custGeom>
            <a:avLst/>
            <a:gdLst>
              <a:gd name="connsiteX0" fmla="*/ 6203 w 11277"/>
              <a:gd name="connsiteY0" fmla="*/ 20863 h 22555"/>
              <a:gd name="connsiteX1" fmla="*/ 2256 w 11277"/>
              <a:gd name="connsiteY1" fmla="*/ 21991 h 22555"/>
              <a:gd name="connsiteX2" fmla="*/ 1692 w 11277"/>
              <a:gd name="connsiteY2" fmla="*/ 24247 h 22555"/>
              <a:gd name="connsiteX3" fmla="*/ 7894 w 11277"/>
              <a:gd name="connsiteY3" fmla="*/ 24247 h 22555"/>
              <a:gd name="connsiteX4" fmla="*/ 11842 w 11277"/>
              <a:gd name="connsiteY4" fmla="*/ 22555 h 22555"/>
              <a:gd name="connsiteX5" fmla="*/ 8458 w 11277"/>
              <a:gd name="connsiteY5" fmla="*/ 22555 h 22555"/>
              <a:gd name="connsiteX6" fmla="*/ 6203 w 11277"/>
              <a:gd name="connsiteY6" fmla="*/ 20863 h 22555"/>
              <a:gd name="connsiteX7" fmla="*/ 11278 w 11277"/>
              <a:gd name="connsiteY7" fmla="*/ 1128 h 22555"/>
              <a:gd name="connsiteX8" fmla="*/ 8458 w 11277"/>
              <a:gd name="connsiteY8" fmla="*/ 564 h 22555"/>
              <a:gd name="connsiteX9" fmla="*/ 7330 w 11277"/>
              <a:gd name="connsiteY9" fmla="*/ 1692 h 22555"/>
              <a:gd name="connsiteX10" fmla="*/ 7330 w 11277"/>
              <a:gd name="connsiteY10" fmla="*/ 1692 h 22555"/>
              <a:gd name="connsiteX11" fmla="*/ 9022 w 11277"/>
              <a:gd name="connsiteY11" fmla="*/ 2255 h 22555"/>
              <a:gd name="connsiteX12" fmla="*/ 11278 w 11277"/>
              <a:gd name="connsiteY12" fmla="*/ 1128 h 22555"/>
              <a:gd name="connsiteX13" fmla="*/ 5075 w 11277"/>
              <a:gd name="connsiteY13" fmla="*/ 1692 h 22555"/>
              <a:gd name="connsiteX14" fmla="*/ 3947 w 11277"/>
              <a:gd name="connsiteY14" fmla="*/ 564 h 22555"/>
              <a:gd name="connsiteX15" fmla="*/ 2256 w 11277"/>
              <a:gd name="connsiteY15" fmla="*/ 0 h 22555"/>
              <a:gd name="connsiteX16" fmla="*/ 0 w 11277"/>
              <a:gd name="connsiteY16" fmla="*/ 564 h 22555"/>
              <a:gd name="connsiteX17" fmla="*/ 2819 w 11277"/>
              <a:gd name="connsiteY17" fmla="*/ 2255 h 22555"/>
              <a:gd name="connsiteX18" fmla="*/ 5075 w 11277"/>
              <a:gd name="connsiteY18" fmla="*/ 1692 h 225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1277" h="22555">
                <a:moveTo>
                  <a:pt x="6203" y="20863"/>
                </a:moveTo>
                <a:lnTo>
                  <a:pt x="2256" y="21991"/>
                </a:lnTo>
                <a:lnTo>
                  <a:pt x="1692" y="24247"/>
                </a:lnTo>
                <a:lnTo>
                  <a:pt x="7894" y="24247"/>
                </a:lnTo>
                <a:lnTo>
                  <a:pt x="11842" y="22555"/>
                </a:lnTo>
                <a:lnTo>
                  <a:pt x="8458" y="22555"/>
                </a:lnTo>
                <a:lnTo>
                  <a:pt x="6203" y="20863"/>
                </a:lnTo>
                <a:close/>
                <a:moveTo>
                  <a:pt x="11278" y="1128"/>
                </a:moveTo>
                <a:lnTo>
                  <a:pt x="8458" y="564"/>
                </a:lnTo>
                <a:lnTo>
                  <a:pt x="7330" y="1692"/>
                </a:lnTo>
                <a:lnTo>
                  <a:pt x="7330" y="1692"/>
                </a:lnTo>
                <a:lnTo>
                  <a:pt x="9022" y="2255"/>
                </a:lnTo>
                <a:lnTo>
                  <a:pt x="11278" y="1128"/>
                </a:lnTo>
                <a:close/>
                <a:moveTo>
                  <a:pt x="5075" y="1692"/>
                </a:moveTo>
                <a:lnTo>
                  <a:pt x="3947" y="564"/>
                </a:lnTo>
                <a:lnTo>
                  <a:pt x="2256" y="0"/>
                </a:lnTo>
                <a:lnTo>
                  <a:pt x="0" y="564"/>
                </a:lnTo>
                <a:lnTo>
                  <a:pt x="2819" y="2255"/>
                </a:lnTo>
                <a:lnTo>
                  <a:pt x="5075" y="1692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2" name="Freeform: Shape 445">
            <a:extLst>
              <a:ext uri="{FF2B5EF4-FFF2-40B4-BE49-F238E27FC236}">
                <a16:creationId xmlns:a16="http://schemas.microsoft.com/office/drawing/2014/main" id="{776FE783-4AF1-462B-A093-5CE021A0B39B}"/>
              </a:ext>
            </a:extLst>
          </p:cNvPr>
          <p:cNvSpPr/>
          <p:nvPr/>
        </p:nvSpPr>
        <p:spPr>
          <a:xfrm>
            <a:off x="6563728" y="3166353"/>
            <a:ext cx="46351" cy="29497"/>
          </a:xfrm>
          <a:custGeom>
            <a:avLst/>
            <a:gdLst>
              <a:gd name="connsiteX0" fmla="*/ 11841 w 62026"/>
              <a:gd name="connsiteY0" fmla="*/ 18044 h 39471"/>
              <a:gd name="connsiteX1" fmla="*/ 10149 w 62026"/>
              <a:gd name="connsiteY1" fmla="*/ 17480 h 39471"/>
              <a:gd name="connsiteX2" fmla="*/ 7330 w 62026"/>
              <a:gd name="connsiteY2" fmla="*/ 18608 h 39471"/>
              <a:gd name="connsiteX3" fmla="*/ 5074 w 62026"/>
              <a:gd name="connsiteY3" fmla="*/ 20863 h 39471"/>
              <a:gd name="connsiteX4" fmla="*/ 2819 w 62026"/>
              <a:gd name="connsiteY4" fmla="*/ 22555 h 39471"/>
              <a:gd name="connsiteX5" fmla="*/ 0 w 62026"/>
              <a:gd name="connsiteY5" fmla="*/ 20863 h 39471"/>
              <a:gd name="connsiteX6" fmla="*/ 1127 w 62026"/>
              <a:gd name="connsiteY6" fmla="*/ 25938 h 39471"/>
              <a:gd name="connsiteX7" fmla="*/ 4511 w 62026"/>
              <a:gd name="connsiteY7" fmla="*/ 32141 h 39471"/>
              <a:gd name="connsiteX8" fmla="*/ 5639 w 62026"/>
              <a:gd name="connsiteY8" fmla="*/ 33833 h 39471"/>
              <a:gd name="connsiteX9" fmla="*/ 7330 w 62026"/>
              <a:gd name="connsiteY9" fmla="*/ 34960 h 39471"/>
              <a:gd name="connsiteX10" fmla="*/ 13533 w 62026"/>
              <a:gd name="connsiteY10" fmla="*/ 36652 h 39471"/>
              <a:gd name="connsiteX11" fmla="*/ 15224 w 62026"/>
              <a:gd name="connsiteY11" fmla="*/ 36652 h 39471"/>
              <a:gd name="connsiteX12" fmla="*/ 18608 w 62026"/>
              <a:gd name="connsiteY12" fmla="*/ 36652 h 39471"/>
              <a:gd name="connsiteX13" fmla="*/ 19736 w 62026"/>
              <a:gd name="connsiteY13" fmla="*/ 37216 h 39471"/>
              <a:gd name="connsiteX14" fmla="*/ 20863 w 62026"/>
              <a:gd name="connsiteY14" fmla="*/ 39472 h 39471"/>
              <a:gd name="connsiteX15" fmla="*/ 23119 w 62026"/>
              <a:gd name="connsiteY15" fmla="*/ 39472 h 39471"/>
              <a:gd name="connsiteX16" fmla="*/ 23119 w 62026"/>
              <a:gd name="connsiteY16" fmla="*/ 38908 h 39471"/>
              <a:gd name="connsiteX17" fmla="*/ 23119 w 62026"/>
              <a:gd name="connsiteY17" fmla="*/ 37216 h 39471"/>
              <a:gd name="connsiteX18" fmla="*/ 24246 w 62026"/>
              <a:gd name="connsiteY18" fmla="*/ 36088 h 39471"/>
              <a:gd name="connsiteX19" fmla="*/ 25938 w 62026"/>
              <a:gd name="connsiteY19" fmla="*/ 34960 h 39471"/>
              <a:gd name="connsiteX20" fmla="*/ 27630 w 62026"/>
              <a:gd name="connsiteY20" fmla="*/ 34960 h 39471"/>
              <a:gd name="connsiteX21" fmla="*/ 31013 w 62026"/>
              <a:gd name="connsiteY21" fmla="*/ 34397 h 39471"/>
              <a:gd name="connsiteX22" fmla="*/ 34397 w 62026"/>
              <a:gd name="connsiteY22" fmla="*/ 33269 h 39471"/>
              <a:gd name="connsiteX23" fmla="*/ 37216 w 62026"/>
              <a:gd name="connsiteY23" fmla="*/ 31013 h 39471"/>
              <a:gd name="connsiteX24" fmla="*/ 42291 w 62026"/>
              <a:gd name="connsiteY24" fmla="*/ 25375 h 39471"/>
              <a:gd name="connsiteX25" fmla="*/ 43982 w 62026"/>
              <a:gd name="connsiteY25" fmla="*/ 25375 h 39471"/>
              <a:gd name="connsiteX26" fmla="*/ 45674 w 62026"/>
              <a:gd name="connsiteY26" fmla="*/ 25375 h 39471"/>
              <a:gd name="connsiteX27" fmla="*/ 49057 w 62026"/>
              <a:gd name="connsiteY27" fmla="*/ 25375 h 39471"/>
              <a:gd name="connsiteX28" fmla="*/ 52440 w 62026"/>
              <a:gd name="connsiteY28" fmla="*/ 24811 h 39471"/>
              <a:gd name="connsiteX29" fmla="*/ 51313 w 62026"/>
              <a:gd name="connsiteY29" fmla="*/ 22555 h 39471"/>
              <a:gd name="connsiteX30" fmla="*/ 50749 w 62026"/>
              <a:gd name="connsiteY30" fmla="*/ 21991 h 39471"/>
              <a:gd name="connsiteX31" fmla="*/ 48494 w 62026"/>
              <a:gd name="connsiteY31" fmla="*/ 19172 h 39471"/>
              <a:gd name="connsiteX32" fmla="*/ 47365 w 62026"/>
              <a:gd name="connsiteY32" fmla="*/ 16916 h 39471"/>
              <a:gd name="connsiteX33" fmla="*/ 47930 w 62026"/>
              <a:gd name="connsiteY33" fmla="*/ 13533 h 39471"/>
              <a:gd name="connsiteX34" fmla="*/ 62027 w 62026"/>
              <a:gd name="connsiteY34" fmla="*/ 2819 h 39471"/>
              <a:gd name="connsiteX35" fmla="*/ 64846 w 62026"/>
              <a:gd name="connsiteY35" fmla="*/ 0 h 39471"/>
              <a:gd name="connsiteX36" fmla="*/ 60335 w 62026"/>
              <a:gd name="connsiteY36" fmla="*/ 1128 h 39471"/>
              <a:gd name="connsiteX37" fmla="*/ 56952 w 62026"/>
              <a:gd name="connsiteY37" fmla="*/ 3383 h 39471"/>
              <a:gd name="connsiteX38" fmla="*/ 54696 w 62026"/>
              <a:gd name="connsiteY38" fmla="*/ 4511 h 39471"/>
              <a:gd name="connsiteX39" fmla="*/ 50749 w 62026"/>
              <a:gd name="connsiteY39" fmla="*/ 6766 h 39471"/>
              <a:gd name="connsiteX40" fmla="*/ 37780 w 62026"/>
              <a:gd name="connsiteY40" fmla="*/ 11278 h 39471"/>
              <a:gd name="connsiteX41" fmla="*/ 33268 w 62026"/>
              <a:gd name="connsiteY41" fmla="*/ 11841 h 39471"/>
              <a:gd name="connsiteX42" fmla="*/ 28758 w 62026"/>
              <a:gd name="connsiteY42" fmla="*/ 11841 h 39471"/>
              <a:gd name="connsiteX43" fmla="*/ 23119 w 62026"/>
              <a:gd name="connsiteY43" fmla="*/ 11278 h 39471"/>
              <a:gd name="connsiteX44" fmla="*/ 18044 w 62026"/>
              <a:gd name="connsiteY44" fmla="*/ 10150 h 39471"/>
              <a:gd name="connsiteX45" fmla="*/ 18044 w 62026"/>
              <a:gd name="connsiteY45" fmla="*/ 14097 h 39471"/>
              <a:gd name="connsiteX46" fmla="*/ 16916 w 62026"/>
              <a:gd name="connsiteY46" fmla="*/ 17480 h 39471"/>
              <a:gd name="connsiteX47" fmla="*/ 13533 w 62026"/>
              <a:gd name="connsiteY47" fmla="*/ 18608 h 39471"/>
              <a:gd name="connsiteX48" fmla="*/ 11841 w 62026"/>
              <a:gd name="connsiteY48" fmla="*/ 18044 h 394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62026" h="39471">
                <a:moveTo>
                  <a:pt x="11841" y="18044"/>
                </a:moveTo>
                <a:lnTo>
                  <a:pt x="10149" y="17480"/>
                </a:lnTo>
                <a:lnTo>
                  <a:pt x="7330" y="18608"/>
                </a:lnTo>
                <a:lnTo>
                  <a:pt x="5074" y="20863"/>
                </a:lnTo>
                <a:lnTo>
                  <a:pt x="2819" y="22555"/>
                </a:lnTo>
                <a:lnTo>
                  <a:pt x="0" y="20863"/>
                </a:lnTo>
                <a:lnTo>
                  <a:pt x="1127" y="25938"/>
                </a:lnTo>
                <a:lnTo>
                  <a:pt x="4511" y="32141"/>
                </a:lnTo>
                <a:lnTo>
                  <a:pt x="5639" y="33833"/>
                </a:lnTo>
                <a:lnTo>
                  <a:pt x="7330" y="34960"/>
                </a:lnTo>
                <a:lnTo>
                  <a:pt x="13533" y="36652"/>
                </a:lnTo>
                <a:lnTo>
                  <a:pt x="15224" y="36652"/>
                </a:lnTo>
                <a:lnTo>
                  <a:pt x="18608" y="36652"/>
                </a:lnTo>
                <a:lnTo>
                  <a:pt x="19736" y="37216"/>
                </a:lnTo>
                <a:lnTo>
                  <a:pt x="20863" y="39472"/>
                </a:lnTo>
                <a:lnTo>
                  <a:pt x="23119" y="39472"/>
                </a:lnTo>
                <a:lnTo>
                  <a:pt x="23119" y="38908"/>
                </a:lnTo>
                <a:lnTo>
                  <a:pt x="23119" y="37216"/>
                </a:lnTo>
                <a:lnTo>
                  <a:pt x="24246" y="36088"/>
                </a:lnTo>
                <a:lnTo>
                  <a:pt x="25938" y="34960"/>
                </a:lnTo>
                <a:lnTo>
                  <a:pt x="27630" y="34960"/>
                </a:lnTo>
                <a:lnTo>
                  <a:pt x="31013" y="34397"/>
                </a:lnTo>
                <a:lnTo>
                  <a:pt x="34397" y="33269"/>
                </a:lnTo>
                <a:lnTo>
                  <a:pt x="37216" y="31013"/>
                </a:lnTo>
                <a:lnTo>
                  <a:pt x="42291" y="25375"/>
                </a:lnTo>
                <a:lnTo>
                  <a:pt x="43982" y="25375"/>
                </a:lnTo>
                <a:lnTo>
                  <a:pt x="45674" y="25375"/>
                </a:lnTo>
                <a:lnTo>
                  <a:pt x="49057" y="25375"/>
                </a:lnTo>
                <a:lnTo>
                  <a:pt x="52440" y="24811"/>
                </a:lnTo>
                <a:lnTo>
                  <a:pt x="51313" y="22555"/>
                </a:lnTo>
                <a:lnTo>
                  <a:pt x="50749" y="21991"/>
                </a:lnTo>
                <a:lnTo>
                  <a:pt x="48494" y="19172"/>
                </a:lnTo>
                <a:lnTo>
                  <a:pt x="47365" y="16916"/>
                </a:lnTo>
                <a:lnTo>
                  <a:pt x="47930" y="13533"/>
                </a:lnTo>
                <a:lnTo>
                  <a:pt x="62027" y="2819"/>
                </a:lnTo>
                <a:lnTo>
                  <a:pt x="64846" y="0"/>
                </a:lnTo>
                <a:lnTo>
                  <a:pt x="60335" y="1128"/>
                </a:lnTo>
                <a:lnTo>
                  <a:pt x="56952" y="3383"/>
                </a:lnTo>
                <a:lnTo>
                  <a:pt x="54696" y="4511"/>
                </a:lnTo>
                <a:lnTo>
                  <a:pt x="50749" y="6766"/>
                </a:lnTo>
                <a:lnTo>
                  <a:pt x="37780" y="11278"/>
                </a:lnTo>
                <a:lnTo>
                  <a:pt x="33268" y="11841"/>
                </a:lnTo>
                <a:lnTo>
                  <a:pt x="28758" y="11841"/>
                </a:lnTo>
                <a:lnTo>
                  <a:pt x="23119" y="11278"/>
                </a:lnTo>
                <a:lnTo>
                  <a:pt x="18044" y="10150"/>
                </a:lnTo>
                <a:lnTo>
                  <a:pt x="18044" y="14097"/>
                </a:lnTo>
                <a:lnTo>
                  <a:pt x="16916" y="17480"/>
                </a:lnTo>
                <a:lnTo>
                  <a:pt x="13533" y="18608"/>
                </a:lnTo>
                <a:lnTo>
                  <a:pt x="11841" y="18044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3" name="Freeform: Shape 446">
            <a:extLst>
              <a:ext uri="{FF2B5EF4-FFF2-40B4-BE49-F238E27FC236}">
                <a16:creationId xmlns:a16="http://schemas.microsoft.com/office/drawing/2014/main" id="{135D9E7C-1DA8-452D-971F-F1788EA6F615}"/>
              </a:ext>
            </a:extLst>
          </p:cNvPr>
          <p:cNvSpPr/>
          <p:nvPr/>
        </p:nvSpPr>
        <p:spPr>
          <a:xfrm>
            <a:off x="7125005" y="4682052"/>
            <a:ext cx="12641" cy="12641"/>
          </a:xfrm>
          <a:custGeom>
            <a:avLst/>
            <a:gdLst>
              <a:gd name="connsiteX0" fmla="*/ 16916 w 16916"/>
              <a:gd name="connsiteY0" fmla="*/ 16916 h 16916"/>
              <a:gd name="connsiteX1" fmla="*/ 18044 w 16916"/>
              <a:gd name="connsiteY1" fmla="*/ 14661 h 16916"/>
              <a:gd name="connsiteX2" fmla="*/ 18608 w 16916"/>
              <a:gd name="connsiteY2" fmla="*/ 10150 h 16916"/>
              <a:gd name="connsiteX3" fmla="*/ 16353 w 16916"/>
              <a:gd name="connsiteY3" fmla="*/ 5639 h 16916"/>
              <a:gd name="connsiteX4" fmla="*/ 14097 w 16916"/>
              <a:gd name="connsiteY4" fmla="*/ 1692 h 16916"/>
              <a:gd name="connsiteX5" fmla="*/ 11841 w 16916"/>
              <a:gd name="connsiteY5" fmla="*/ 564 h 16916"/>
              <a:gd name="connsiteX6" fmla="*/ 7331 w 16916"/>
              <a:gd name="connsiteY6" fmla="*/ 0 h 16916"/>
              <a:gd name="connsiteX7" fmla="*/ 3383 w 16916"/>
              <a:gd name="connsiteY7" fmla="*/ 1692 h 16916"/>
              <a:gd name="connsiteX8" fmla="*/ 1127 w 16916"/>
              <a:gd name="connsiteY8" fmla="*/ 5075 h 16916"/>
              <a:gd name="connsiteX9" fmla="*/ 0 w 16916"/>
              <a:gd name="connsiteY9" fmla="*/ 6766 h 16916"/>
              <a:gd name="connsiteX10" fmla="*/ 2256 w 16916"/>
              <a:gd name="connsiteY10" fmla="*/ 12969 h 16916"/>
              <a:gd name="connsiteX11" fmla="*/ 3383 w 16916"/>
              <a:gd name="connsiteY11" fmla="*/ 14661 h 16916"/>
              <a:gd name="connsiteX12" fmla="*/ 9586 w 16916"/>
              <a:gd name="connsiteY12" fmla="*/ 18044 h 16916"/>
              <a:gd name="connsiteX13" fmla="*/ 12405 w 16916"/>
              <a:gd name="connsiteY13" fmla="*/ 18044 h 16916"/>
              <a:gd name="connsiteX14" fmla="*/ 16916 w 16916"/>
              <a:gd name="connsiteY14" fmla="*/ 16916 h 169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6916" h="16916">
                <a:moveTo>
                  <a:pt x="16916" y="16916"/>
                </a:moveTo>
                <a:lnTo>
                  <a:pt x="18044" y="14661"/>
                </a:lnTo>
                <a:lnTo>
                  <a:pt x="18608" y="10150"/>
                </a:lnTo>
                <a:lnTo>
                  <a:pt x="16353" y="5639"/>
                </a:lnTo>
                <a:lnTo>
                  <a:pt x="14097" y="1692"/>
                </a:lnTo>
                <a:lnTo>
                  <a:pt x="11841" y="564"/>
                </a:lnTo>
                <a:lnTo>
                  <a:pt x="7331" y="0"/>
                </a:lnTo>
                <a:lnTo>
                  <a:pt x="3383" y="1692"/>
                </a:lnTo>
                <a:lnTo>
                  <a:pt x="1127" y="5075"/>
                </a:lnTo>
                <a:lnTo>
                  <a:pt x="0" y="6766"/>
                </a:lnTo>
                <a:lnTo>
                  <a:pt x="2256" y="12969"/>
                </a:lnTo>
                <a:lnTo>
                  <a:pt x="3383" y="14661"/>
                </a:lnTo>
                <a:lnTo>
                  <a:pt x="9586" y="18044"/>
                </a:lnTo>
                <a:lnTo>
                  <a:pt x="12405" y="18044"/>
                </a:lnTo>
                <a:lnTo>
                  <a:pt x="16916" y="16916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4" name="Freeform: Shape 447">
            <a:extLst>
              <a:ext uri="{FF2B5EF4-FFF2-40B4-BE49-F238E27FC236}">
                <a16:creationId xmlns:a16="http://schemas.microsoft.com/office/drawing/2014/main" id="{22375868-281C-4562-A32F-D068E3F9DCFB}"/>
              </a:ext>
            </a:extLst>
          </p:cNvPr>
          <p:cNvSpPr/>
          <p:nvPr/>
        </p:nvSpPr>
        <p:spPr>
          <a:xfrm>
            <a:off x="6901673" y="4462092"/>
            <a:ext cx="4214" cy="8428"/>
          </a:xfrm>
          <a:custGeom>
            <a:avLst/>
            <a:gdLst>
              <a:gd name="connsiteX0" fmla="*/ 3947 w 5638"/>
              <a:gd name="connsiteY0" fmla="*/ 11278 h 11277"/>
              <a:gd name="connsiteX1" fmla="*/ 3947 w 5638"/>
              <a:gd name="connsiteY1" fmla="*/ 9586 h 11277"/>
              <a:gd name="connsiteX2" fmla="*/ 5075 w 5638"/>
              <a:gd name="connsiteY2" fmla="*/ 6767 h 11277"/>
              <a:gd name="connsiteX3" fmla="*/ 5075 w 5638"/>
              <a:gd name="connsiteY3" fmla="*/ 6203 h 11277"/>
              <a:gd name="connsiteX4" fmla="*/ 5639 w 5638"/>
              <a:gd name="connsiteY4" fmla="*/ 3383 h 11277"/>
              <a:gd name="connsiteX5" fmla="*/ 3947 w 5638"/>
              <a:gd name="connsiteY5" fmla="*/ 1692 h 11277"/>
              <a:gd name="connsiteX6" fmla="*/ 2819 w 5638"/>
              <a:gd name="connsiteY6" fmla="*/ 1692 h 11277"/>
              <a:gd name="connsiteX7" fmla="*/ 1692 w 5638"/>
              <a:gd name="connsiteY7" fmla="*/ 0 h 11277"/>
              <a:gd name="connsiteX8" fmla="*/ 0 w 5638"/>
              <a:gd name="connsiteY8" fmla="*/ 1692 h 11277"/>
              <a:gd name="connsiteX9" fmla="*/ 1692 w 5638"/>
              <a:gd name="connsiteY9" fmla="*/ 4511 h 11277"/>
              <a:gd name="connsiteX10" fmla="*/ 1127 w 5638"/>
              <a:gd name="connsiteY10" fmla="*/ 6203 h 11277"/>
              <a:gd name="connsiteX11" fmla="*/ 564 w 5638"/>
              <a:gd name="connsiteY11" fmla="*/ 8458 h 11277"/>
              <a:gd name="connsiteX12" fmla="*/ 1127 w 5638"/>
              <a:gd name="connsiteY12" fmla="*/ 10714 h 11277"/>
              <a:gd name="connsiteX13" fmla="*/ 2256 w 5638"/>
              <a:gd name="connsiteY13" fmla="*/ 11841 h 11277"/>
              <a:gd name="connsiteX14" fmla="*/ 3947 w 5638"/>
              <a:gd name="connsiteY14" fmla="*/ 11278 h 112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5638" h="11277">
                <a:moveTo>
                  <a:pt x="3947" y="11278"/>
                </a:moveTo>
                <a:lnTo>
                  <a:pt x="3947" y="9586"/>
                </a:lnTo>
                <a:lnTo>
                  <a:pt x="5075" y="6767"/>
                </a:lnTo>
                <a:lnTo>
                  <a:pt x="5075" y="6203"/>
                </a:lnTo>
                <a:lnTo>
                  <a:pt x="5639" y="3383"/>
                </a:lnTo>
                <a:lnTo>
                  <a:pt x="3947" y="1692"/>
                </a:lnTo>
                <a:lnTo>
                  <a:pt x="2819" y="1692"/>
                </a:lnTo>
                <a:lnTo>
                  <a:pt x="1692" y="0"/>
                </a:lnTo>
                <a:lnTo>
                  <a:pt x="0" y="1692"/>
                </a:lnTo>
                <a:lnTo>
                  <a:pt x="1692" y="4511"/>
                </a:lnTo>
                <a:lnTo>
                  <a:pt x="1127" y="6203"/>
                </a:lnTo>
                <a:lnTo>
                  <a:pt x="564" y="8458"/>
                </a:lnTo>
                <a:lnTo>
                  <a:pt x="1127" y="10714"/>
                </a:lnTo>
                <a:lnTo>
                  <a:pt x="2256" y="11841"/>
                </a:lnTo>
                <a:lnTo>
                  <a:pt x="3947" y="11278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5" name="Freeform: Shape 448">
            <a:extLst>
              <a:ext uri="{FF2B5EF4-FFF2-40B4-BE49-F238E27FC236}">
                <a16:creationId xmlns:a16="http://schemas.microsoft.com/office/drawing/2014/main" id="{B9BC192E-5B23-4FE2-BF76-A7130456727D}"/>
              </a:ext>
            </a:extLst>
          </p:cNvPr>
          <p:cNvSpPr/>
          <p:nvPr/>
        </p:nvSpPr>
        <p:spPr>
          <a:xfrm>
            <a:off x="4407113" y="3723836"/>
            <a:ext cx="8428" cy="8428"/>
          </a:xfrm>
          <a:custGeom>
            <a:avLst/>
            <a:gdLst>
              <a:gd name="connsiteX0" fmla="*/ 11278 w 11277"/>
              <a:gd name="connsiteY0" fmla="*/ 13533 h 11277"/>
              <a:gd name="connsiteX1" fmla="*/ 10150 w 11277"/>
              <a:gd name="connsiteY1" fmla="*/ 9586 h 11277"/>
              <a:gd name="connsiteX2" fmla="*/ 9586 w 11277"/>
              <a:gd name="connsiteY2" fmla="*/ 8458 h 11277"/>
              <a:gd name="connsiteX3" fmla="*/ 8458 w 11277"/>
              <a:gd name="connsiteY3" fmla="*/ 6767 h 11277"/>
              <a:gd name="connsiteX4" fmla="*/ 9022 w 11277"/>
              <a:gd name="connsiteY4" fmla="*/ 5075 h 11277"/>
              <a:gd name="connsiteX5" fmla="*/ 9022 w 11277"/>
              <a:gd name="connsiteY5" fmla="*/ 4511 h 11277"/>
              <a:gd name="connsiteX6" fmla="*/ 7894 w 11277"/>
              <a:gd name="connsiteY6" fmla="*/ 4511 h 11277"/>
              <a:gd name="connsiteX7" fmla="*/ 6203 w 11277"/>
              <a:gd name="connsiteY7" fmla="*/ 1692 h 11277"/>
              <a:gd name="connsiteX8" fmla="*/ 2819 w 11277"/>
              <a:gd name="connsiteY8" fmla="*/ 0 h 11277"/>
              <a:gd name="connsiteX9" fmla="*/ 1128 w 11277"/>
              <a:gd name="connsiteY9" fmla="*/ 0 h 11277"/>
              <a:gd name="connsiteX10" fmla="*/ 0 w 11277"/>
              <a:gd name="connsiteY10" fmla="*/ 1128 h 11277"/>
              <a:gd name="connsiteX11" fmla="*/ 0 w 11277"/>
              <a:gd name="connsiteY11" fmla="*/ 2819 h 11277"/>
              <a:gd name="connsiteX12" fmla="*/ 1692 w 11277"/>
              <a:gd name="connsiteY12" fmla="*/ 7894 h 11277"/>
              <a:gd name="connsiteX13" fmla="*/ 2819 w 11277"/>
              <a:gd name="connsiteY13" fmla="*/ 9022 h 11277"/>
              <a:gd name="connsiteX14" fmla="*/ 5639 w 11277"/>
              <a:gd name="connsiteY14" fmla="*/ 10150 h 11277"/>
              <a:gd name="connsiteX15" fmla="*/ 3383 w 11277"/>
              <a:gd name="connsiteY15" fmla="*/ 12405 h 11277"/>
              <a:gd name="connsiteX16" fmla="*/ 3383 w 11277"/>
              <a:gd name="connsiteY16" fmla="*/ 12969 h 11277"/>
              <a:gd name="connsiteX17" fmla="*/ 3947 w 11277"/>
              <a:gd name="connsiteY17" fmla="*/ 14661 h 11277"/>
              <a:gd name="connsiteX18" fmla="*/ 9022 w 11277"/>
              <a:gd name="connsiteY18" fmla="*/ 14661 h 11277"/>
              <a:gd name="connsiteX19" fmla="*/ 10150 w 11277"/>
              <a:gd name="connsiteY19" fmla="*/ 16352 h 11277"/>
              <a:gd name="connsiteX20" fmla="*/ 10714 w 11277"/>
              <a:gd name="connsiteY20" fmla="*/ 15789 h 11277"/>
              <a:gd name="connsiteX21" fmla="*/ 11278 w 11277"/>
              <a:gd name="connsiteY21" fmla="*/ 13533 h 112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1277" h="11277">
                <a:moveTo>
                  <a:pt x="11278" y="13533"/>
                </a:moveTo>
                <a:lnTo>
                  <a:pt x="10150" y="9586"/>
                </a:lnTo>
                <a:lnTo>
                  <a:pt x="9586" y="8458"/>
                </a:lnTo>
                <a:lnTo>
                  <a:pt x="8458" y="6767"/>
                </a:lnTo>
                <a:lnTo>
                  <a:pt x="9022" y="5075"/>
                </a:lnTo>
                <a:lnTo>
                  <a:pt x="9022" y="4511"/>
                </a:lnTo>
                <a:lnTo>
                  <a:pt x="7894" y="4511"/>
                </a:lnTo>
                <a:lnTo>
                  <a:pt x="6203" y="1692"/>
                </a:lnTo>
                <a:lnTo>
                  <a:pt x="2819" y="0"/>
                </a:lnTo>
                <a:lnTo>
                  <a:pt x="1128" y="0"/>
                </a:lnTo>
                <a:lnTo>
                  <a:pt x="0" y="1128"/>
                </a:lnTo>
                <a:lnTo>
                  <a:pt x="0" y="2819"/>
                </a:lnTo>
                <a:lnTo>
                  <a:pt x="1692" y="7894"/>
                </a:lnTo>
                <a:lnTo>
                  <a:pt x="2819" y="9022"/>
                </a:lnTo>
                <a:lnTo>
                  <a:pt x="5639" y="10150"/>
                </a:lnTo>
                <a:lnTo>
                  <a:pt x="3383" y="12405"/>
                </a:lnTo>
                <a:lnTo>
                  <a:pt x="3383" y="12969"/>
                </a:lnTo>
                <a:lnTo>
                  <a:pt x="3947" y="14661"/>
                </a:lnTo>
                <a:lnTo>
                  <a:pt x="9022" y="14661"/>
                </a:lnTo>
                <a:lnTo>
                  <a:pt x="10150" y="16352"/>
                </a:lnTo>
                <a:lnTo>
                  <a:pt x="10714" y="15789"/>
                </a:lnTo>
                <a:lnTo>
                  <a:pt x="11278" y="13533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6" name="Freeform: Shape 449">
            <a:extLst>
              <a:ext uri="{FF2B5EF4-FFF2-40B4-BE49-F238E27FC236}">
                <a16:creationId xmlns:a16="http://schemas.microsoft.com/office/drawing/2014/main" id="{E9654237-9BE2-412A-A491-81FC4D6B38F2}"/>
              </a:ext>
            </a:extLst>
          </p:cNvPr>
          <p:cNvSpPr/>
          <p:nvPr/>
        </p:nvSpPr>
        <p:spPr>
          <a:xfrm>
            <a:off x="4396577" y="3680013"/>
            <a:ext cx="12641" cy="16855"/>
          </a:xfrm>
          <a:custGeom>
            <a:avLst/>
            <a:gdLst>
              <a:gd name="connsiteX0" fmla="*/ 16353 w 16916"/>
              <a:gd name="connsiteY0" fmla="*/ 22555 h 22555"/>
              <a:gd name="connsiteX1" fmla="*/ 17480 w 16916"/>
              <a:gd name="connsiteY1" fmla="*/ 21427 h 22555"/>
              <a:gd name="connsiteX2" fmla="*/ 17480 w 16916"/>
              <a:gd name="connsiteY2" fmla="*/ 19736 h 22555"/>
              <a:gd name="connsiteX3" fmla="*/ 16353 w 16916"/>
              <a:gd name="connsiteY3" fmla="*/ 18044 h 22555"/>
              <a:gd name="connsiteX4" fmla="*/ 15225 w 16916"/>
              <a:gd name="connsiteY4" fmla="*/ 18608 h 22555"/>
              <a:gd name="connsiteX5" fmla="*/ 14097 w 16916"/>
              <a:gd name="connsiteY5" fmla="*/ 20300 h 22555"/>
              <a:gd name="connsiteX6" fmla="*/ 14097 w 16916"/>
              <a:gd name="connsiteY6" fmla="*/ 21991 h 22555"/>
              <a:gd name="connsiteX7" fmla="*/ 14661 w 16916"/>
              <a:gd name="connsiteY7" fmla="*/ 22555 h 22555"/>
              <a:gd name="connsiteX8" fmla="*/ 16353 w 16916"/>
              <a:gd name="connsiteY8" fmla="*/ 22555 h 22555"/>
              <a:gd name="connsiteX9" fmla="*/ 5639 w 16916"/>
              <a:gd name="connsiteY9" fmla="*/ 18044 h 22555"/>
              <a:gd name="connsiteX10" fmla="*/ 6767 w 16916"/>
              <a:gd name="connsiteY10" fmla="*/ 16916 h 22555"/>
              <a:gd name="connsiteX11" fmla="*/ 6767 w 16916"/>
              <a:gd name="connsiteY11" fmla="*/ 10150 h 22555"/>
              <a:gd name="connsiteX12" fmla="*/ 7330 w 16916"/>
              <a:gd name="connsiteY12" fmla="*/ 8458 h 22555"/>
              <a:gd name="connsiteX13" fmla="*/ 6203 w 16916"/>
              <a:gd name="connsiteY13" fmla="*/ 7894 h 22555"/>
              <a:gd name="connsiteX14" fmla="*/ 5075 w 16916"/>
              <a:gd name="connsiteY14" fmla="*/ 6766 h 22555"/>
              <a:gd name="connsiteX15" fmla="*/ 1692 w 16916"/>
              <a:gd name="connsiteY15" fmla="*/ 5639 h 22555"/>
              <a:gd name="connsiteX16" fmla="*/ 1128 w 16916"/>
              <a:gd name="connsiteY16" fmla="*/ 6203 h 22555"/>
              <a:gd name="connsiteX17" fmla="*/ 0 w 16916"/>
              <a:gd name="connsiteY17" fmla="*/ 7894 h 22555"/>
              <a:gd name="connsiteX18" fmla="*/ 564 w 16916"/>
              <a:gd name="connsiteY18" fmla="*/ 16352 h 22555"/>
              <a:gd name="connsiteX19" fmla="*/ 1692 w 16916"/>
              <a:gd name="connsiteY19" fmla="*/ 19172 h 22555"/>
              <a:gd name="connsiteX20" fmla="*/ 2819 w 16916"/>
              <a:gd name="connsiteY20" fmla="*/ 19736 h 22555"/>
              <a:gd name="connsiteX21" fmla="*/ 5639 w 16916"/>
              <a:gd name="connsiteY21" fmla="*/ 18044 h 22555"/>
              <a:gd name="connsiteX22" fmla="*/ 14661 w 16916"/>
              <a:gd name="connsiteY22" fmla="*/ 10150 h 22555"/>
              <a:gd name="connsiteX23" fmla="*/ 19172 w 16916"/>
              <a:gd name="connsiteY23" fmla="*/ 9022 h 22555"/>
              <a:gd name="connsiteX24" fmla="*/ 14097 w 16916"/>
              <a:gd name="connsiteY24" fmla="*/ 5639 h 22555"/>
              <a:gd name="connsiteX25" fmla="*/ 12969 w 16916"/>
              <a:gd name="connsiteY25" fmla="*/ 3383 h 22555"/>
              <a:gd name="connsiteX26" fmla="*/ 12969 w 16916"/>
              <a:gd name="connsiteY26" fmla="*/ 1692 h 22555"/>
              <a:gd name="connsiteX27" fmla="*/ 10714 w 16916"/>
              <a:gd name="connsiteY27" fmla="*/ 0 h 22555"/>
              <a:gd name="connsiteX28" fmla="*/ 9586 w 16916"/>
              <a:gd name="connsiteY28" fmla="*/ 1128 h 22555"/>
              <a:gd name="connsiteX29" fmla="*/ 9022 w 16916"/>
              <a:gd name="connsiteY29" fmla="*/ 2819 h 22555"/>
              <a:gd name="connsiteX30" fmla="*/ 9586 w 16916"/>
              <a:gd name="connsiteY30" fmla="*/ 5639 h 22555"/>
              <a:gd name="connsiteX31" fmla="*/ 7894 w 16916"/>
              <a:gd name="connsiteY31" fmla="*/ 7894 h 22555"/>
              <a:gd name="connsiteX32" fmla="*/ 8458 w 16916"/>
              <a:gd name="connsiteY32" fmla="*/ 10150 h 22555"/>
              <a:gd name="connsiteX33" fmla="*/ 10714 w 16916"/>
              <a:gd name="connsiteY33" fmla="*/ 10714 h 22555"/>
              <a:gd name="connsiteX34" fmla="*/ 14661 w 16916"/>
              <a:gd name="connsiteY34" fmla="*/ 10150 h 225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6916" h="22555">
                <a:moveTo>
                  <a:pt x="16353" y="22555"/>
                </a:moveTo>
                <a:lnTo>
                  <a:pt x="17480" y="21427"/>
                </a:lnTo>
                <a:lnTo>
                  <a:pt x="17480" y="19736"/>
                </a:lnTo>
                <a:lnTo>
                  <a:pt x="16353" y="18044"/>
                </a:lnTo>
                <a:lnTo>
                  <a:pt x="15225" y="18608"/>
                </a:lnTo>
                <a:lnTo>
                  <a:pt x="14097" y="20300"/>
                </a:lnTo>
                <a:lnTo>
                  <a:pt x="14097" y="21991"/>
                </a:lnTo>
                <a:lnTo>
                  <a:pt x="14661" y="22555"/>
                </a:lnTo>
                <a:lnTo>
                  <a:pt x="16353" y="22555"/>
                </a:lnTo>
                <a:close/>
                <a:moveTo>
                  <a:pt x="5639" y="18044"/>
                </a:moveTo>
                <a:lnTo>
                  <a:pt x="6767" y="16916"/>
                </a:lnTo>
                <a:lnTo>
                  <a:pt x="6767" y="10150"/>
                </a:lnTo>
                <a:lnTo>
                  <a:pt x="7330" y="8458"/>
                </a:lnTo>
                <a:lnTo>
                  <a:pt x="6203" y="7894"/>
                </a:lnTo>
                <a:lnTo>
                  <a:pt x="5075" y="6766"/>
                </a:lnTo>
                <a:lnTo>
                  <a:pt x="1692" y="5639"/>
                </a:lnTo>
                <a:lnTo>
                  <a:pt x="1128" y="6203"/>
                </a:lnTo>
                <a:lnTo>
                  <a:pt x="0" y="7894"/>
                </a:lnTo>
                <a:lnTo>
                  <a:pt x="564" y="16352"/>
                </a:lnTo>
                <a:lnTo>
                  <a:pt x="1692" y="19172"/>
                </a:lnTo>
                <a:lnTo>
                  <a:pt x="2819" y="19736"/>
                </a:lnTo>
                <a:lnTo>
                  <a:pt x="5639" y="18044"/>
                </a:lnTo>
                <a:close/>
                <a:moveTo>
                  <a:pt x="14661" y="10150"/>
                </a:moveTo>
                <a:lnTo>
                  <a:pt x="19172" y="9022"/>
                </a:lnTo>
                <a:lnTo>
                  <a:pt x="14097" y="5639"/>
                </a:lnTo>
                <a:lnTo>
                  <a:pt x="12969" y="3383"/>
                </a:lnTo>
                <a:lnTo>
                  <a:pt x="12969" y="1692"/>
                </a:lnTo>
                <a:lnTo>
                  <a:pt x="10714" y="0"/>
                </a:lnTo>
                <a:lnTo>
                  <a:pt x="9586" y="1128"/>
                </a:lnTo>
                <a:lnTo>
                  <a:pt x="9022" y="2819"/>
                </a:lnTo>
                <a:lnTo>
                  <a:pt x="9586" y="5639"/>
                </a:lnTo>
                <a:lnTo>
                  <a:pt x="7894" y="7894"/>
                </a:lnTo>
                <a:lnTo>
                  <a:pt x="8458" y="10150"/>
                </a:lnTo>
                <a:lnTo>
                  <a:pt x="10714" y="10714"/>
                </a:lnTo>
                <a:lnTo>
                  <a:pt x="14661" y="10150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7" name="Freeform: Shape 450">
            <a:extLst>
              <a:ext uri="{FF2B5EF4-FFF2-40B4-BE49-F238E27FC236}">
                <a16:creationId xmlns:a16="http://schemas.microsoft.com/office/drawing/2014/main" id="{BFC18776-6DB4-4ED2-9790-2C7489C9E143}"/>
              </a:ext>
            </a:extLst>
          </p:cNvPr>
          <p:cNvSpPr/>
          <p:nvPr/>
        </p:nvSpPr>
        <p:spPr>
          <a:xfrm>
            <a:off x="4234347" y="3792941"/>
            <a:ext cx="4214" cy="4214"/>
          </a:xfrm>
          <a:custGeom>
            <a:avLst/>
            <a:gdLst>
              <a:gd name="connsiteX0" fmla="*/ 5075 w 0"/>
              <a:gd name="connsiteY0" fmla="*/ 5639 h 5638"/>
              <a:gd name="connsiteX1" fmla="*/ 5075 w 0"/>
              <a:gd name="connsiteY1" fmla="*/ 2255 h 5638"/>
              <a:gd name="connsiteX2" fmla="*/ 0 w 0"/>
              <a:gd name="connsiteY2" fmla="*/ 0 h 5638"/>
              <a:gd name="connsiteX3" fmla="*/ 0 w 0"/>
              <a:gd name="connsiteY3" fmla="*/ 1692 h 5638"/>
              <a:gd name="connsiteX4" fmla="*/ 564 w 0"/>
              <a:gd name="connsiteY4" fmla="*/ 2819 h 5638"/>
              <a:gd name="connsiteX5" fmla="*/ 2256 w 0"/>
              <a:gd name="connsiteY5" fmla="*/ 3383 h 5638"/>
              <a:gd name="connsiteX6" fmla="*/ 2819 w 0"/>
              <a:gd name="connsiteY6" fmla="*/ 4511 h 5638"/>
              <a:gd name="connsiteX7" fmla="*/ 2256 w 0"/>
              <a:gd name="connsiteY7" fmla="*/ 7894 h 5638"/>
              <a:gd name="connsiteX8" fmla="*/ 3383 w 0"/>
              <a:gd name="connsiteY8" fmla="*/ 9586 h 5638"/>
              <a:gd name="connsiteX9" fmla="*/ 5075 w 0"/>
              <a:gd name="connsiteY9" fmla="*/ 5639 h 5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h="5638">
                <a:moveTo>
                  <a:pt x="5075" y="5639"/>
                </a:moveTo>
                <a:lnTo>
                  <a:pt x="5075" y="2255"/>
                </a:lnTo>
                <a:lnTo>
                  <a:pt x="0" y="0"/>
                </a:lnTo>
                <a:lnTo>
                  <a:pt x="0" y="1692"/>
                </a:lnTo>
                <a:lnTo>
                  <a:pt x="564" y="2819"/>
                </a:lnTo>
                <a:lnTo>
                  <a:pt x="2256" y="3383"/>
                </a:lnTo>
                <a:lnTo>
                  <a:pt x="2819" y="4511"/>
                </a:lnTo>
                <a:lnTo>
                  <a:pt x="2256" y="7894"/>
                </a:lnTo>
                <a:lnTo>
                  <a:pt x="3383" y="9586"/>
                </a:lnTo>
                <a:lnTo>
                  <a:pt x="5075" y="5639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8" name="Freeform: Shape 451">
            <a:extLst>
              <a:ext uri="{FF2B5EF4-FFF2-40B4-BE49-F238E27FC236}">
                <a16:creationId xmlns:a16="http://schemas.microsoft.com/office/drawing/2014/main" id="{B073F892-1FD7-4BD6-B3F1-D5C0117F047B}"/>
              </a:ext>
            </a:extLst>
          </p:cNvPr>
          <p:cNvSpPr/>
          <p:nvPr/>
        </p:nvSpPr>
        <p:spPr>
          <a:xfrm>
            <a:off x="5427283" y="3338705"/>
            <a:ext cx="109559" cy="42138"/>
          </a:xfrm>
          <a:custGeom>
            <a:avLst/>
            <a:gdLst>
              <a:gd name="connsiteX0" fmla="*/ 8458 w 146608"/>
              <a:gd name="connsiteY0" fmla="*/ 51313 h 56388"/>
              <a:gd name="connsiteX1" fmla="*/ 7331 w 146608"/>
              <a:gd name="connsiteY1" fmla="*/ 50185 h 56388"/>
              <a:gd name="connsiteX2" fmla="*/ 3383 w 146608"/>
              <a:gd name="connsiteY2" fmla="*/ 53005 h 56388"/>
              <a:gd name="connsiteX3" fmla="*/ 0 w 146608"/>
              <a:gd name="connsiteY3" fmla="*/ 53005 h 56388"/>
              <a:gd name="connsiteX4" fmla="*/ 564 w 146608"/>
              <a:gd name="connsiteY4" fmla="*/ 54133 h 56388"/>
              <a:gd name="connsiteX5" fmla="*/ 1128 w 146608"/>
              <a:gd name="connsiteY5" fmla="*/ 55260 h 56388"/>
              <a:gd name="connsiteX6" fmla="*/ 5075 w 146608"/>
              <a:gd name="connsiteY6" fmla="*/ 57516 h 56388"/>
              <a:gd name="connsiteX7" fmla="*/ 8458 w 146608"/>
              <a:gd name="connsiteY7" fmla="*/ 51313 h 56388"/>
              <a:gd name="connsiteX8" fmla="*/ 84582 w 146608"/>
              <a:gd name="connsiteY8" fmla="*/ 39472 h 56388"/>
              <a:gd name="connsiteX9" fmla="*/ 84582 w 146608"/>
              <a:gd name="connsiteY9" fmla="*/ 38908 h 56388"/>
              <a:gd name="connsiteX10" fmla="*/ 84018 w 146608"/>
              <a:gd name="connsiteY10" fmla="*/ 38908 h 56388"/>
              <a:gd name="connsiteX11" fmla="*/ 83455 w 146608"/>
              <a:gd name="connsiteY11" fmla="*/ 39472 h 56388"/>
              <a:gd name="connsiteX12" fmla="*/ 76124 w 146608"/>
              <a:gd name="connsiteY12" fmla="*/ 38908 h 56388"/>
              <a:gd name="connsiteX13" fmla="*/ 74996 w 146608"/>
              <a:gd name="connsiteY13" fmla="*/ 42291 h 56388"/>
              <a:gd name="connsiteX14" fmla="*/ 72177 w 146608"/>
              <a:gd name="connsiteY14" fmla="*/ 44546 h 56388"/>
              <a:gd name="connsiteX15" fmla="*/ 72177 w 146608"/>
              <a:gd name="connsiteY15" fmla="*/ 48494 h 56388"/>
              <a:gd name="connsiteX16" fmla="*/ 74996 w 146608"/>
              <a:gd name="connsiteY16" fmla="*/ 52441 h 56388"/>
              <a:gd name="connsiteX17" fmla="*/ 76688 w 146608"/>
              <a:gd name="connsiteY17" fmla="*/ 53005 h 56388"/>
              <a:gd name="connsiteX18" fmla="*/ 79507 w 146608"/>
              <a:gd name="connsiteY18" fmla="*/ 53569 h 56388"/>
              <a:gd name="connsiteX19" fmla="*/ 83455 w 146608"/>
              <a:gd name="connsiteY19" fmla="*/ 51313 h 56388"/>
              <a:gd name="connsiteX20" fmla="*/ 84582 w 146608"/>
              <a:gd name="connsiteY20" fmla="*/ 49057 h 56388"/>
              <a:gd name="connsiteX21" fmla="*/ 85146 w 146608"/>
              <a:gd name="connsiteY21" fmla="*/ 44546 h 56388"/>
              <a:gd name="connsiteX22" fmla="*/ 84582 w 146608"/>
              <a:gd name="connsiteY22" fmla="*/ 42291 h 56388"/>
              <a:gd name="connsiteX23" fmla="*/ 84582 w 146608"/>
              <a:gd name="connsiteY23" fmla="*/ 39472 h 56388"/>
              <a:gd name="connsiteX24" fmla="*/ 29886 w 146608"/>
              <a:gd name="connsiteY24" fmla="*/ 43983 h 56388"/>
              <a:gd name="connsiteX25" fmla="*/ 32705 w 146608"/>
              <a:gd name="connsiteY25" fmla="*/ 41727 h 56388"/>
              <a:gd name="connsiteX26" fmla="*/ 32705 w 146608"/>
              <a:gd name="connsiteY26" fmla="*/ 40599 h 56388"/>
              <a:gd name="connsiteX27" fmla="*/ 32141 w 146608"/>
              <a:gd name="connsiteY27" fmla="*/ 38908 h 56388"/>
              <a:gd name="connsiteX28" fmla="*/ 29322 w 146608"/>
              <a:gd name="connsiteY28" fmla="*/ 37216 h 56388"/>
              <a:gd name="connsiteX29" fmla="*/ 28194 w 146608"/>
              <a:gd name="connsiteY29" fmla="*/ 37216 h 56388"/>
              <a:gd name="connsiteX30" fmla="*/ 27067 w 146608"/>
              <a:gd name="connsiteY30" fmla="*/ 38344 h 56388"/>
              <a:gd name="connsiteX31" fmla="*/ 25939 w 146608"/>
              <a:gd name="connsiteY31" fmla="*/ 40599 h 56388"/>
              <a:gd name="connsiteX32" fmla="*/ 27630 w 146608"/>
              <a:gd name="connsiteY32" fmla="*/ 43419 h 56388"/>
              <a:gd name="connsiteX33" fmla="*/ 28758 w 146608"/>
              <a:gd name="connsiteY33" fmla="*/ 43983 h 56388"/>
              <a:gd name="connsiteX34" fmla="*/ 29886 w 146608"/>
              <a:gd name="connsiteY34" fmla="*/ 43983 h 56388"/>
              <a:gd name="connsiteX35" fmla="*/ 56388 w 146608"/>
              <a:gd name="connsiteY35" fmla="*/ 31013 h 56388"/>
              <a:gd name="connsiteX36" fmla="*/ 63155 w 146608"/>
              <a:gd name="connsiteY36" fmla="*/ 25375 h 56388"/>
              <a:gd name="connsiteX37" fmla="*/ 63155 w 146608"/>
              <a:gd name="connsiteY37" fmla="*/ 23683 h 56388"/>
              <a:gd name="connsiteX38" fmla="*/ 57516 w 146608"/>
              <a:gd name="connsiteY38" fmla="*/ 24247 h 56388"/>
              <a:gd name="connsiteX39" fmla="*/ 51313 w 146608"/>
              <a:gd name="connsiteY39" fmla="*/ 29886 h 56388"/>
              <a:gd name="connsiteX40" fmla="*/ 49622 w 146608"/>
              <a:gd name="connsiteY40" fmla="*/ 30449 h 56388"/>
              <a:gd name="connsiteX41" fmla="*/ 43983 w 146608"/>
              <a:gd name="connsiteY41" fmla="*/ 31013 h 56388"/>
              <a:gd name="connsiteX42" fmla="*/ 41164 w 146608"/>
              <a:gd name="connsiteY42" fmla="*/ 31013 h 56388"/>
              <a:gd name="connsiteX43" fmla="*/ 38908 w 146608"/>
              <a:gd name="connsiteY43" fmla="*/ 32141 h 56388"/>
              <a:gd name="connsiteX44" fmla="*/ 40036 w 146608"/>
              <a:gd name="connsiteY44" fmla="*/ 33833 h 56388"/>
              <a:gd name="connsiteX45" fmla="*/ 42291 w 146608"/>
              <a:gd name="connsiteY45" fmla="*/ 39472 h 56388"/>
              <a:gd name="connsiteX46" fmla="*/ 46238 w 146608"/>
              <a:gd name="connsiteY46" fmla="*/ 44546 h 56388"/>
              <a:gd name="connsiteX47" fmla="*/ 49622 w 146608"/>
              <a:gd name="connsiteY47" fmla="*/ 43419 h 56388"/>
              <a:gd name="connsiteX48" fmla="*/ 51313 w 146608"/>
              <a:gd name="connsiteY48" fmla="*/ 42291 h 56388"/>
              <a:gd name="connsiteX49" fmla="*/ 53569 w 146608"/>
              <a:gd name="connsiteY49" fmla="*/ 38908 h 56388"/>
              <a:gd name="connsiteX50" fmla="*/ 56388 w 146608"/>
              <a:gd name="connsiteY50" fmla="*/ 31013 h 56388"/>
              <a:gd name="connsiteX51" fmla="*/ 121798 w 146608"/>
              <a:gd name="connsiteY51" fmla="*/ 38344 h 56388"/>
              <a:gd name="connsiteX52" fmla="*/ 130256 w 146608"/>
              <a:gd name="connsiteY52" fmla="*/ 35524 h 56388"/>
              <a:gd name="connsiteX53" fmla="*/ 131948 w 146608"/>
              <a:gd name="connsiteY53" fmla="*/ 29886 h 56388"/>
              <a:gd name="connsiteX54" fmla="*/ 133640 w 146608"/>
              <a:gd name="connsiteY54" fmla="*/ 23683 h 56388"/>
              <a:gd name="connsiteX55" fmla="*/ 133640 w 146608"/>
              <a:gd name="connsiteY55" fmla="*/ 19736 h 56388"/>
              <a:gd name="connsiteX56" fmla="*/ 132512 w 146608"/>
              <a:gd name="connsiteY56" fmla="*/ 18044 h 56388"/>
              <a:gd name="connsiteX57" fmla="*/ 131948 w 146608"/>
              <a:gd name="connsiteY57" fmla="*/ 18044 h 56388"/>
              <a:gd name="connsiteX58" fmla="*/ 129692 w 146608"/>
              <a:gd name="connsiteY58" fmla="*/ 18044 h 56388"/>
              <a:gd name="connsiteX59" fmla="*/ 128001 w 146608"/>
              <a:gd name="connsiteY59" fmla="*/ 19172 h 56388"/>
              <a:gd name="connsiteX60" fmla="*/ 127437 w 146608"/>
              <a:gd name="connsiteY60" fmla="*/ 22555 h 56388"/>
              <a:gd name="connsiteX61" fmla="*/ 123490 w 146608"/>
              <a:gd name="connsiteY61" fmla="*/ 29886 h 56388"/>
              <a:gd name="connsiteX62" fmla="*/ 120670 w 146608"/>
              <a:gd name="connsiteY62" fmla="*/ 36652 h 56388"/>
              <a:gd name="connsiteX63" fmla="*/ 116723 w 146608"/>
              <a:gd name="connsiteY63" fmla="*/ 40036 h 56388"/>
              <a:gd name="connsiteX64" fmla="*/ 112776 w 146608"/>
              <a:gd name="connsiteY64" fmla="*/ 41163 h 56388"/>
              <a:gd name="connsiteX65" fmla="*/ 113340 w 146608"/>
              <a:gd name="connsiteY65" fmla="*/ 41727 h 56388"/>
              <a:gd name="connsiteX66" fmla="*/ 117287 w 146608"/>
              <a:gd name="connsiteY66" fmla="*/ 42291 h 56388"/>
              <a:gd name="connsiteX67" fmla="*/ 121798 w 146608"/>
              <a:gd name="connsiteY67" fmla="*/ 38344 h 56388"/>
              <a:gd name="connsiteX68" fmla="*/ 10714 w 146608"/>
              <a:gd name="connsiteY68" fmla="*/ 27066 h 56388"/>
              <a:gd name="connsiteX69" fmla="*/ 13533 w 146608"/>
              <a:gd name="connsiteY69" fmla="*/ 24247 h 56388"/>
              <a:gd name="connsiteX70" fmla="*/ 14097 w 146608"/>
              <a:gd name="connsiteY70" fmla="*/ 22555 h 56388"/>
              <a:gd name="connsiteX71" fmla="*/ 13533 w 146608"/>
              <a:gd name="connsiteY71" fmla="*/ 19736 h 56388"/>
              <a:gd name="connsiteX72" fmla="*/ 14661 w 146608"/>
              <a:gd name="connsiteY72" fmla="*/ 18608 h 56388"/>
              <a:gd name="connsiteX73" fmla="*/ 14097 w 146608"/>
              <a:gd name="connsiteY73" fmla="*/ 16352 h 56388"/>
              <a:gd name="connsiteX74" fmla="*/ 12405 w 146608"/>
              <a:gd name="connsiteY74" fmla="*/ 14097 h 56388"/>
              <a:gd name="connsiteX75" fmla="*/ 8458 w 146608"/>
              <a:gd name="connsiteY75" fmla="*/ 14097 h 56388"/>
              <a:gd name="connsiteX76" fmla="*/ 6203 w 146608"/>
              <a:gd name="connsiteY76" fmla="*/ 17480 h 56388"/>
              <a:gd name="connsiteX77" fmla="*/ 9586 w 146608"/>
              <a:gd name="connsiteY77" fmla="*/ 24247 h 56388"/>
              <a:gd name="connsiteX78" fmla="*/ 10150 w 146608"/>
              <a:gd name="connsiteY78" fmla="*/ 27066 h 56388"/>
              <a:gd name="connsiteX79" fmla="*/ 10714 w 146608"/>
              <a:gd name="connsiteY79" fmla="*/ 27066 h 56388"/>
              <a:gd name="connsiteX80" fmla="*/ 137023 w 146608"/>
              <a:gd name="connsiteY80" fmla="*/ 11842 h 56388"/>
              <a:gd name="connsiteX81" fmla="*/ 142098 w 146608"/>
              <a:gd name="connsiteY81" fmla="*/ 10150 h 56388"/>
              <a:gd name="connsiteX82" fmla="*/ 144917 w 146608"/>
              <a:gd name="connsiteY82" fmla="*/ 8458 h 56388"/>
              <a:gd name="connsiteX83" fmla="*/ 145481 w 146608"/>
              <a:gd name="connsiteY83" fmla="*/ 3383 h 56388"/>
              <a:gd name="connsiteX84" fmla="*/ 146609 w 146608"/>
              <a:gd name="connsiteY84" fmla="*/ 1692 h 56388"/>
              <a:gd name="connsiteX85" fmla="*/ 145481 w 146608"/>
              <a:gd name="connsiteY85" fmla="*/ 0 h 56388"/>
              <a:gd name="connsiteX86" fmla="*/ 144353 w 146608"/>
              <a:gd name="connsiteY86" fmla="*/ 1128 h 56388"/>
              <a:gd name="connsiteX87" fmla="*/ 143226 w 146608"/>
              <a:gd name="connsiteY87" fmla="*/ 3383 h 56388"/>
              <a:gd name="connsiteX88" fmla="*/ 139843 w 146608"/>
              <a:gd name="connsiteY88" fmla="*/ 4511 h 56388"/>
              <a:gd name="connsiteX89" fmla="*/ 135331 w 146608"/>
              <a:gd name="connsiteY89" fmla="*/ 6766 h 56388"/>
              <a:gd name="connsiteX90" fmla="*/ 134204 w 146608"/>
              <a:gd name="connsiteY90" fmla="*/ 8458 h 56388"/>
              <a:gd name="connsiteX91" fmla="*/ 133076 w 146608"/>
              <a:gd name="connsiteY91" fmla="*/ 13533 h 56388"/>
              <a:gd name="connsiteX92" fmla="*/ 135331 w 146608"/>
              <a:gd name="connsiteY92" fmla="*/ 14097 h 56388"/>
              <a:gd name="connsiteX93" fmla="*/ 137023 w 146608"/>
              <a:gd name="connsiteY93" fmla="*/ 11842 h 56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</a:cxnLst>
            <a:rect l="l" t="t" r="r" b="b"/>
            <a:pathLst>
              <a:path w="146608" h="56388">
                <a:moveTo>
                  <a:pt x="8458" y="51313"/>
                </a:moveTo>
                <a:lnTo>
                  <a:pt x="7331" y="50185"/>
                </a:lnTo>
                <a:lnTo>
                  <a:pt x="3383" y="53005"/>
                </a:lnTo>
                <a:lnTo>
                  <a:pt x="0" y="53005"/>
                </a:lnTo>
                <a:lnTo>
                  <a:pt x="564" y="54133"/>
                </a:lnTo>
                <a:lnTo>
                  <a:pt x="1128" y="55260"/>
                </a:lnTo>
                <a:lnTo>
                  <a:pt x="5075" y="57516"/>
                </a:lnTo>
                <a:lnTo>
                  <a:pt x="8458" y="51313"/>
                </a:lnTo>
                <a:close/>
                <a:moveTo>
                  <a:pt x="84582" y="39472"/>
                </a:moveTo>
                <a:lnTo>
                  <a:pt x="84582" y="38908"/>
                </a:lnTo>
                <a:lnTo>
                  <a:pt x="84018" y="38908"/>
                </a:lnTo>
                <a:lnTo>
                  <a:pt x="83455" y="39472"/>
                </a:lnTo>
                <a:lnTo>
                  <a:pt x="76124" y="38908"/>
                </a:lnTo>
                <a:lnTo>
                  <a:pt x="74996" y="42291"/>
                </a:lnTo>
                <a:lnTo>
                  <a:pt x="72177" y="44546"/>
                </a:lnTo>
                <a:lnTo>
                  <a:pt x="72177" y="48494"/>
                </a:lnTo>
                <a:lnTo>
                  <a:pt x="74996" y="52441"/>
                </a:lnTo>
                <a:lnTo>
                  <a:pt x="76688" y="53005"/>
                </a:lnTo>
                <a:lnTo>
                  <a:pt x="79507" y="53569"/>
                </a:lnTo>
                <a:lnTo>
                  <a:pt x="83455" y="51313"/>
                </a:lnTo>
                <a:lnTo>
                  <a:pt x="84582" y="49057"/>
                </a:lnTo>
                <a:lnTo>
                  <a:pt x="85146" y="44546"/>
                </a:lnTo>
                <a:lnTo>
                  <a:pt x="84582" y="42291"/>
                </a:lnTo>
                <a:lnTo>
                  <a:pt x="84582" y="39472"/>
                </a:lnTo>
                <a:close/>
                <a:moveTo>
                  <a:pt x="29886" y="43983"/>
                </a:moveTo>
                <a:lnTo>
                  <a:pt x="32705" y="41727"/>
                </a:lnTo>
                <a:lnTo>
                  <a:pt x="32705" y="40599"/>
                </a:lnTo>
                <a:lnTo>
                  <a:pt x="32141" y="38908"/>
                </a:lnTo>
                <a:lnTo>
                  <a:pt x="29322" y="37216"/>
                </a:lnTo>
                <a:lnTo>
                  <a:pt x="28194" y="37216"/>
                </a:lnTo>
                <a:lnTo>
                  <a:pt x="27067" y="38344"/>
                </a:lnTo>
                <a:lnTo>
                  <a:pt x="25939" y="40599"/>
                </a:lnTo>
                <a:lnTo>
                  <a:pt x="27630" y="43419"/>
                </a:lnTo>
                <a:lnTo>
                  <a:pt x="28758" y="43983"/>
                </a:lnTo>
                <a:lnTo>
                  <a:pt x="29886" y="43983"/>
                </a:lnTo>
                <a:close/>
                <a:moveTo>
                  <a:pt x="56388" y="31013"/>
                </a:moveTo>
                <a:lnTo>
                  <a:pt x="63155" y="25375"/>
                </a:lnTo>
                <a:lnTo>
                  <a:pt x="63155" y="23683"/>
                </a:lnTo>
                <a:lnTo>
                  <a:pt x="57516" y="24247"/>
                </a:lnTo>
                <a:lnTo>
                  <a:pt x="51313" y="29886"/>
                </a:lnTo>
                <a:lnTo>
                  <a:pt x="49622" y="30449"/>
                </a:lnTo>
                <a:lnTo>
                  <a:pt x="43983" y="31013"/>
                </a:lnTo>
                <a:lnTo>
                  <a:pt x="41164" y="31013"/>
                </a:lnTo>
                <a:lnTo>
                  <a:pt x="38908" y="32141"/>
                </a:lnTo>
                <a:lnTo>
                  <a:pt x="40036" y="33833"/>
                </a:lnTo>
                <a:lnTo>
                  <a:pt x="42291" y="39472"/>
                </a:lnTo>
                <a:lnTo>
                  <a:pt x="46238" y="44546"/>
                </a:lnTo>
                <a:lnTo>
                  <a:pt x="49622" y="43419"/>
                </a:lnTo>
                <a:lnTo>
                  <a:pt x="51313" y="42291"/>
                </a:lnTo>
                <a:lnTo>
                  <a:pt x="53569" y="38908"/>
                </a:lnTo>
                <a:lnTo>
                  <a:pt x="56388" y="31013"/>
                </a:lnTo>
                <a:close/>
                <a:moveTo>
                  <a:pt x="121798" y="38344"/>
                </a:moveTo>
                <a:lnTo>
                  <a:pt x="130256" y="35524"/>
                </a:lnTo>
                <a:lnTo>
                  <a:pt x="131948" y="29886"/>
                </a:lnTo>
                <a:lnTo>
                  <a:pt x="133640" y="23683"/>
                </a:lnTo>
                <a:lnTo>
                  <a:pt x="133640" y="19736"/>
                </a:lnTo>
                <a:lnTo>
                  <a:pt x="132512" y="18044"/>
                </a:lnTo>
                <a:lnTo>
                  <a:pt x="131948" y="18044"/>
                </a:lnTo>
                <a:lnTo>
                  <a:pt x="129692" y="18044"/>
                </a:lnTo>
                <a:lnTo>
                  <a:pt x="128001" y="19172"/>
                </a:lnTo>
                <a:lnTo>
                  <a:pt x="127437" y="22555"/>
                </a:lnTo>
                <a:lnTo>
                  <a:pt x="123490" y="29886"/>
                </a:lnTo>
                <a:lnTo>
                  <a:pt x="120670" y="36652"/>
                </a:lnTo>
                <a:lnTo>
                  <a:pt x="116723" y="40036"/>
                </a:lnTo>
                <a:lnTo>
                  <a:pt x="112776" y="41163"/>
                </a:lnTo>
                <a:lnTo>
                  <a:pt x="113340" y="41727"/>
                </a:lnTo>
                <a:lnTo>
                  <a:pt x="117287" y="42291"/>
                </a:lnTo>
                <a:lnTo>
                  <a:pt x="121798" y="38344"/>
                </a:lnTo>
                <a:close/>
                <a:moveTo>
                  <a:pt x="10714" y="27066"/>
                </a:moveTo>
                <a:lnTo>
                  <a:pt x="13533" y="24247"/>
                </a:lnTo>
                <a:lnTo>
                  <a:pt x="14097" y="22555"/>
                </a:lnTo>
                <a:lnTo>
                  <a:pt x="13533" y="19736"/>
                </a:lnTo>
                <a:lnTo>
                  <a:pt x="14661" y="18608"/>
                </a:lnTo>
                <a:lnTo>
                  <a:pt x="14097" y="16352"/>
                </a:lnTo>
                <a:lnTo>
                  <a:pt x="12405" y="14097"/>
                </a:lnTo>
                <a:lnTo>
                  <a:pt x="8458" y="14097"/>
                </a:lnTo>
                <a:lnTo>
                  <a:pt x="6203" y="17480"/>
                </a:lnTo>
                <a:lnTo>
                  <a:pt x="9586" y="24247"/>
                </a:lnTo>
                <a:lnTo>
                  <a:pt x="10150" y="27066"/>
                </a:lnTo>
                <a:lnTo>
                  <a:pt x="10714" y="27066"/>
                </a:lnTo>
                <a:close/>
                <a:moveTo>
                  <a:pt x="137023" y="11842"/>
                </a:moveTo>
                <a:lnTo>
                  <a:pt x="142098" y="10150"/>
                </a:lnTo>
                <a:lnTo>
                  <a:pt x="144917" y="8458"/>
                </a:lnTo>
                <a:lnTo>
                  <a:pt x="145481" y="3383"/>
                </a:lnTo>
                <a:lnTo>
                  <a:pt x="146609" y="1692"/>
                </a:lnTo>
                <a:lnTo>
                  <a:pt x="145481" y="0"/>
                </a:lnTo>
                <a:lnTo>
                  <a:pt x="144353" y="1128"/>
                </a:lnTo>
                <a:lnTo>
                  <a:pt x="143226" y="3383"/>
                </a:lnTo>
                <a:lnTo>
                  <a:pt x="139843" y="4511"/>
                </a:lnTo>
                <a:lnTo>
                  <a:pt x="135331" y="6766"/>
                </a:lnTo>
                <a:lnTo>
                  <a:pt x="134204" y="8458"/>
                </a:lnTo>
                <a:lnTo>
                  <a:pt x="133076" y="13533"/>
                </a:lnTo>
                <a:lnTo>
                  <a:pt x="135331" y="14097"/>
                </a:lnTo>
                <a:lnTo>
                  <a:pt x="137023" y="11842"/>
                </a:lnTo>
                <a:close/>
              </a:path>
            </a:pathLst>
          </a:custGeom>
          <a:solidFill>
            <a:srgbClr val="CED2D3"/>
          </a:solidFill>
          <a:ln w="5639" cap="flat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9" name="TextBox 238">
            <a:extLst>
              <a:ext uri="{FF2B5EF4-FFF2-40B4-BE49-F238E27FC236}">
                <a16:creationId xmlns:a16="http://schemas.microsoft.com/office/drawing/2014/main" id="{CAED3A62-2D0B-412A-9302-27D1291D8872}"/>
              </a:ext>
            </a:extLst>
          </p:cNvPr>
          <p:cNvSpPr txBox="1"/>
          <p:nvPr/>
        </p:nvSpPr>
        <p:spPr>
          <a:xfrm>
            <a:off x="7717463" y="2805302"/>
            <a:ext cx="92113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2A2B6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  HK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2A2B6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  CAN          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solidFill>
                  <a:srgbClr val="2A2B6A"/>
                </a:solidFill>
                <a:latin typeface="Arial" panose="020B0604020202020204"/>
              </a:rPr>
              <a:t>    PVG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2A2B6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0" name="TextBox 239">
            <a:extLst>
              <a:ext uri="{FF2B5EF4-FFF2-40B4-BE49-F238E27FC236}">
                <a16:creationId xmlns:a16="http://schemas.microsoft.com/office/drawing/2014/main" id="{8A5DA7C5-E4F9-49B6-865A-9867E24E41D6}"/>
              </a:ext>
            </a:extLst>
          </p:cNvPr>
          <p:cNvSpPr txBox="1"/>
          <p:nvPr/>
        </p:nvSpPr>
        <p:spPr>
          <a:xfrm>
            <a:off x="7152816" y="3496684"/>
            <a:ext cx="921135" cy="2814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2A2B6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    BOM</a:t>
            </a:r>
          </a:p>
        </p:txBody>
      </p:sp>
      <p:sp>
        <p:nvSpPr>
          <p:cNvPr id="241" name="TextBox 240">
            <a:extLst>
              <a:ext uri="{FF2B5EF4-FFF2-40B4-BE49-F238E27FC236}">
                <a16:creationId xmlns:a16="http://schemas.microsoft.com/office/drawing/2014/main" id="{98F04DB8-73AC-4E2A-BB9A-110650867B66}"/>
              </a:ext>
            </a:extLst>
          </p:cNvPr>
          <p:cNvSpPr txBox="1"/>
          <p:nvPr/>
        </p:nvSpPr>
        <p:spPr>
          <a:xfrm>
            <a:off x="6291787" y="3794913"/>
            <a:ext cx="921135" cy="2814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2A2B6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  NBO</a:t>
            </a:r>
          </a:p>
        </p:txBody>
      </p:sp>
      <p:sp>
        <p:nvSpPr>
          <p:cNvPr id="242" name="TextBox 241">
            <a:extLst>
              <a:ext uri="{FF2B5EF4-FFF2-40B4-BE49-F238E27FC236}">
                <a16:creationId xmlns:a16="http://schemas.microsoft.com/office/drawing/2014/main" id="{7FB03C25-6DA6-4205-81CC-CE8CA0222F6C}"/>
              </a:ext>
            </a:extLst>
          </p:cNvPr>
          <p:cNvSpPr txBox="1"/>
          <p:nvPr/>
        </p:nvSpPr>
        <p:spPr>
          <a:xfrm>
            <a:off x="5114605" y="2567994"/>
            <a:ext cx="92113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2A2B6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M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2A2B6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R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2A2B6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G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solidFill>
                  <a:srgbClr val="2A2B6A"/>
                </a:solidFill>
                <a:latin typeface="Arial" panose="020B0604020202020204"/>
              </a:rPr>
              <a:t>MST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2A2B6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3" name="TextBox 242">
            <a:extLst>
              <a:ext uri="{FF2B5EF4-FFF2-40B4-BE49-F238E27FC236}">
                <a16:creationId xmlns:a16="http://schemas.microsoft.com/office/drawing/2014/main" id="{D8798BF6-4D9C-4DF8-85A6-FC747E1A0EDE}"/>
              </a:ext>
            </a:extLst>
          </p:cNvPr>
          <p:cNvSpPr txBox="1"/>
          <p:nvPr/>
        </p:nvSpPr>
        <p:spPr>
          <a:xfrm>
            <a:off x="3707786" y="2972547"/>
            <a:ext cx="921135" cy="2814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2A2B6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FK</a:t>
            </a:r>
          </a:p>
        </p:txBody>
      </p:sp>
      <p:sp>
        <p:nvSpPr>
          <p:cNvPr id="244" name="TextBox 243">
            <a:extLst>
              <a:ext uri="{FF2B5EF4-FFF2-40B4-BE49-F238E27FC236}">
                <a16:creationId xmlns:a16="http://schemas.microsoft.com/office/drawing/2014/main" id="{5730DFF8-729D-4573-8276-C35AFA8BCCA2}"/>
              </a:ext>
            </a:extLst>
          </p:cNvPr>
          <p:cNvSpPr txBox="1"/>
          <p:nvPr/>
        </p:nvSpPr>
        <p:spPr>
          <a:xfrm>
            <a:off x="5960987" y="3379804"/>
            <a:ext cx="88523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solidFill>
                  <a:srgbClr val="2A2B6A"/>
                </a:solidFill>
                <a:latin typeface="Arial" panose="020B0604020202020204"/>
              </a:rPr>
              <a:t>      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2A2B6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RT</a:t>
            </a:r>
          </a:p>
        </p:txBody>
      </p:sp>
      <p:sp>
        <p:nvSpPr>
          <p:cNvPr id="245" name="TextBox 244">
            <a:extLst>
              <a:ext uri="{FF2B5EF4-FFF2-40B4-BE49-F238E27FC236}">
                <a16:creationId xmlns:a16="http://schemas.microsoft.com/office/drawing/2014/main" id="{8547B075-7864-4114-A655-021D5DDE2CA9}"/>
              </a:ext>
            </a:extLst>
          </p:cNvPr>
          <p:cNvSpPr txBox="1"/>
          <p:nvPr/>
        </p:nvSpPr>
        <p:spPr>
          <a:xfrm>
            <a:off x="6145029" y="3570471"/>
            <a:ext cx="921135" cy="2814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2A2B6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  ADD</a:t>
            </a:r>
          </a:p>
        </p:txBody>
      </p:sp>
      <p:sp>
        <p:nvSpPr>
          <p:cNvPr id="246" name="Rectangle 245"/>
          <p:cNvSpPr/>
          <p:nvPr/>
        </p:nvSpPr>
        <p:spPr>
          <a:xfrm>
            <a:off x="910200" y="5011759"/>
            <a:ext cx="2319156" cy="723275"/>
          </a:xfrm>
          <a:prstGeom prst="rect">
            <a:avLst/>
          </a:prstGeom>
          <a:solidFill>
            <a:srgbClr val="CBCCEB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A2B6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X KRT linked with NBO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A2B6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X ADD linked with NBO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A2B6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X JFK linked with LGG</a:t>
            </a:r>
          </a:p>
        </p:txBody>
      </p:sp>
      <p:sp>
        <p:nvSpPr>
          <p:cNvPr id="247" name="Slide Number Placeholder 5">
            <a:extLst>
              <a:ext uri="{FF2B5EF4-FFF2-40B4-BE49-F238E27FC236}">
                <a16:creationId xmlns:a16="http://schemas.microsoft.com/office/drawing/2014/main" id="{22543067-BB8D-4218-9FFF-A1A2B56BE2EF}"/>
              </a:ext>
            </a:extLst>
          </p:cNvPr>
          <p:cNvSpPr txBox="1">
            <a:spLocks/>
          </p:cNvSpPr>
          <p:nvPr/>
        </p:nvSpPr>
        <p:spPr>
          <a:xfrm>
            <a:off x="10505661" y="6155362"/>
            <a:ext cx="848139" cy="365125"/>
          </a:xfrm>
          <a:prstGeom prst="rect">
            <a:avLst/>
          </a:prstGeom>
        </p:spPr>
        <p:txBody>
          <a:bodyPr anchor="ctr"/>
          <a:lstStyle>
            <a:defPPr>
              <a:defRPr lang="en-SA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0342AD9-554F-5645-B611-09F8EE20B022}" type="slidenum">
              <a:rPr kumimoji="0" lang="en-SA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SA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0" name="Rectangle 249">
            <a:extLst>
              <a:ext uri="{FF2B5EF4-FFF2-40B4-BE49-F238E27FC236}">
                <a16:creationId xmlns:a16="http://schemas.microsoft.com/office/drawing/2014/main" id="{77037BDD-0E8F-4127-9DBD-BE1C21127708}"/>
              </a:ext>
            </a:extLst>
          </p:cNvPr>
          <p:cNvSpPr/>
          <p:nvPr/>
        </p:nvSpPr>
        <p:spPr>
          <a:xfrm>
            <a:off x="910200" y="4782600"/>
            <a:ext cx="1300634" cy="205954"/>
          </a:xfrm>
          <a:prstGeom prst="rect">
            <a:avLst/>
          </a:prstGeom>
          <a:solidFill>
            <a:srgbClr val="2A2B6A"/>
          </a:solidFill>
          <a:ln w="9525">
            <a:solidFill>
              <a:srgbClr val="2A2B6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reighter link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671391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M-CONTENT-SLIDE" val="2021-03-26 15:04:1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FrpTR7KKaQUjmV84w3fA"/>
</p:tagLst>
</file>

<file path=ppt/theme/theme1.xml><?xml version="1.0" encoding="utf-8"?>
<a:theme xmlns:a="http://schemas.openxmlformats.org/drawingml/2006/main" name="1_Office Theme">
  <a:themeElements>
    <a:clrScheme name="Custom 2">
      <a:dk1>
        <a:srgbClr val="000000"/>
      </a:dk1>
      <a:lt1>
        <a:srgbClr val="FFFFFF"/>
      </a:lt1>
      <a:dk2>
        <a:srgbClr val="5A5B59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</TotalTime>
  <Words>40</Words>
  <Application>Microsoft Office PowerPoint</Application>
  <PresentationFormat>Widescreen</PresentationFormat>
  <Paragraphs>1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Arial Black</vt:lpstr>
      <vt:lpstr>Calibri</vt:lpstr>
      <vt:lpstr>1_Office Theme</vt:lpstr>
      <vt:lpstr>think-cell Slide</vt:lpstr>
      <vt:lpstr>Freighter Network 2022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KV Development –  high demand affected by lack of belly capacity influx</dc:title>
  <dc:creator>Bjarne Gertz Pedersen</dc:creator>
  <cp:lastModifiedBy>MOHAMMED ALNABATI</cp:lastModifiedBy>
  <cp:revision>5</cp:revision>
  <dcterms:created xsi:type="dcterms:W3CDTF">2021-06-06T07:56:11Z</dcterms:created>
  <dcterms:modified xsi:type="dcterms:W3CDTF">2022-07-24T12:39:48Z</dcterms:modified>
</cp:coreProperties>
</file>